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3.xml" ContentType="application/vnd.openxmlformats-officedocument.presentationml.notesSlide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hart4.xml" ContentType="application/vnd.openxmlformats-officedocument.drawingml.chart+xml"/>
  <Override PartName="/ppt/charts/colors40.xml" ContentType="application/vnd.ms-office.chartcolorstyle+xml"/>
  <Override PartName="/ppt/charts/style40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1"/>
  </p:sldMasterIdLst>
  <p:notesMasterIdLst>
    <p:notesMasterId r:id="rId21"/>
  </p:notesMasterIdLst>
  <p:sldIdLst>
    <p:sldId id="391" r:id="rId2"/>
    <p:sldId id="399" r:id="rId3"/>
    <p:sldId id="378" r:id="rId4"/>
    <p:sldId id="379" r:id="rId5"/>
    <p:sldId id="400" r:id="rId6"/>
    <p:sldId id="388" r:id="rId7"/>
    <p:sldId id="381" r:id="rId8"/>
    <p:sldId id="393" r:id="rId9"/>
    <p:sldId id="402" r:id="rId10"/>
    <p:sldId id="382" r:id="rId11"/>
    <p:sldId id="384" r:id="rId12"/>
    <p:sldId id="387" r:id="rId13"/>
    <p:sldId id="373" r:id="rId14"/>
    <p:sldId id="354" r:id="rId15"/>
    <p:sldId id="385" r:id="rId16"/>
    <p:sldId id="386" r:id="rId17"/>
    <p:sldId id="394" r:id="rId18"/>
    <p:sldId id="392" r:id="rId19"/>
    <p:sldId id="395" r:id="rId20"/>
  </p:sldIdLst>
  <p:sldSz cx="12192000" cy="6858000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14F4"/>
    <a:srgbClr val="167A9E"/>
    <a:srgbClr val="CC0450"/>
    <a:srgbClr val="09FF78"/>
    <a:srgbClr val="0EDC89"/>
    <a:srgbClr val="E19A19"/>
    <a:srgbClr val="007E39"/>
    <a:srgbClr val="AD3723"/>
    <a:srgbClr val="1DA5D5"/>
    <a:srgbClr val="197A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67" autoAdjust="0"/>
    <p:restoredTop sz="99764" autoAdjust="0"/>
  </p:normalViewPr>
  <p:slideViewPr>
    <p:cSldViewPr snapToGrid="0">
      <p:cViewPr varScale="1">
        <p:scale>
          <a:sx n="112" d="100"/>
          <a:sy n="112" d="100"/>
        </p:scale>
        <p:origin x="144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turmanov\Downloads\&#1043;&#1040;&#1047;&#1041;&#1040;&#1051;&#1040;&#1053;&#1057;%2027.05.22%20(2)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turmanov\Downloads\&#1043;&#1040;&#1047;&#1041;&#1040;&#1051;&#1040;&#1053;&#1057;%2027.05.22%20(2)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yeshmukhan_n\Desktop\&#1050;&#1086;&#1084;&#1087;&#1083;&#1077;&#1082;&#1089;&#1085;&#1099;&#1081;%20&#1087;&#1083;&#1072;&#1085;\&#1082;&#1087;\&#1043;&#1040;&#1047;&#1041;&#1040;&#1051;&#1040;&#1053;&#1057;%207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0.xml"/><Relationship Id="rId2" Type="http://schemas.microsoft.com/office/2011/relationships/chartStyle" Target="style40.xml"/><Relationship Id="rId1" Type="http://schemas.openxmlformats.org/officeDocument/2006/relationships/oleObject" Target="&#1050;&#1085;&#1080;&#1075;&#1072;2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yeshmukhan_n\AppData\Local\Temp\&#1056;&#1086;&#1089;&#1090;%20&#1075;&#1072;&#1079;&#1080;&#1092;&#1080;&#1082;&#1072;&#1094;&#1080;&#1080;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.izimbergen\Desktop\&#1054;&#1073;&#1085;&#1086;&#1074;&#1083;&#1077;&#1085;&#1085;&#1099;&#1081;%20&#1057;&#1055;&#1056;&#1040;&#1042;&#1054;&#1063;&#1053;&#1048;&#1050;%202021.xls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yeshmukhan_n\Desktop\&#1090;&#1077;&#1083;%20&#1052;&#1069;%20&#1085;&#1072;%2018.06.21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82751889344377"/>
          <c:y val="0"/>
          <c:w val="0.80169481478359039"/>
          <c:h val="0.87816712194261537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4AD-426E-B5D1-513FAACF73E6}"/>
              </c:ext>
            </c:extLst>
          </c:dPt>
          <c:dPt>
            <c:idx val="1"/>
            <c:bubble3D val="0"/>
            <c:spPr>
              <a:solidFill>
                <a:srgbClr val="6414F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4AD-426E-B5D1-513FAACF73E6}"/>
              </c:ext>
            </c:extLst>
          </c:dPt>
          <c:dPt>
            <c:idx val="2"/>
            <c:bubble3D val="0"/>
            <c:spPr>
              <a:solidFill>
                <a:srgbClr val="CC04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4AD-426E-B5D1-513FAACF73E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64AD-426E-B5D1-513FAACF73E6}"/>
              </c:ext>
            </c:extLst>
          </c:dPt>
          <c:dLbls>
            <c:dLbl>
              <c:idx val="0"/>
              <c:layout>
                <c:manualLayout>
                  <c:x val="1.5595537649266213E-2"/>
                  <c:y val="-3.6215959881594317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/>
                      <a:t>68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64AD-426E-B5D1-513FAACF73E6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1.3298328800197776E-2"/>
                  <c:y val="-5.6579036946718874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64AD-426E-B5D1-513FAACF73E6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8.1881517897401182E-3"/>
                  <c:y val="1.377309772564777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6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64AD-426E-B5D1-513FAACF73E6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1.5872180123049175E-2"/>
                  <c:y val="-1.0765327604136113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1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64AD-426E-B5D1-513FAACF73E6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Баланс 2030 (ДГНГХ + потреб QG'!$P$231:$P$234</c:f>
              <c:strCache>
                <c:ptCount val="4"/>
                <c:pt idx="0">
                  <c:v>Газдандыруды ескере отырып, ағымдағы тұтыну</c:v>
                </c:pt>
                <c:pt idx="1">
                  <c:v>Газ химия</c:v>
                </c:pt>
                <c:pt idx="2">
                  <c:v>Электр энергетикасының эаңа жобалары</c:v>
                </c:pt>
                <c:pt idx="3">
                  <c:v>Өнеркәсіптік кәсіпорындарды газға ауыстыру</c:v>
                </c:pt>
              </c:strCache>
            </c:strRef>
          </c:cat>
          <c:val>
            <c:numRef>
              <c:f>'Баланс 2030 (ДГНГХ + потреб QG'!$Q$231:$Q$234</c:f>
              <c:numCache>
                <c:formatCode>#,##0</c:formatCode>
                <c:ptCount val="4"/>
                <c:pt idx="0">
                  <c:v>26501.062026070085</c:v>
                </c:pt>
                <c:pt idx="1">
                  <c:v>2270</c:v>
                </c:pt>
                <c:pt idx="2">
                  <c:v>5254</c:v>
                </c:pt>
                <c:pt idx="3">
                  <c:v>4396.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64AD-426E-B5D1-513FAACF73E6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9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2247280603270989"/>
          <c:w val="0.9865846619799602"/>
          <c:h val="0.1775271939672901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14345661364456"/>
          <c:y val="6.1420320809948317E-2"/>
          <c:w val="0.3835668767800503"/>
          <c:h val="0.6109299449004835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я</c:v>
                </c:pt>
              </c:strCache>
            </c:strRef>
          </c:tx>
          <c:dPt>
            <c:idx val="0"/>
            <c:bubble3D val="0"/>
            <c:spPr>
              <a:solidFill>
                <a:srgbClr val="295E7E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202-48BB-B6BD-4D16F57D829F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202-48BB-B6BD-4D16F57D829F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sz="1200" dirty="0"/>
                      <a:t>49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6202-48BB-B6BD-4D16F57D829F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pPr>
                      <a:defRPr sz="1200" b="1">
                        <a:solidFill>
                          <a:schemeClr val="tx1"/>
                        </a:solidFill>
                      </a:defRPr>
                    </a:pPr>
                    <a:r>
                      <a:rPr lang="en-US" sz="1200" dirty="0">
                        <a:solidFill>
                          <a:schemeClr val="tx1"/>
                        </a:solidFill>
                      </a:rPr>
                      <a:t>51%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6202-48BB-B6BD-4D16F57D829F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5.070457718932839E-3"/>
                  <c:y val="-9.0450927540971279E-3"/>
                </c:manualLayout>
              </c:layout>
              <c:tx>
                <c:rich>
                  <a:bodyPr/>
                  <a:lstStyle/>
                  <a:p>
                    <a:r>
                      <a:rPr lang="ru-RU" sz="1200" dirty="0"/>
                      <a:t>25,8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6202-48BB-B6BD-4D16F57D829F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ru-RU" sz="1200" b="1" dirty="0">
                        <a:solidFill>
                          <a:schemeClr val="bg1"/>
                        </a:solidFill>
                      </a:rPr>
                      <a:t>25</a:t>
                    </a:r>
                    <a:r>
                      <a:rPr lang="en-US" sz="1200" b="1" dirty="0">
                        <a:solidFill>
                          <a:schemeClr val="bg1"/>
                        </a:solidFill>
                      </a:rPr>
                      <a:t>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6202-48BB-B6BD-4D16F57D829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Экспорт</c:v>
                </c:pt>
                <c:pt idx="1">
                  <c:v>Ішкі нарық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9</c:v>
                </c:pt>
                <c:pt idx="1">
                  <c:v>5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6202-48BB-B6BD-4D16F57D829F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1407072871655513"/>
          <c:y val="0.23562678545160778"/>
          <c:w val="0.36945082363550541"/>
          <c:h val="0.31898811754246442"/>
        </c:manualLayout>
      </c:layout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14345661364456"/>
          <c:y val="6.1420320809948317E-2"/>
          <c:w val="0.3835668767800503"/>
          <c:h val="0.6109299449004835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я</c:v>
                </c:pt>
              </c:strCache>
            </c:strRef>
          </c:tx>
          <c:dPt>
            <c:idx val="0"/>
            <c:bubble3D val="0"/>
            <c:spPr>
              <a:solidFill>
                <a:srgbClr val="295E7E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202-48BB-B6BD-4D16F57D829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202-48BB-B6BD-4D16F57D829F}"/>
              </c:ext>
            </c:extLst>
          </c:dPt>
          <c:dPt>
            <c:idx val="2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202-48BB-B6BD-4D16F57D829F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63%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6202-48BB-B6BD-4D16F57D829F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pPr>
                      <a:defRPr sz="1200" b="1">
                        <a:solidFill>
                          <a:schemeClr val="tx1"/>
                        </a:solidFill>
                      </a:defRPr>
                    </a:pPr>
                    <a:r>
                      <a:rPr lang="en-US" sz="1200" dirty="0">
                        <a:solidFill>
                          <a:schemeClr val="tx1"/>
                        </a:solidFill>
                      </a:rPr>
                      <a:t>20%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6202-48BB-B6BD-4D16F57D829F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5.070457718932839E-3"/>
                  <c:y val="-9.0450927540971279E-3"/>
                </c:manualLayout>
              </c:layout>
              <c:tx>
                <c:rich>
                  <a:bodyPr/>
                  <a:lstStyle/>
                  <a:p>
                    <a:pPr>
                      <a:defRPr sz="1200" b="1">
                        <a:solidFill>
                          <a:schemeClr val="tx1"/>
                        </a:solidFill>
                      </a:defRPr>
                    </a:pPr>
                    <a:r>
                      <a:rPr lang="en-US" dirty="0">
                        <a:solidFill>
                          <a:schemeClr val="tx1"/>
                        </a:solidFill>
                      </a:rPr>
                      <a:t>17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6202-48BB-B6BD-4D16F57D829F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ru-RU" sz="1200" b="1" dirty="0">
                        <a:solidFill>
                          <a:schemeClr val="bg1"/>
                        </a:solidFill>
                      </a:rPr>
                      <a:t>25</a:t>
                    </a:r>
                    <a:r>
                      <a:rPr lang="en-US" sz="1200" b="1" dirty="0">
                        <a:solidFill>
                          <a:schemeClr val="bg1"/>
                        </a:solidFill>
                      </a:rPr>
                      <a:t>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6202-48BB-B6BD-4D16F57D829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Автогаз</c:v>
                </c:pt>
                <c:pt idx="1">
                  <c:v>Өнеркәсіп </c:v>
                </c:pt>
                <c:pt idx="2">
                  <c:v>Халық ГРҚ арқылы және балонмен сату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63</c:v>
                </c:pt>
                <c:pt idx="1">
                  <c:v>20</c:v>
                </c:pt>
                <c:pt idx="2">
                  <c:v>1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6202-48BB-B6BD-4D16F57D829F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4497627629096097"/>
          <c:y val="9.5182979382609556E-2"/>
          <c:w val="0.46119242739782768"/>
          <c:h val="0.50762081449716212"/>
        </c:manualLayout>
      </c:layout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0422996419859341E-3"/>
          <c:w val="0.9907903193202966"/>
          <c:h val="0.8889825372655464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Баланс 2030 (ДГНГХ + потреб QG'!$P$264</c:f>
              <c:strCache>
                <c:ptCount val="1"/>
                <c:pt idx="0">
                  <c:v>Тұтыну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Баланс 2030 (ДГНГХ + потреб QG'!$Q$263:$T$263</c:f>
              <c:numCache>
                <c:formatCode>General</c:formatCode>
                <c:ptCount val="4"/>
                <c:pt idx="0">
                  <c:v>2017</c:v>
                </c:pt>
                <c:pt idx="1">
                  <c:v>2021</c:v>
                </c:pt>
                <c:pt idx="2">
                  <c:v>2025</c:v>
                </c:pt>
                <c:pt idx="3">
                  <c:v>2030</c:v>
                </c:pt>
              </c:numCache>
            </c:numRef>
          </c:cat>
          <c:val>
            <c:numRef>
              <c:f>'Баланс 2030 (ДГНГХ + потреб QG'!$Q$264:$T$264</c:f>
              <c:numCache>
                <c:formatCode>General</c:formatCode>
                <c:ptCount val="4"/>
                <c:pt idx="0">
                  <c:v>13.8</c:v>
                </c:pt>
                <c:pt idx="1">
                  <c:v>18.600000000000001</c:v>
                </c:pt>
                <c:pt idx="2">
                  <c:v>30</c:v>
                </c:pt>
                <c:pt idx="3">
                  <c:v>33.200000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EBB-4929-83AE-1A6A9664563F}"/>
            </c:ext>
          </c:extLst>
        </c:ser>
        <c:ser>
          <c:idx val="1"/>
          <c:order val="1"/>
          <c:tx>
            <c:strRef>
              <c:f>'Баланс 2030 (ДГНГХ + потреб QG'!$P$265</c:f>
              <c:strCache>
                <c:ptCount val="1"/>
                <c:pt idx="0">
                  <c:v>Экспорт/тапшылық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CEBB-4929-83AE-1A6A9664563F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CEBB-4929-83AE-1A6A9664563F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2.3024201699259447E-3"/>
                  <c:y val="8.084694771364986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-3,6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CEBB-4929-83AE-1A6A9664563F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"/>
                  <c:y val="-4.850600424727924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CEBB-4929-83AE-1A6A9664563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Баланс 2030 (ДГНГХ + потреб QG'!$Q$263:$T$263</c:f>
              <c:numCache>
                <c:formatCode>General</c:formatCode>
                <c:ptCount val="4"/>
                <c:pt idx="0">
                  <c:v>2017</c:v>
                </c:pt>
                <c:pt idx="1">
                  <c:v>2021</c:v>
                </c:pt>
                <c:pt idx="2">
                  <c:v>2025</c:v>
                </c:pt>
                <c:pt idx="3">
                  <c:v>2030</c:v>
                </c:pt>
              </c:numCache>
            </c:numRef>
          </c:cat>
          <c:val>
            <c:numRef>
              <c:f>'Баланс 2030 (ДГНГХ + потреб QG'!$Q$265:$T$265</c:f>
              <c:numCache>
                <c:formatCode>General</c:formatCode>
                <c:ptCount val="4"/>
                <c:pt idx="0">
                  <c:v>12.4</c:v>
                </c:pt>
                <c:pt idx="1">
                  <c:v>7.2</c:v>
                </c:pt>
                <c:pt idx="2">
                  <c:v>-3.6</c:v>
                </c:pt>
                <c:pt idx="3">
                  <c:v>0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EBB-4929-83AE-1A6A9664563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17120504"/>
        <c:axId val="17116584"/>
      </c:barChart>
      <c:catAx>
        <c:axId val="1712050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7116584"/>
        <c:crosses val="autoZero"/>
        <c:auto val="1"/>
        <c:lblAlgn val="ctr"/>
        <c:lblOffset val="100"/>
        <c:noMultiLvlLbl val="0"/>
      </c:catAx>
      <c:valAx>
        <c:axId val="171165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71205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32990423545436"/>
          <c:y val="5.7762803150383679E-2"/>
          <c:w val="0.6972661231168179"/>
          <c:h val="0.86336575878555188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38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7642821964876397E-2"/>
          <c:y val="0.88265442040730524"/>
          <c:w val="0.78027836865744915"/>
          <c:h val="0.1133390849974338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Лист1!$F$9:$F$11</cx:f>
        <cx:lvl ptCount="3">
          <cx:pt idx="0">Қашаған,ҚПО,ТШО</cx:pt>
          <cx:pt idx="1">Перспективті</cx:pt>
          <cx:pt idx="2">Өзгелері</cx:pt>
        </cx:lvl>
      </cx:strDim>
      <cx:numDim type="size">
        <cx:f>Лист1!$G$9:$G$11</cx:f>
        <cx:lvl ptCount="3" formatCode="0%">
          <cx:pt idx="0">0.64000000000000001</cx:pt>
          <cx:pt idx="1">0.19</cx:pt>
          <cx:pt idx="2">0.17000000000000001</cx:pt>
        </cx:lvl>
      </cx:numDim>
    </cx:data>
  </cx:chartData>
  <cx:chart>
    <cx:plotArea>
      <cx:plotAreaRegion>
        <cx:series layoutId="sunburst" uniqueId="{4C54A9C8-0F80-4944-992F-4EE012FAA730}">
          <cx:dataId val="0"/>
        </cx:series>
      </cx:plotAreaRegion>
    </cx:plotArea>
    <cx:legend pos="b" align="ctr" overlay="0">
      <cx:txPr>
        <a:bodyPr spcFirstLastPara="1" vertOverflow="ellipsis" wrap="square" lIns="0" tIns="0" rIns="0" bIns="0" anchor="ctr" anchorCtr="1"/>
        <a:lstStyle/>
        <a:p>
          <a:pPr>
            <a:defRPr sz="1200">
              <a:latin typeface="+mn-lt"/>
              <a:ea typeface="Arial Narrow" panose="020B0606020202030204" pitchFamily="34" charset="0"/>
              <a:cs typeface="Arial Narrow" panose="020B0606020202030204" pitchFamily="34" charset="0"/>
            </a:defRPr>
          </a:pPr>
          <a:endParaRPr lang="ru-RU" sz="1200">
            <a:latin typeface="+mn-lt"/>
          </a:endParaRPr>
        </a:p>
      </cx:txPr>
    </cx:legend>
  </cx:chart>
  <cx:clrMapOvr bg1="lt1" tx1="dk1" bg2="lt2" tx2="dk2" accent1="accent1" accent2="accent2" accent3="accent3" accent4="accent4" accent5="accent5" accent6="accent6" hlink="hlink" folHlink="folHlink"/>
</cx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14345661364456"/>
          <c:y val="6.1420320809948317E-2"/>
          <c:w val="0.3835668767800503"/>
          <c:h val="0.6109299449004835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я</c:v>
                </c:pt>
              </c:strCache>
            </c:strRef>
          </c:tx>
          <c:dPt>
            <c:idx val="0"/>
            <c:bubble3D val="0"/>
            <c:spPr>
              <a:solidFill>
                <a:srgbClr val="295E7E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202-48BB-B6BD-4D16F57D829F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202-48BB-B6BD-4D16F57D829F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202-48BB-B6BD-4D16F57D829F}"/>
              </c:ext>
            </c:extLst>
          </c:dPt>
          <c:dPt>
            <c:idx val="3"/>
            <c:bubble3D val="0"/>
            <c:spPr>
              <a:solidFill>
                <a:srgbClr val="CC04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6202-48BB-B6BD-4D16F57D829F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pPr>
                      <a:defRPr>
                        <a:solidFill>
                          <a:schemeClr val="bg1"/>
                        </a:solidFill>
                      </a:defRPr>
                    </a:pPr>
                    <a:r>
                      <a:rPr lang="en-US">
                        <a:solidFill>
                          <a:schemeClr val="bg1"/>
                        </a:solidFill>
                      </a:rPr>
                      <a:t>45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6202-48BB-B6BD-4D16F57D829F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pPr>
                      <a:defRPr>
                        <a:solidFill>
                          <a:schemeClr val="bg1"/>
                        </a:solidFill>
                      </a:defRPr>
                    </a:pPr>
                    <a:r>
                      <a:rPr lang="en-US">
                        <a:solidFill>
                          <a:schemeClr val="bg1"/>
                        </a:solidFill>
                      </a:rPr>
                      <a:t>46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6202-48BB-B6BD-4D16F57D829F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5.0197326370473097E-2"/>
                  <c:y val="-6.391129260377397E-2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>
                        <a:solidFill>
                          <a:schemeClr val="tx1"/>
                        </a:solidFill>
                      </a:rPr>
                      <a:t>4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6202-48BB-B6BD-4D16F57D829F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6.9084475753224423E-3"/>
                  <c:y val="-8.8830829523187466E-2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>
                        <a:solidFill>
                          <a:schemeClr val="tx1"/>
                        </a:solidFill>
                      </a:rPr>
                      <a:t>5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6202-48BB-B6BD-4D16F57D829F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ru-RU" sz="1600">
                        <a:solidFill>
                          <a:schemeClr val="tx1"/>
                        </a:solidFill>
                      </a:rPr>
                      <a:t>11,2</a:t>
                    </a:r>
                    <a:endParaRPr lang="ru-RU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6202-48BB-B6BD-4D16F57D829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население</c:v>
                </c:pt>
                <c:pt idx="1">
                  <c:v>коммерческие потребители</c:v>
                </c:pt>
                <c:pt idx="2">
                  <c:v>социально-уязвимые слои населения</c:v>
                </c:pt>
                <c:pt idx="3">
                  <c:v>высокотехнологичные предприятия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5</c:v>
                </c:pt>
                <c:pt idx="1">
                  <c:v>46</c:v>
                </c:pt>
                <c:pt idx="2">
                  <c:v>4</c:v>
                </c:pt>
                <c:pt idx="3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6202-48BB-B6BD-4D16F57D829F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 marL="0" algn="ctr" defTabSz="914400" rtl="0" eaLnBrk="1" latinLnBrk="0" hangingPunct="1">
        <a:defRPr lang="ru-RU" sz="1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595358919524465E-2"/>
          <c:y val="0.13048575381995314"/>
          <c:w val="0.84603203028529905"/>
          <c:h val="0.76249810498955461"/>
        </c:manualLayout>
      </c:layout>
      <c:lineChart>
        <c:grouping val="standard"/>
        <c:varyColors val="0"/>
        <c:ser>
          <c:idx val="0"/>
          <c:order val="0"/>
          <c:spPr>
            <a:ln w="57150" cap="rnd">
              <a:solidFill>
                <a:schemeClr val="accent5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57150">
                <a:solidFill>
                  <a:schemeClr val="accent5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12478387227311187"/>
                  <c:y val="3.39067954707625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1" i="0" u="none" strike="noStrike" kern="1200" baseline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defRPr>
                    </a:pPr>
                    <a:r>
                      <a:rPr lang="en-US" dirty="0" smtClean="0">
                        <a:solidFill>
                          <a:schemeClr val="tx1"/>
                        </a:solidFill>
                      </a:rPr>
                      <a:t>53,71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tx1"/>
                      </a:solidFill>
                      <a:latin typeface="Century Gothic" panose="020B0502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1833-4F2A-BB5A-5D29E3976CD3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2.9442807966390497E-2"/>
                  <c:y val="4.05978876610489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1833-4F2A-BB5A-5D29E3976CD3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9.7303375437192592E-3"/>
                  <c:y val="2.13507182831438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1833-4F2A-BB5A-5D29E3976CD3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Рост газификации.xlsx]Лист1'!$A$2:$E$2</c:f>
              <c:strCache>
                <c:ptCount val="5"/>
                <c:pt idx="0">
                  <c:v>2021 год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  <c:pt idx="4">
                  <c:v>2025 год</c:v>
                </c:pt>
              </c:strCache>
            </c:strRef>
          </c:cat>
          <c:val>
            <c:numRef>
              <c:f>'[Рост газификации.xlsx]Лист1'!$A$3:$E$3</c:f>
              <c:numCache>
                <c:formatCode>0.00%</c:formatCode>
                <c:ptCount val="5"/>
                <c:pt idx="0">
                  <c:v>0.53710000000000002</c:v>
                </c:pt>
                <c:pt idx="1">
                  <c:v>0.53939999999999999</c:v>
                </c:pt>
                <c:pt idx="2" formatCode="0%">
                  <c:v>0.55000000000000004</c:v>
                </c:pt>
                <c:pt idx="3" formatCode="0%">
                  <c:v>0.57499999999999996</c:v>
                </c:pt>
                <c:pt idx="4" formatCode="0%">
                  <c:v>0.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1833-4F2A-BB5A-5D29E3976C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115800"/>
        <c:axId val="17118936"/>
      </c:lineChart>
      <c:catAx>
        <c:axId val="17115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17118936"/>
        <c:crosses val="autoZero"/>
        <c:auto val="1"/>
        <c:lblAlgn val="ctr"/>
        <c:lblOffset val="100"/>
        <c:noMultiLvlLbl val="0"/>
      </c:catAx>
      <c:valAx>
        <c:axId val="17118936"/>
        <c:scaling>
          <c:orientation val="minMax"/>
          <c:max val="0.6100000000000001"/>
          <c:min val="0.53"/>
        </c:scaling>
        <c:delete val="1"/>
        <c:axPos val="l"/>
        <c:numFmt formatCode="0.00%" sourceLinked="1"/>
        <c:majorTickMark val="none"/>
        <c:minorTickMark val="none"/>
        <c:tickLblPos val="nextTo"/>
        <c:crossAx val="171158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06914370078739E-2"/>
          <c:y val="7.9303023941587641E-2"/>
          <c:w val="0.94583058562992128"/>
          <c:h val="0.793373083249213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лан</c:v>
                </c:pt>
              </c:strCache>
            </c:strRef>
          </c:tx>
          <c:spPr>
            <a:solidFill>
              <a:schemeClr val="accent5">
                <a:lumMod val="75000"/>
                <a:alpha val="7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5">
                  <a:lumMod val="75000"/>
                  <a:alpha val="70000"/>
                </a:schemeClr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dkEdge"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F7B-4C82-A9C4-424DA0C3B509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>
                  <a:lumMod val="75000"/>
                  <a:alpha val="70000"/>
                </a:schemeClr>
              </a:solidFill>
              <a:ln>
                <a:noFill/>
              </a:ln>
              <a:effectLst>
                <a:outerShdw blurRad="50800" dist="50800" dir="5400000" sx="1000" sy="1000" algn="ctr" rotWithShape="0">
                  <a:srgbClr val="000000">
                    <a:alpha val="43137"/>
                  </a:srgb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F7B-4C82-A9C4-424DA0C3B509}"/>
              </c:ext>
            </c:extLst>
          </c:dPt>
          <c:dLbls>
            <c:dLbl>
              <c:idx val="0"/>
              <c:layout>
                <c:manualLayout>
                  <c:x val="-3.3332507675744916E-2"/>
                  <c:y val="1.316748795848778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6F7B-4C82-A9C4-424DA0C3B509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ln>
                      <a:solidFill>
                        <a:schemeClr val="accent1">
                          <a:shade val="50000"/>
                        </a:schemeClr>
                      </a:solidFill>
                      <a:round/>
                    </a:ln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2021 жыл</c:v>
                </c:pt>
                <c:pt idx="1">
                  <c:v>2022 жыл</c:v>
                </c:pt>
                <c:pt idx="2">
                  <c:v>2023 жыл</c:v>
                </c:pt>
                <c:pt idx="3">
                  <c:v>2024 жыл</c:v>
                </c:pt>
                <c:pt idx="4">
                  <c:v>2025 жыл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68</c:v>
                </c:pt>
                <c:pt idx="1">
                  <c:v>139</c:v>
                </c:pt>
                <c:pt idx="2">
                  <c:v>210</c:v>
                </c:pt>
                <c:pt idx="3">
                  <c:v>282</c:v>
                </c:pt>
                <c:pt idx="4">
                  <c:v>3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6F7B-4C82-A9C4-424DA0C3B50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Факт</c:v>
                </c:pt>
              </c:strCache>
            </c:strRef>
          </c:tx>
          <c:spPr>
            <a:solidFill>
              <a:schemeClr val="accent6">
                <a:alpha val="83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3200" b="0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3200" b="1" dirty="0" smtClean="0">
                        <a:solidFill>
                          <a:srgbClr val="00B050"/>
                        </a:solidFill>
                      </a:rPr>
                      <a:t>165,9</a:t>
                    </a:r>
                    <a:endParaRPr lang="en-US" dirty="0"/>
                  </a:p>
                </c:rich>
              </c:tx>
              <c:numFmt formatCode="General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3200" b="0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6F7B-4C82-A9C4-424DA0C3B509}"/>
                </c:ext>
                <c:ext xmlns:c15="http://schemas.microsoft.com/office/drawing/2012/chart" uri="{CE6537A1-D6FC-4f65-9D91-7224C49458BB}"/>
              </c:extLst>
            </c:dLbl>
            <c:numFmt formatCode="General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2021 жыл</c:v>
                </c:pt>
                <c:pt idx="1">
                  <c:v>2022 жыл</c:v>
                </c:pt>
                <c:pt idx="2">
                  <c:v>2023 жыл</c:v>
                </c:pt>
                <c:pt idx="3">
                  <c:v>2024 жыл</c:v>
                </c:pt>
                <c:pt idx="4">
                  <c:v>2025 жыл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165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6F7B-4C82-A9C4-424DA0C3B509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59"/>
        <c:axId val="17116976"/>
        <c:axId val="17117368"/>
      </c:barChart>
      <c:catAx>
        <c:axId val="17116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cap="none" spc="20" normalizeH="0" baseline="0">
                <a:solidFill>
                  <a:schemeClr val="tx1"/>
                </a:solidFill>
                <a:effectLst>
                  <a:outerShdw blurRad="50800" dist="50800" dir="5400000" sx="2000" sy="2000" algn="ctr" rotWithShape="0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117368"/>
        <c:crosses val="autoZero"/>
        <c:auto val="1"/>
        <c:lblAlgn val="ctr"/>
        <c:lblOffset val="100"/>
        <c:noMultiLvlLbl val="0"/>
      </c:catAx>
      <c:valAx>
        <c:axId val="17117368"/>
        <c:scaling>
          <c:orientation val="minMax"/>
          <c:max val="350"/>
        </c:scaling>
        <c:delete val="1"/>
        <c:axPos val="l"/>
        <c:numFmt formatCode="General" sourceLinked="1"/>
        <c:majorTickMark val="none"/>
        <c:minorTickMark val="none"/>
        <c:tickLblPos val="nextTo"/>
        <c:crossAx val="17116976"/>
        <c:crosses val="autoZero"/>
        <c:crossBetween val="between"/>
      </c:valAx>
      <c:spPr>
        <a:noFill/>
        <a:ln>
          <a:noFill/>
          <a:prstDash val="dash"/>
        </a:ln>
        <a:effectLst>
          <a:innerShdw blurRad="114300">
            <a:prstClr val="black"/>
          </a:innerShdw>
        </a:effectLst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Б-ДАН ҚАРЖЫЛАНДЫРУ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-3.333333333333333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256C-4DA0-8206-498CFC2D6159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2.7777777777777779E-3"/>
                  <c:y val="-1.38888888888889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256C-4DA0-8206-498CFC2D6159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ДМС!$E$14:$I$14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ДМС!$E$15:$I$15</c:f>
              <c:numCache>
                <c:formatCode>General</c:formatCode>
                <c:ptCount val="5"/>
                <c:pt idx="0">
                  <c:v>18.399999999999999</c:v>
                </c:pt>
                <c:pt idx="1">
                  <c:v>39.299999999999997</c:v>
                </c:pt>
                <c:pt idx="2">
                  <c:v>38.5</c:v>
                </c:pt>
                <c:pt idx="3">
                  <c:v>51.3</c:v>
                </c:pt>
                <c:pt idx="4">
                  <c:v>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56C-4DA0-8206-498CFC2D61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18152"/>
        <c:axId val="17118544"/>
      </c:barChart>
      <c:lineChart>
        <c:grouping val="standard"/>
        <c:varyColors val="0"/>
        <c:ser>
          <c:idx val="1"/>
          <c:order val="1"/>
          <c:spPr>
            <a:ln w="38100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75000"/>
                </a:schemeClr>
              </a:solidFill>
              <a:ln w="9525">
                <a:solidFill>
                  <a:schemeClr val="accent6">
                    <a:lumMod val="75000"/>
                  </a:schemeClr>
                </a:solidFill>
              </a:ln>
              <a:effectLst/>
            </c:spPr>
          </c:marker>
          <c:cat>
            <c:numRef>
              <c:f>ДМС!$E$14:$I$14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ДМС!$E$16:$I$16</c:f>
              <c:numCache>
                <c:formatCode>General</c:formatCode>
                <c:ptCount val="5"/>
                <c:pt idx="0">
                  <c:v>18.399999999999999</c:v>
                </c:pt>
                <c:pt idx="1">
                  <c:v>39.299999999999997</c:v>
                </c:pt>
                <c:pt idx="2">
                  <c:v>38.5</c:v>
                </c:pt>
                <c:pt idx="3">
                  <c:v>51.3</c:v>
                </c:pt>
                <c:pt idx="4">
                  <c:v>9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256C-4DA0-8206-498CFC2D61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118152"/>
        <c:axId val="17118544"/>
      </c:lineChart>
      <c:catAx>
        <c:axId val="17118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7118544"/>
        <c:crosses val="autoZero"/>
        <c:auto val="1"/>
        <c:lblAlgn val="ctr"/>
        <c:lblOffset val="100"/>
        <c:noMultiLvlLbl val="0"/>
      </c:catAx>
      <c:valAx>
        <c:axId val="171185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7118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0"/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Лист1!$Q$13:$R$13</c:f>
              <c:numCache>
                <c:formatCode>General</c:formatCode>
                <c:ptCount val="2"/>
                <c:pt idx="0">
                  <c:v>2019</c:v>
                </c:pt>
                <c:pt idx="1">
                  <c:v>2021</c:v>
                </c:pt>
              </c:numCache>
            </c:numRef>
          </c:cat>
          <c:val>
            <c:numRef>
              <c:f>Лист1!$Q$14:$R$14</c:f>
              <c:numCache>
                <c:formatCode>_-* #,##0\ _₽_-;\-* #,##0\ _₽_-;_-* "-"??\ _₽_-;_-@_-</c:formatCode>
                <c:ptCount val="2"/>
                <c:pt idx="0">
                  <c:v>139990</c:v>
                </c:pt>
                <c:pt idx="1">
                  <c:v>31337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E6D-4889-993C-4560D227BA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5"/>
        <c:overlap val="-27"/>
        <c:axId val="293713120"/>
        <c:axId val="293708024"/>
      </c:barChart>
      <c:catAx>
        <c:axId val="293713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293708024"/>
        <c:crosses val="autoZero"/>
        <c:auto val="1"/>
        <c:lblAlgn val="ctr"/>
        <c:lblOffset val="100"/>
        <c:noMultiLvlLbl val="0"/>
      </c:catAx>
      <c:valAx>
        <c:axId val="293708024"/>
        <c:scaling>
          <c:orientation val="minMax"/>
        </c:scaling>
        <c:delete val="1"/>
        <c:axPos val="l"/>
        <c:numFmt formatCode="_-* #,##0\ _₽_-;\-* #,##0\ _₽_-;_-* &quot;-&quot;??\ _₽_-;_-@_-" sourceLinked="1"/>
        <c:majorTickMark val="none"/>
        <c:minorTickMark val="none"/>
        <c:tickLblPos val="nextTo"/>
        <c:crossAx val="2937131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38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31" kern="1200"/>
    <cs:bodyPr wrap="square" lIns="38100" tIns="19050" rIns="38100" bIns="19050" anchor="ctr">
      <a:spAutoFit/>
    </cs:bodyPr>
  </cs:dataLabel>
  <cs:dataLabelCallout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Table>
  <cs:downBar>
    <cs:lnRef idx="0"/>
    <cs:fillRef idx="0"/>
    <cs:effectRef idx="0"/>
    <cs:fontRef idx="minor">
      <a:schemeClr val="tx1"/>
    </cs:fontRef>
    <cs:spPr>
      <a:solidFill>
        <a:schemeClr val="dk1"/>
      </a:solidFill>
    </cs:spPr>
  </cs:downBar>
  <cs:dropLine>
    <cs:lnRef idx="0"/>
    <cs:fillRef idx="0"/>
    <cs:effectRef idx="0"/>
    <cs:fontRef idx="minor">
      <a:schemeClr val="tx1"/>
    </cs:fontRef>
  </cs:dropLine>
  <cs:errorBar>
    <cs:lnRef idx="0"/>
    <cs:fillRef idx="0"/>
    <cs:effectRef idx="0"/>
    <cs:fontRef idx="minor">
      <a:schemeClr val="tx1"/>
    </cs:fontRef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  <a:lumOff val="10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</cs:hiLoLine>
  <cs:leaderLine>
    <cs:lnRef idx="0"/>
    <cs:fillRef idx="0"/>
    <cs:effectRef idx="0"/>
    <cs:fontRef idx="minor">
      <a:schemeClr val="tx1"/>
    </cs:fontRef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  <cs:bodyPr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128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6012</cdr:x>
      <cdr:y>0.26253</cdr:y>
    </cdr:from>
    <cdr:to>
      <cdr:x>0.53498</cdr:x>
      <cdr:y>0.42347</cdr:y>
    </cdr:to>
    <cdr:sp macro="" textlink="">
      <cdr:nvSpPr>
        <cdr:cNvPr id="3" name="Стрелка вверх 2"/>
        <cdr:cNvSpPr/>
      </cdr:nvSpPr>
      <cdr:spPr>
        <a:xfrm xmlns:a="http://schemas.openxmlformats.org/drawingml/2006/main">
          <a:off x="2537981" y="824820"/>
          <a:ext cx="412948" cy="505635"/>
        </a:xfrm>
        <a:prstGeom xmlns:a="http://schemas.openxmlformats.org/drawingml/2006/main" prst="upArrow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ru-RU" dirty="0"/>
        </a:p>
      </cdr:txBody>
    </cdr:sp>
  </cdr:relSizeAnchor>
  <cdr:relSizeAnchor xmlns:cdr="http://schemas.openxmlformats.org/drawingml/2006/chartDrawing">
    <cdr:from>
      <cdr:x>0.19928</cdr:x>
      <cdr:y>0.4447</cdr:y>
    </cdr:from>
    <cdr:to>
      <cdr:x>0.31297</cdr:x>
      <cdr:y>0.57206</cdr:y>
    </cdr:to>
    <cdr:sp macro="" textlink="">
      <cdr:nvSpPr>
        <cdr:cNvPr id="4" name="TextBox 6"/>
        <cdr:cNvSpPr txBox="1"/>
      </cdr:nvSpPr>
      <cdr:spPr>
        <a:xfrm xmlns:a="http://schemas.openxmlformats.org/drawingml/2006/main">
          <a:off x="1099198" y="1397156"/>
          <a:ext cx="627107" cy="40013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2000" dirty="0">
              <a:solidFill>
                <a:schemeClr val="accent1"/>
              </a:solidFill>
            </a:rPr>
            <a:t>35%</a:t>
          </a:r>
        </a:p>
      </cdr:txBody>
    </cdr:sp>
  </cdr:relSizeAnchor>
  <cdr:relSizeAnchor xmlns:cdr="http://schemas.openxmlformats.org/drawingml/2006/chartDrawing">
    <cdr:from>
      <cdr:x>0.07426</cdr:x>
      <cdr:y>0.82345</cdr:y>
    </cdr:from>
    <cdr:to>
      <cdr:x>0.28694</cdr:x>
      <cdr:y>0.91283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409623" y="2587090"/>
          <a:ext cx="1173112" cy="28082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b="1" dirty="0"/>
            <a:t>2017</a:t>
          </a:r>
        </a:p>
      </cdr:txBody>
    </cdr:sp>
  </cdr:relSizeAnchor>
  <cdr:relSizeAnchor xmlns:cdr="http://schemas.openxmlformats.org/drawingml/2006/chartDrawing">
    <cdr:from>
      <cdr:x>0.04485</cdr:x>
      <cdr:y>0.71236</cdr:y>
    </cdr:from>
    <cdr:to>
      <cdr:x>0.93037</cdr:x>
      <cdr:y>0.71236</cdr:y>
    </cdr:to>
    <cdr:cxnSp macro="">
      <cdr:nvCxnSpPr>
        <cdr:cNvPr id="7" name="Прямая соединительная линия 6">
          <a:extLst xmlns:a="http://schemas.openxmlformats.org/drawingml/2006/main">
            <a:ext uri="{FF2B5EF4-FFF2-40B4-BE49-F238E27FC236}">
              <a16:creationId xmlns:a16="http://schemas.microsoft.com/office/drawing/2014/main" xmlns="" id="{DE20A6C2-B027-445F-B593-E2EE6FC8AF0D}"/>
            </a:ext>
          </a:extLst>
        </cdr:cNvPr>
        <cdr:cNvCxnSpPr/>
      </cdr:nvCxnSpPr>
      <cdr:spPr>
        <a:xfrm xmlns:a="http://schemas.openxmlformats.org/drawingml/2006/main" flipH="1">
          <a:off x="247365" y="2238074"/>
          <a:ext cx="4884471" cy="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bg2">
              <a:lumMod val="50000"/>
            </a:schemeClr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0726</cdr:x>
      <cdr:y>0.82345</cdr:y>
    </cdr:from>
    <cdr:to>
      <cdr:x>0.51993</cdr:x>
      <cdr:y>0.91283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1694799" y="2587090"/>
          <a:ext cx="1173112" cy="28082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400" b="1" dirty="0"/>
            <a:t>2021</a:t>
          </a:r>
        </a:p>
      </cdr:txBody>
    </cdr:sp>
  </cdr:relSizeAnchor>
  <cdr:relSizeAnchor xmlns:cdr="http://schemas.openxmlformats.org/drawingml/2006/chartDrawing">
    <cdr:from>
      <cdr:x>0.8223</cdr:x>
      <cdr:y>0.82345</cdr:y>
    </cdr:from>
    <cdr:to>
      <cdr:x>0.96927</cdr:x>
      <cdr:y>0.91283</cdr:y>
    </cdr:to>
    <cdr:sp macro="" textlink="">
      <cdr:nvSpPr>
        <cdr:cNvPr id="9" name="TextBox 1"/>
        <cdr:cNvSpPr txBox="1"/>
      </cdr:nvSpPr>
      <cdr:spPr>
        <a:xfrm xmlns:a="http://schemas.openxmlformats.org/drawingml/2006/main">
          <a:off x="4535747" y="2587090"/>
          <a:ext cx="810692" cy="28082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400" b="1" dirty="0"/>
            <a:t>2030</a:t>
          </a:r>
        </a:p>
      </cdr:txBody>
    </cdr:sp>
  </cdr:relSizeAnchor>
  <cdr:relSizeAnchor xmlns:cdr="http://schemas.openxmlformats.org/drawingml/2006/chartDrawing">
    <cdr:from>
      <cdr:x>0.70826</cdr:x>
      <cdr:y>0.91931</cdr:y>
    </cdr:from>
    <cdr:to>
      <cdr:x>0.72255</cdr:x>
      <cdr:y>0.9458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3906698" y="2888266"/>
          <a:ext cx="78823" cy="83226"/>
        </a:xfrm>
        <a:prstGeom xmlns:a="http://schemas.openxmlformats.org/drawingml/2006/main" prst="rect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71153</cdr:x>
      <cdr:y>0.1206</cdr:y>
    </cdr:from>
    <cdr:to>
      <cdr:x>0.7851</cdr:x>
      <cdr:y>0.24021</cdr:y>
    </cdr:to>
    <cdr:sp macro="" textlink="">
      <cdr:nvSpPr>
        <cdr:cNvPr id="12" name="Стрелка вверх 11"/>
        <cdr:cNvSpPr/>
      </cdr:nvSpPr>
      <cdr:spPr>
        <a:xfrm xmlns:a="http://schemas.openxmlformats.org/drawingml/2006/main">
          <a:off x="3924763" y="378887"/>
          <a:ext cx="405792" cy="375810"/>
        </a:xfrm>
        <a:prstGeom xmlns:a="http://schemas.openxmlformats.org/drawingml/2006/main" prst="upArrow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ru-RU" dirty="0"/>
        </a:p>
      </cdr:txBody>
    </cdr:sp>
  </cdr:relSizeAnchor>
  <cdr:relSizeAnchor xmlns:cdr="http://schemas.openxmlformats.org/drawingml/2006/chartDrawing">
    <cdr:from>
      <cdr:x>0.69642</cdr:x>
      <cdr:y>0.25653</cdr:y>
    </cdr:from>
    <cdr:to>
      <cdr:x>0.81011</cdr:x>
      <cdr:y>0.38388</cdr:y>
    </cdr:to>
    <cdr:sp macro="" textlink="">
      <cdr:nvSpPr>
        <cdr:cNvPr id="13" name="TextBox 6"/>
        <cdr:cNvSpPr txBox="1"/>
      </cdr:nvSpPr>
      <cdr:spPr>
        <a:xfrm xmlns:a="http://schemas.openxmlformats.org/drawingml/2006/main">
          <a:off x="3841399" y="805960"/>
          <a:ext cx="627095" cy="4001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2000" dirty="0">
              <a:solidFill>
                <a:schemeClr val="accent1"/>
              </a:solidFill>
            </a:rPr>
            <a:t>10</a:t>
          </a:r>
          <a:r>
            <a:rPr lang="ru-RU" sz="2000" dirty="0">
              <a:solidFill>
                <a:schemeClr val="accent1"/>
              </a:solidFill>
            </a:rPr>
            <a:t>%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71800" cy="499091"/>
          </a:xfrm>
          <a:prstGeom prst="rect">
            <a:avLst/>
          </a:prstGeom>
        </p:spPr>
        <p:txBody>
          <a:bodyPr vert="horz" lIns="93542" tIns="46771" rIns="93542" bIns="4677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7" y="2"/>
            <a:ext cx="2971800" cy="499091"/>
          </a:xfrm>
          <a:prstGeom prst="rect">
            <a:avLst/>
          </a:prstGeom>
        </p:spPr>
        <p:txBody>
          <a:bodyPr vert="horz" lIns="93542" tIns="46771" rIns="93542" bIns="46771" rtlCol="0"/>
          <a:lstStyle>
            <a:lvl1pPr algn="r">
              <a:defRPr sz="1200"/>
            </a:lvl1pPr>
          </a:lstStyle>
          <a:p>
            <a:fld id="{B3AF86ED-89F1-4CBD-9CC9-DA0200960A18}" type="datetimeFigureOut">
              <a:rPr lang="ru-RU" smtClean="0"/>
              <a:t>05.06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44500" y="1244600"/>
            <a:ext cx="5969000" cy="3357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542" tIns="46771" rIns="93542" bIns="4677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87129"/>
            <a:ext cx="5486400" cy="3916739"/>
          </a:xfrm>
          <a:prstGeom prst="rect">
            <a:avLst/>
          </a:prstGeom>
        </p:spPr>
        <p:txBody>
          <a:bodyPr vert="horz" lIns="93542" tIns="46771" rIns="93542" bIns="46771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48188"/>
            <a:ext cx="2971800" cy="499090"/>
          </a:xfrm>
          <a:prstGeom prst="rect">
            <a:avLst/>
          </a:prstGeom>
        </p:spPr>
        <p:txBody>
          <a:bodyPr vert="horz" lIns="93542" tIns="46771" rIns="93542" bIns="4677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7" y="9448188"/>
            <a:ext cx="2971800" cy="499090"/>
          </a:xfrm>
          <a:prstGeom prst="rect">
            <a:avLst/>
          </a:prstGeom>
        </p:spPr>
        <p:txBody>
          <a:bodyPr vert="horz" lIns="93542" tIns="46771" rIns="93542" bIns="46771" rtlCol="0" anchor="b"/>
          <a:lstStyle>
            <a:lvl1pPr algn="r">
              <a:defRPr sz="1200"/>
            </a:lvl1pPr>
          </a:lstStyle>
          <a:p>
            <a:fld id="{E1B5FB78-C771-4CA5-BD0E-6823FA3662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79212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6838" y="750888"/>
            <a:ext cx="6659562" cy="37465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09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5323" indent="-286662" defTabSz="92209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6650" indent="-229330" defTabSz="92209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5310" indent="-229330" defTabSz="92209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63969" indent="-229330" defTabSz="92209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22629" indent="-229330" defTabSz="92209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81289" indent="-229330" defTabSz="92209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39949" indent="-229330" defTabSz="92209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98609" indent="-229330" defTabSz="92209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fld id="{726E9EEA-31A5-4588-93AE-B8A95626EF62}" type="slidenum">
              <a:rPr lang="ru-RU" altLang="ru-RU"/>
              <a:pPr/>
              <a:t>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545087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4600"/>
            <a:ext cx="5969000" cy="33575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74A347-18A0-49DB-B04C-E1BC158F08B9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49975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4600"/>
            <a:ext cx="5969000" cy="33575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62215B-9C2D-4751-9C42-513CF5CF32FA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04379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4600"/>
            <a:ext cx="5969000" cy="33575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C3DA02-DE10-4F6C-AF58-5A1C9A80CCFC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26254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C3DA02-DE10-4F6C-AF58-5A1C9A80CCFC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17683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C3DA02-DE10-4F6C-AF58-5A1C9A80CCFC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27156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C3DA02-DE10-4F6C-AF58-5A1C9A80CCFC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075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24035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42842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27346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0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Заголовок 2"/>
          <p:cNvSpPr txBox="1">
            <a:spLocks/>
          </p:cNvSpPr>
          <p:nvPr userDrawn="1"/>
        </p:nvSpPr>
        <p:spPr>
          <a:xfrm>
            <a:off x="589628" y="0"/>
            <a:ext cx="11075635" cy="792000"/>
          </a:xfrm>
          <a:prstGeom prst="rect">
            <a:avLst/>
          </a:prstGeom>
        </p:spPr>
        <p:txBody>
          <a:bodyPr lIns="68580" tIns="34290" rIns="68580" bIns="3429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60308" y="6356354"/>
            <a:ext cx="27432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37328BF-5376-4A3C-B145-9120D508ECBC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56040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21149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11806773" y="6642103"/>
            <a:ext cx="436033" cy="215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/>
            <a:fld id="{DD7A5684-EDC1-4BA5-A61F-CC11A9D59518}" type="slidenum">
              <a:rPr lang="ru-RU" altLang="ru-RU"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altLang="ru-RU" sz="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745067"/>
            <a:ext cx="12192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2631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3881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76121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39164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72937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3925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40919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88901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21021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9738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77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gif"/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Relationship Id="rId9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21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microsoft.com/office/2007/relationships/hdphoto" Target="../media/hdphoto4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6" Type="http://schemas.microsoft.com/office/2007/relationships/hdphoto" Target="../media/hdphoto5.wdp"/><Relationship Id="rId5" Type="http://schemas.openxmlformats.org/officeDocument/2006/relationships/image" Target="../media/image27.png"/><Relationship Id="rId4" Type="http://schemas.openxmlformats.org/officeDocument/2006/relationships/image" Target="../media/image26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chart" Target="../charts/char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microsoft.com/office/2007/relationships/hdphoto" Target="../media/hdphoto6.wdp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image" Target="../media/image34.png"/><Relationship Id="rId7" Type="http://schemas.openxmlformats.org/officeDocument/2006/relationships/image" Target="../media/image37.jpeg"/><Relationship Id="rId12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11" Type="http://schemas.openxmlformats.org/officeDocument/2006/relationships/image" Target="../media/image41.jpeg"/><Relationship Id="rId5" Type="http://schemas.openxmlformats.org/officeDocument/2006/relationships/image" Target="../media/image35.jpeg"/><Relationship Id="rId10" Type="http://schemas.openxmlformats.org/officeDocument/2006/relationships/image" Target="../media/image40.png"/><Relationship Id="rId4" Type="http://schemas.microsoft.com/office/2007/relationships/hdphoto" Target="../media/hdphoto7.wdp"/><Relationship Id="rId9" Type="http://schemas.openxmlformats.org/officeDocument/2006/relationships/image" Target="../media/image39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9.png"/><Relationship Id="rId7" Type="http://schemas.openxmlformats.org/officeDocument/2006/relationships/chart" Target="../charts/chart4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Relationship Id="rId6" Type="http://schemas.microsoft.com/office/2007/relationships/hdphoto" Target="../media/hdphoto2.wdp"/><Relationship Id="rId5" Type="http://schemas.openxmlformats.org/officeDocument/2006/relationships/image" Target="../media/image17.png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7" name="Рисунок 3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0699" y="4633385"/>
            <a:ext cx="1908972" cy="2127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8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0700" y="2400302"/>
            <a:ext cx="2586038" cy="1996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Прямоугольный треугольник 32"/>
          <p:cNvSpPr/>
          <p:nvPr/>
        </p:nvSpPr>
        <p:spPr>
          <a:xfrm flipH="1">
            <a:off x="4773615" y="2385486"/>
            <a:ext cx="1571625" cy="2696633"/>
          </a:xfrm>
          <a:prstGeom prst="rt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>
              <a:defRPr/>
            </a:pPr>
            <a:endParaRPr lang="ru-RU" sz="3000" b="1" dirty="0">
              <a:cs typeface="Arial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6968331" y="6229351"/>
            <a:ext cx="1928812" cy="476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>
              <a:defRPr/>
            </a:pPr>
            <a:r>
              <a:rPr lang="ru-RU" sz="1100" b="1" dirty="0">
                <a:solidFill>
                  <a:srgbClr val="002060"/>
                </a:solidFill>
                <a:cs typeface="Arial" pitchFamily="34" charset="0"/>
              </a:rPr>
              <a:t>2022 </a:t>
            </a:r>
            <a:r>
              <a:rPr lang="ru-RU" sz="1100" b="1" dirty="0" err="1">
                <a:solidFill>
                  <a:srgbClr val="002060"/>
                </a:solidFill>
                <a:cs typeface="Arial" pitchFamily="34" charset="0"/>
              </a:rPr>
              <a:t>жылғы</a:t>
            </a:r>
            <a:r>
              <a:rPr lang="ru-RU" sz="1100" b="1" dirty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cs typeface="Arial" pitchFamily="34" charset="0"/>
              </a:rPr>
              <a:t>маусым</a:t>
            </a:r>
            <a:endParaRPr lang="ru-RU" sz="1100" b="1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6342064" y="2385486"/>
            <a:ext cx="5707061" cy="269663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>
              <a:defRPr/>
            </a:pPr>
            <a:endParaRPr lang="ru-RU" sz="3000" b="1" dirty="0">
              <a:cs typeface="Arial" pitchFamily="34" charset="0"/>
            </a:endParaRPr>
          </a:p>
        </p:txBody>
      </p:sp>
      <p:sp>
        <p:nvSpPr>
          <p:cNvPr id="34" name="Прямоугольный треугольник 33"/>
          <p:cNvSpPr/>
          <p:nvPr/>
        </p:nvSpPr>
        <p:spPr>
          <a:xfrm rot="10800000" flipH="1">
            <a:off x="4733925" y="5082118"/>
            <a:ext cx="1287461" cy="1691215"/>
          </a:xfrm>
          <a:prstGeom prst="rt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393" name="Прямоугольник 15"/>
          <p:cNvSpPr>
            <a:spLocks noChangeArrowheads="1"/>
          </p:cNvSpPr>
          <p:nvPr/>
        </p:nvSpPr>
        <p:spPr bwMode="auto">
          <a:xfrm>
            <a:off x="6139657" y="3059155"/>
            <a:ext cx="6111874" cy="1261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38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Газ </a:t>
            </a:r>
            <a:r>
              <a:rPr lang="ru-RU" altLang="ru-RU" sz="3800" b="1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саласын</a:t>
            </a:r>
            <a:r>
              <a:rPr lang="ru-RU" altLang="ru-RU" sz="38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 </a:t>
            </a:r>
            <a:r>
              <a:rPr lang="ru-RU" altLang="ru-RU" sz="3800" b="1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дамыту</a:t>
            </a:r>
            <a:r>
              <a:rPr lang="ru-RU" altLang="ru-RU" sz="38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 </a:t>
            </a:r>
            <a:r>
              <a:rPr lang="ru-RU" altLang="ru-RU" sz="3800" b="1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перспективалары</a:t>
            </a:r>
            <a:endParaRPr lang="ru-RU" altLang="ru-RU" sz="38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6401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0700" y="209553"/>
            <a:ext cx="2592388" cy="2000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8" name="Прямая соединительная линия 47"/>
          <p:cNvCxnSpPr/>
          <p:nvPr/>
        </p:nvCxnSpPr>
        <p:spPr>
          <a:xfrm flipH="1">
            <a:off x="3810000" y="114300"/>
            <a:ext cx="3714750" cy="65532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 flipH="1">
            <a:off x="3795713" y="247651"/>
            <a:ext cx="3714750" cy="65532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Равнобедренный треугольник 63"/>
          <p:cNvSpPr/>
          <p:nvPr/>
        </p:nvSpPr>
        <p:spPr>
          <a:xfrm>
            <a:off x="6294438" y="1183219"/>
            <a:ext cx="685800" cy="1096433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5" name="Равнобедренный треугольник 64"/>
          <p:cNvSpPr/>
          <p:nvPr/>
        </p:nvSpPr>
        <p:spPr>
          <a:xfrm>
            <a:off x="3824290" y="5981701"/>
            <a:ext cx="473075" cy="800100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6" name="Равнобедренный треугольник 65"/>
          <p:cNvSpPr/>
          <p:nvPr/>
        </p:nvSpPr>
        <p:spPr>
          <a:xfrm>
            <a:off x="3695700" y="5137151"/>
            <a:ext cx="1098550" cy="1644650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16408" name="Рисунок 3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9225" y="531108"/>
            <a:ext cx="1300162" cy="1200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409" name="Прямоугольник 66"/>
          <p:cNvSpPr>
            <a:spLocks noChangeArrowheads="1"/>
          </p:cNvSpPr>
          <p:nvPr/>
        </p:nvSpPr>
        <p:spPr bwMode="auto">
          <a:xfrm>
            <a:off x="6588919" y="748673"/>
            <a:ext cx="4014787" cy="830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/>
            <a:r>
              <a:rPr lang="kk-KZ" altLang="ru-RU" sz="2400" dirty="0">
                <a:solidFill>
                  <a:srgbClr val="002060"/>
                </a:solidFill>
                <a:latin typeface="+mn-lt"/>
              </a:rPr>
              <a:t>Қазақстан Республикасы</a:t>
            </a:r>
          </a:p>
          <a:p>
            <a:pPr algn="ctr"/>
            <a:r>
              <a:rPr lang="kk-KZ" altLang="ru-RU" sz="2400" dirty="0">
                <a:solidFill>
                  <a:srgbClr val="002060"/>
                </a:solidFill>
                <a:latin typeface="+mn-lt"/>
              </a:rPr>
              <a:t>Энергетика министрлігі</a:t>
            </a:r>
            <a:endParaRPr lang="ru-RU" altLang="ru-RU" sz="2400" dirty="0">
              <a:solidFill>
                <a:srgbClr val="002060"/>
              </a:solidFill>
              <a:latin typeface="+mn-lt"/>
            </a:endParaRPr>
          </a:p>
        </p:txBody>
      </p:sp>
      <p:pic>
        <p:nvPicPr>
          <p:cNvPr id="20" name="Picture 4" descr="http://inosmi.info/upload/editor/news/2016.02/56b88f087facc_1454935816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9" r="10015"/>
          <a:stretch/>
        </p:blipFill>
        <p:spPr bwMode="auto">
          <a:xfrm>
            <a:off x="247650" y="2396533"/>
            <a:ext cx="2612232" cy="1999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https://media.giphy.com/media/knO4GQhFcU33q/giphy.gif"/>
          <p:cNvPicPr>
            <a:picLocks noChangeAspect="1" noChangeArrowheads="1" noCrop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062" y="4633384"/>
            <a:ext cx="2612234" cy="2127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062" y="209552"/>
            <a:ext cx="2610777" cy="2005000"/>
          </a:xfrm>
          <a:prstGeom prst="rect">
            <a:avLst/>
          </a:prstGeom>
        </p:spPr>
      </p:pic>
      <p:sp>
        <p:nvSpPr>
          <p:cNvPr id="2" name="Прямоугольный треугольник 1"/>
          <p:cNvSpPr/>
          <p:nvPr/>
        </p:nvSpPr>
        <p:spPr>
          <a:xfrm rot="16200000">
            <a:off x="4626622" y="6061719"/>
            <a:ext cx="813096" cy="62706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41190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AutoShape 6" descr="больница, здание бесплатно значок - Icon-Icons.com"/>
          <p:cNvSpPr>
            <a:spLocks noChangeAspect="1" noChangeArrowheads="1"/>
          </p:cNvSpPr>
          <p:nvPr/>
        </p:nvSpPr>
        <p:spPr bwMode="auto">
          <a:xfrm>
            <a:off x="1831975" y="-163581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600"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77AC08D8-A2CF-4813-BCB9-ECFCFFCE433C}"/>
              </a:ext>
            </a:extLst>
          </p:cNvPr>
          <p:cNvSpPr txBox="1"/>
          <p:nvPr/>
        </p:nvSpPr>
        <p:spPr>
          <a:xfrm>
            <a:off x="287742" y="32121"/>
            <a:ext cx="106775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2400" b="1" dirty="0">
                <a:solidFill>
                  <a:srgbClr val="1A4164"/>
                </a:solidFill>
                <a:ea typeface="Barlow Condensed"/>
                <a:cs typeface="Arial" panose="020B0604020202020204" pitchFamily="34" charset="0"/>
              </a:rPr>
              <a:t>СОЛТҮСТІК ӨҢІРЛЕРДІ ЖӘНЕ ШҚО-НЫ ГАЗДАНДЫРУ</a:t>
            </a:r>
            <a:endParaRPr lang="ru-RU" sz="2400" b="1" dirty="0">
              <a:solidFill>
                <a:srgbClr val="1A4164"/>
              </a:solidFill>
              <a:ea typeface="Barlow Condensed"/>
              <a:cs typeface="Arial" panose="020B0604020202020204" pitchFamily="34" charset="0"/>
            </a:endParaRPr>
          </a:p>
        </p:txBody>
      </p:sp>
      <p:grpSp>
        <p:nvGrpSpPr>
          <p:cNvPr id="142" name="Группа 141"/>
          <p:cNvGrpSpPr/>
          <p:nvPr/>
        </p:nvGrpSpPr>
        <p:grpSpPr>
          <a:xfrm>
            <a:off x="428076" y="712150"/>
            <a:ext cx="11872133" cy="5411692"/>
            <a:chOff x="18966" y="1327881"/>
            <a:chExt cx="9155864" cy="5406294"/>
          </a:xfrm>
        </p:grpSpPr>
        <p:grpSp>
          <p:nvGrpSpPr>
            <p:cNvPr id="143" name="Группа 142"/>
            <p:cNvGrpSpPr/>
            <p:nvPr/>
          </p:nvGrpSpPr>
          <p:grpSpPr>
            <a:xfrm>
              <a:off x="135348" y="1327881"/>
              <a:ext cx="9039482" cy="5406294"/>
              <a:chOff x="414916" y="1310955"/>
              <a:chExt cx="8745993" cy="5278254"/>
            </a:xfrm>
          </p:grpSpPr>
          <p:grpSp>
            <p:nvGrpSpPr>
              <p:cNvPr id="176" name="Группа 175"/>
              <p:cNvGrpSpPr/>
              <p:nvPr/>
            </p:nvGrpSpPr>
            <p:grpSpPr>
              <a:xfrm>
                <a:off x="414916" y="1310955"/>
                <a:ext cx="8745993" cy="5278254"/>
                <a:chOff x="591129" y="543495"/>
                <a:chExt cx="8745993" cy="4564286"/>
              </a:xfrm>
            </p:grpSpPr>
            <p:grpSp>
              <p:nvGrpSpPr>
                <p:cNvPr id="190" name="Группа 189"/>
                <p:cNvGrpSpPr/>
                <p:nvPr/>
              </p:nvGrpSpPr>
              <p:grpSpPr>
                <a:xfrm>
                  <a:off x="591129" y="543495"/>
                  <a:ext cx="8745993" cy="4564286"/>
                  <a:chOff x="0" y="1740457"/>
                  <a:chExt cx="7996799" cy="4810039"/>
                </a:xfrm>
              </p:grpSpPr>
              <p:grpSp>
                <p:nvGrpSpPr>
                  <p:cNvPr id="197" name="Группа 27"/>
                  <p:cNvGrpSpPr>
                    <a:grpSpLocks/>
                  </p:cNvGrpSpPr>
                  <p:nvPr/>
                </p:nvGrpSpPr>
                <p:grpSpPr bwMode="auto">
                  <a:xfrm>
                    <a:off x="0" y="2150565"/>
                    <a:ext cx="7176413" cy="4399931"/>
                    <a:chOff x="1052945" y="929126"/>
                    <a:chExt cx="6128906" cy="3157270"/>
                  </a:xfrm>
                  <a:solidFill>
                    <a:schemeClr val="accent3">
                      <a:lumMod val="20000"/>
                      <a:lumOff val="80000"/>
                    </a:schemeClr>
                  </a:solidFill>
                </p:grpSpPr>
                <p:sp>
                  <p:nvSpPr>
                    <p:cNvPr id="215" name="Freeform 14"/>
                    <p:cNvSpPr/>
                    <p:nvPr/>
                  </p:nvSpPr>
                  <p:spPr>
                    <a:xfrm>
                      <a:off x="5242803" y="2542354"/>
                      <a:ext cx="1432662" cy="998986"/>
                    </a:xfrm>
                    <a:custGeom>
                      <a:avLst/>
                      <a:gdLst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19100 w 2038350"/>
                        <a:gd name="connsiteY87" fmla="*/ 1264444 h 1533525"/>
                        <a:gd name="connsiteX88" fmla="*/ 383381 w 2038350"/>
                        <a:gd name="connsiteY88" fmla="*/ 1109663 h 1533525"/>
                        <a:gd name="connsiteX89" fmla="*/ 304800 w 2038350"/>
                        <a:gd name="connsiteY89" fmla="*/ 1050131 h 1533525"/>
                        <a:gd name="connsiteX90" fmla="*/ 195262 w 2038350"/>
                        <a:gd name="connsiteY90" fmla="*/ 1000125 h 1533525"/>
                        <a:gd name="connsiteX91" fmla="*/ 169068 w 2038350"/>
                        <a:gd name="connsiteY91" fmla="*/ 904875 h 1533525"/>
                        <a:gd name="connsiteX92" fmla="*/ 78581 w 2038350"/>
                        <a:gd name="connsiteY92" fmla="*/ 847725 h 1533525"/>
                        <a:gd name="connsiteX93" fmla="*/ 0 w 2038350"/>
                        <a:gd name="connsiteY93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19100 w 2038350"/>
                        <a:gd name="connsiteY87" fmla="*/ 1264444 h 1533525"/>
                        <a:gd name="connsiteX88" fmla="*/ 383381 w 2038350"/>
                        <a:gd name="connsiteY88" fmla="*/ 1109663 h 1533525"/>
                        <a:gd name="connsiteX89" fmla="*/ 304800 w 2038350"/>
                        <a:gd name="connsiteY89" fmla="*/ 1050131 h 1533525"/>
                        <a:gd name="connsiteX90" fmla="*/ 252412 w 2038350"/>
                        <a:gd name="connsiteY90" fmla="*/ 1023938 h 1533525"/>
                        <a:gd name="connsiteX91" fmla="*/ 195262 w 2038350"/>
                        <a:gd name="connsiteY91" fmla="*/ 1000125 h 1533525"/>
                        <a:gd name="connsiteX92" fmla="*/ 169068 w 2038350"/>
                        <a:gd name="connsiteY92" fmla="*/ 904875 h 1533525"/>
                        <a:gd name="connsiteX93" fmla="*/ 78581 w 2038350"/>
                        <a:gd name="connsiteY93" fmla="*/ 847725 h 1533525"/>
                        <a:gd name="connsiteX94" fmla="*/ 0 w 2038350"/>
                        <a:gd name="connsiteY94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19100 w 2038350"/>
                        <a:gd name="connsiteY87" fmla="*/ 1264444 h 1533525"/>
                        <a:gd name="connsiteX88" fmla="*/ 383381 w 2038350"/>
                        <a:gd name="connsiteY88" fmla="*/ 1109663 h 1533525"/>
                        <a:gd name="connsiteX89" fmla="*/ 304800 w 2038350"/>
                        <a:gd name="connsiteY89" fmla="*/ 1050131 h 1533525"/>
                        <a:gd name="connsiteX90" fmla="*/ 250030 w 2038350"/>
                        <a:gd name="connsiteY90" fmla="*/ 1033463 h 1533525"/>
                        <a:gd name="connsiteX91" fmla="*/ 195262 w 2038350"/>
                        <a:gd name="connsiteY91" fmla="*/ 1000125 h 1533525"/>
                        <a:gd name="connsiteX92" fmla="*/ 169068 w 2038350"/>
                        <a:gd name="connsiteY92" fmla="*/ 904875 h 1533525"/>
                        <a:gd name="connsiteX93" fmla="*/ 78581 w 2038350"/>
                        <a:gd name="connsiteY93" fmla="*/ 847725 h 1533525"/>
                        <a:gd name="connsiteX94" fmla="*/ 0 w 2038350"/>
                        <a:gd name="connsiteY94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19100 w 2038350"/>
                        <a:gd name="connsiteY87" fmla="*/ 1264444 h 1533525"/>
                        <a:gd name="connsiteX88" fmla="*/ 383381 w 2038350"/>
                        <a:gd name="connsiteY88" fmla="*/ 1109663 h 1533525"/>
                        <a:gd name="connsiteX89" fmla="*/ 314325 w 2038350"/>
                        <a:gd name="connsiteY89" fmla="*/ 1064419 h 1533525"/>
                        <a:gd name="connsiteX90" fmla="*/ 250030 w 2038350"/>
                        <a:gd name="connsiteY90" fmla="*/ 1033463 h 1533525"/>
                        <a:gd name="connsiteX91" fmla="*/ 195262 w 2038350"/>
                        <a:gd name="connsiteY91" fmla="*/ 1000125 h 1533525"/>
                        <a:gd name="connsiteX92" fmla="*/ 169068 w 2038350"/>
                        <a:gd name="connsiteY92" fmla="*/ 904875 h 1533525"/>
                        <a:gd name="connsiteX93" fmla="*/ 78581 w 2038350"/>
                        <a:gd name="connsiteY93" fmla="*/ 847725 h 1533525"/>
                        <a:gd name="connsiteX94" fmla="*/ 0 w 2038350"/>
                        <a:gd name="connsiteY94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52437 w 2038350"/>
                        <a:gd name="connsiteY87" fmla="*/ 1331119 h 1533525"/>
                        <a:gd name="connsiteX88" fmla="*/ 419100 w 2038350"/>
                        <a:gd name="connsiteY88" fmla="*/ 1264444 h 1533525"/>
                        <a:gd name="connsiteX89" fmla="*/ 383381 w 2038350"/>
                        <a:gd name="connsiteY89" fmla="*/ 1109663 h 1533525"/>
                        <a:gd name="connsiteX90" fmla="*/ 314325 w 2038350"/>
                        <a:gd name="connsiteY90" fmla="*/ 1064419 h 1533525"/>
                        <a:gd name="connsiteX91" fmla="*/ 250030 w 2038350"/>
                        <a:gd name="connsiteY91" fmla="*/ 1033463 h 1533525"/>
                        <a:gd name="connsiteX92" fmla="*/ 195262 w 2038350"/>
                        <a:gd name="connsiteY92" fmla="*/ 1000125 h 1533525"/>
                        <a:gd name="connsiteX93" fmla="*/ 169068 w 2038350"/>
                        <a:gd name="connsiteY93" fmla="*/ 904875 h 1533525"/>
                        <a:gd name="connsiteX94" fmla="*/ 78581 w 2038350"/>
                        <a:gd name="connsiteY94" fmla="*/ 847725 h 1533525"/>
                        <a:gd name="connsiteX95" fmla="*/ 0 w 2038350"/>
                        <a:gd name="connsiteY95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40531 w 2038350"/>
                        <a:gd name="connsiteY87" fmla="*/ 1340644 h 1533525"/>
                        <a:gd name="connsiteX88" fmla="*/ 419100 w 2038350"/>
                        <a:gd name="connsiteY88" fmla="*/ 1264444 h 1533525"/>
                        <a:gd name="connsiteX89" fmla="*/ 383381 w 2038350"/>
                        <a:gd name="connsiteY89" fmla="*/ 1109663 h 1533525"/>
                        <a:gd name="connsiteX90" fmla="*/ 314325 w 2038350"/>
                        <a:gd name="connsiteY90" fmla="*/ 1064419 h 1533525"/>
                        <a:gd name="connsiteX91" fmla="*/ 250030 w 2038350"/>
                        <a:gd name="connsiteY91" fmla="*/ 1033463 h 1533525"/>
                        <a:gd name="connsiteX92" fmla="*/ 195262 w 2038350"/>
                        <a:gd name="connsiteY92" fmla="*/ 1000125 h 1533525"/>
                        <a:gd name="connsiteX93" fmla="*/ 169068 w 2038350"/>
                        <a:gd name="connsiteY93" fmla="*/ 904875 h 1533525"/>
                        <a:gd name="connsiteX94" fmla="*/ 78581 w 2038350"/>
                        <a:gd name="connsiteY94" fmla="*/ 847725 h 1533525"/>
                        <a:gd name="connsiteX95" fmla="*/ 0 w 2038350"/>
                        <a:gd name="connsiteY95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40531 w 2038350"/>
                        <a:gd name="connsiteY87" fmla="*/ 1340644 h 1533525"/>
                        <a:gd name="connsiteX88" fmla="*/ 419100 w 2038350"/>
                        <a:gd name="connsiteY88" fmla="*/ 1264444 h 1533525"/>
                        <a:gd name="connsiteX89" fmla="*/ 383381 w 2038350"/>
                        <a:gd name="connsiteY89" fmla="*/ 1109663 h 1533525"/>
                        <a:gd name="connsiteX90" fmla="*/ 314325 w 2038350"/>
                        <a:gd name="connsiteY90" fmla="*/ 1064419 h 1533525"/>
                        <a:gd name="connsiteX91" fmla="*/ 250030 w 2038350"/>
                        <a:gd name="connsiteY91" fmla="*/ 1033463 h 1533525"/>
                        <a:gd name="connsiteX92" fmla="*/ 195262 w 2038350"/>
                        <a:gd name="connsiteY92" fmla="*/ 1000125 h 1533525"/>
                        <a:gd name="connsiteX93" fmla="*/ 161925 w 2038350"/>
                        <a:gd name="connsiteY93" fmla="*/ 904875 h 1533525"/>
                        <a:gd name="connsiteX94" fmla="*/ 78581 w 2038350"/>
                        <a:gd name="connsiteY94" fmla="*/ 847725 h 1533525"/>
                        <a:gd name="connsiteX95" fmla="*/ 0 w 2038350"/>
                        <a:gd name="connsiteY95" fmla="*/ 552450 h 15335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</a:cxnLst>
                      <a:rect l="l" t="t" r="r" b="b"/>
                      <a:pathLst>
                        <a:path w="2038350" h="1533525">
                          <a:moveTo>
                            <a:pt x="0" y="552450"/>
                          </a:moveTo>
                          <a:lnTo>
                            <a:pt x="119062" y="423863"/>
                          </a:lnTo>
                          <a:lnTo>
                            <a:pt x="228600" y="314325"/>
                          </a:lnTo>
                          <a:lnTo>
                            <a:pt x="328612" y="280988"/>
                          </a:lnTo>
                          <a:lnTo>
                            <a:pt x="540543" y="271463"/>
                          </a:lnTo>
                          <a:lnTo>
                            <a:pt x="728662" y="261938"/>
                          </a:lnTo>
                          <a:lnTo>
                            <a:pt x="788193" y="242888"/>
                          </a:lnTo>
                          <a:lnTo>
                            <a:pt x="781050" y="111919"/>
                          </a:lnTo>
                          <a:lnTo>
                            <a:pt x="790575" y="61913"/>
                          </a:lnTo>
                          <a:lnTo>
                            <a:pt x="835818" y="33338"/>
                          </a:lnTo>
                          <a:lnTo>
                            <a:pt x="912018" y="4763"/>
                          </a:lnTo>
                          <a:lnTo>
                            <a:pt x="971550" y="0"/>
                          </a:lnTo>
                          <a:lnTo>
                            <a:pt x="1026318" y="28575"/>
                          </a:lnTo>
                          <a:lnTo>
                            <a:pt x="1071562" y="50006"/>
                          </a:lnTo>
                          <a:lnTo>
                            <a:pt x="1100137" y="38100"/>
                          </a:lnTo>
                          <a:lnTo>
                            <a:pt x="1138237" y="9525"/>
                          </a:lnTo>
                          <a:lnTo>
                            <a:pt x="1178718" y="66675"/>
                          </a:lnTo>
                          <a:lnTo>
                            <a:pt x="1228725" y="78581"/>
                          </a:lnTo>
                          <a:lnTo>
                            <a:pt x="1273968" y="71438"/>
                          </a:lnTo>
                          <a:lnTo>
                            <a:pt x="1340643" y="14288"/>
                          </a:lnTo>
                          <a:lnTo>
                            <a:pt x="1366837" y="9525"/>
                          </a:lnTo>
                          <a:lnTo>
                            <a:pt x="1443037" y="78581"/>
                          </a:lnTo>
                          <a:lnTo>
                            <a:pt x="1495425" y="83344"/>
                          </a:lnTo>
                          <a:lnTo>
                            <a:pt x="1588293" y="80963"/>
                          </a:lnTo>
                          <a:lnTo>
                            <a:pt x="1643062" y="76200"/>
                          </a:lnTo>
                          <a:lnTo>
                            <a:pt x="1681162" y="47625"/>
                          </a:lnTo>
                          <a:lnTo>
                            <a:pt x="1726406" y="95250"/>
                          </a:lnTo>
                          <a:cubicBezTo>
                            <a:pt x="1736996" y="116430"/>
                            <a:pt x="1735931" y="107200"/>
                            <a:pt x="1735931" y="121444"/>
                          </a:cubicBezTo>
                          <a:lnTo>
                            <a:pt x="1747837" y="166688"/>
                          </a:lnTo>
                          <a:lnTo>
                            <a:pt x="1788318" y="233363"/>
                          </a:lnTo>
                          <a:lnTo>
                            <a:pt x="1852612" y="280988"/>
                          </a:lnTo>
                          <a:lnTo>
                            <a:pt x="1890712" y="328613"/>
                          </a:lnTo>
                          <a:lnTo>
                            <a:pt x="1900237" y="354806"/>
                          </a:lnTo>
                          <a:lnTo>
                            <a:pt x="1957387" y="366713"/>
                          </a:lnTo>
                          <a:lnTo>
                            <a:pt x="1976437" y="431006"/>
                          </a:lnTo>
                          <a:lnTo>
                            <a:pt x="2035968" y="431006"/>
                          </a:lnTo>
                          <a:lnTo>
                            <a:pt x="2038350" y="535781"/>
                          </a:lnTo>
                          <a:lnTo>
                            <a:pt x="1952625" y="485775"/>
                          </a:lnTo>
                          <a:lnTo>
                            <a:pt x="1874043" y="531019"/>
                          </a:lnTo>
                          <a:lnTo>
                            <a:pt x="1816893" y="481013"/>
                          </a:lnTo>
                          <a:lnTo>
                            <a:pt x="1554956" y="619125"/>
                          </a:lnTo>
                          <a:lnTo>
                            <a:pt x="1471612" y="659606"/>
                          </a:lnTo>
                          <a:lnTo>
                            <a:pt x="1452562" y="726281"/>
                          </a:lnTo>
                          <a:lnTo>
                            <a:pt x="1459706" y="750094"/>
                          </a:lnTo>
                          <a:lnTo>
                            <a:pt x="1578768" y="733425"/>
                          </a:lnTo>
                          <a:lnTo>
                            <a:pt x="1552575" y="831056"/>
                          </a:lnTo>
                          <a:lnTo>
                            <a:pt x="1576387" y="904875"/>
                          </a:lnTo>
                          <a:lnTo>
                            <a:pt x="1585912" y="952500"/>
                          </a:lnTo>
                          <a:lnTo>
                            <a:pt x="1643062" y="1026319"/>
                          </a:lnTo>
                          <a:lnTo>
                            <a:pt x="1719262" y="1135856"/>
                          </a:lnTo>
                          <a:lnTo>
                            <a:pt x="1728787" y="1162050"/>
                          </a:lnTo>
                          <a:lnTo>
                            <a:pt x="1714500" y="1200150"/>
                          </a:lnTo>
                          <a:lnTo>
                            <a:pt x="1731168" y="1209675"/>
                          </a:lnTo>
                          <a:lnTo>
                            <a:pt x="1738312" y="1231106"/>
                          </a:lnTo>
                          <a:lnTo>
                            <a:pt x="1731168" y="1262063"/>
                          </a:lnTo>
                          <a:lnTo>
                            <a:pt x="1693068" y="1266825"/>
                          </a:lnTo>
                          <a:lnTo>
                            <a:pt x="1671637" y="1293019"/>
                          </a:lnTo>
                          <a:lnTo>
                            <a:pt x="1688306" y="1328738"/>
                          </a:lnTo>
                          <a:lnTo>
                            <a:pt x="1659731" y="1359694"/>
                          </a:lnTo>
                          <a:lnTo>
                            <a:pt x="1631156" y="1364456"/>
                          </a:lnTo>
                          <a:lnTo>
                            <a:pt x="1628775" y="1416844"/>
                          </a:lnTo>
                          <a:lnTo>
                            <a:pt x="1645443" y="1459706"/>
                          </a:lnTo>
                          <a:lnTo>
                            <a:pt x="1659731" y="1488281"/>
                          </a:lnTo>
                          <a:lnTo>
                            <a:pt x="1659731" y="1521619"/>
                          </a:lnTo>
                          <a:lnTo>
                            <a:pt x="1621631" y="1533525"/>
                          </a:lnTo>
                          <a:lnTo>
                            <a:pt x="1566862" y="1504950"/>
                          </a:lnTo>
                          <a:lnTo>
                            <a:pt x="1538287" y="1485900"/>
                          </a:lnTo>
                          <a:lnTo>
                            <a:pt x="1426368" y="1490663"/>
                          </a:lnTo>
                          <a:lnTo>
                            <a:pt x="1364456" y="1426369"/>
                          </a:lnTo>
                          <a:lnTo>
                            <a:pt x="1276350" y="1433513"/>
                          </a:lnTo>
                          <a:lnTo>
                            <a:pt x="1252537" y="1433513"/>
                          </a:lnTo>
                          <a:lnTo>
                            <a:pt x="1209675" y="1407319"/>
                          </a:lnTo>
                          <a:lnTo>
                            <a:pt x="1171575" y="1431131"/>
                          </a:lnTo>
                          <a:lnTo>
                            <a:pt x="1059656" y="1440656"/>
                          </a:lnTo>
                          <a:lnTo>
                            <a:pt x="921543" y="1445419"/>
                          </a:lnTo>
                          <a:lnTo>
                            <a:pt x="888206" y="1447800"/>
                          </a:lnTo>
                          <a:lnTo>
                            <a:pt x="862012" y="1423988"/>
                          </a:lnTo>
                          <a:lnTo>
                            <a:pt x="790575" y="1445419"/>
                          </a:lnTo>
                          <a:lnTo>
                            <a:pt x="726281" y="1476375"/>
                          </a:lnTo>
                          <a:lnTo>
                            <a:pt x="645318" y="1478756"/>
                          </a:lnTo>
                          <a:lnTo>
                            <a:pt x="621506" y="1478756"/>
                          </a:lnTo>
                          <a:lnTo>
                            <a:pt x="569118" y="1473994"/>
                          </a:lnTo>
                          <a:lnTo>
                            <a:pt x="547687" y="1504950"/>
                          </a:lnTo>
                          <a:lnTo>
                            <a:pt x="509587" y="1526381"/>
                          </a:lnTo>
                          <a:lnTo>
                            <a:pt x="483393" y="1526381"/>
                          </a:lnTo>
                          <a:lnTo>
                            <a:pt x="507206" y="1462088"/>
                          </a:lnTo>
                          <a:lnTo>
                            <a:pt x="478631" y="1385888"/>
                          </a:lnTo>
                          <a:lnTo>
                            <a:pt x="440531" y="1340644"/>
                          </a:lnTo>
                          <a:lnTo>
                            <a:pt x="419100" y="1264444"/>
                          </a:lnTo>
                          <a:lnTo>
                            <a:pt x="383381" y="1109663"/>
                          </a:lnTo>
                          <a:lnTo>
                            <a:pt x="314325" y="1064419"/>
                          </a:lnTo>
                          <a:lnTo>
                            <a:pt x="250030" y="1033463"/>
                          </a:lnTo>
                          <a:lnTo>
                            <a:pt x="195262" y="1000125"/>
                          </a:lnTo>
                          <a:lnTo>
                            <a:pt x="161925" y="904875"/>
                          </a:lnTo>
                          <a:lnTo>
                            <a:pt x="78581" y="847725"/>
                          </a:lnTo>
                          <a:lnTo>
                            <a:pt x="0" y="552450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16" name="Freeform 13"/>
                    <p:cNvSpPr/>
                    <p:nvPr/>
                  </p:nvSpPr>
                  <p:spPr>
                    <a:xfrm>
                      <a:off x="4492859" y="2894684"/>
                      <a:ext cx="1099276" cy="821802"/>
                    </a:xfrm>
                    <a:custGeom>
                      <a:avLst/>
                      <a:gdLst>
                        <a:gd name="connsiteX0" fmla="*/ 0 w 1559719"/>
                        <a:gd name="connsiteY0" fmla="*/ 71437 h 1259681"/>
                        <a:gd name="connsiteX1" fmla="*/ 135731 w 1559719"/>
                        <a:gd name="connsiteY1" fmla="*/ 54769 h 1259681"/>
                        <a:gd name="connsiteX2" fmla="*/ 369094 w 1559719"/>
                        <a:gd name="connsiteY2" fmla="*/ 45244 h 1259681"/>
                        <a:gd name="connsiteX3" fmla="*/ 769144 w 1559719"/>
                        <a:gd name="connsiteY3" fmla="*/ 19050 h 1259681"/>
                        <a:gd name="connsiteX4" fmla="*/ 1047750 w 1559719"/>
                        <a:gd name="connsiteY4" fmla="*/ 0 h 1259681"/>
                        <a:gd name="connsiteX5" fmla="*/ 1081088 w 1559719"/>
                        <a:gd name="connsiteY5" fmla="*/ 107156 h 1259681"/>
                        <a:gd name="connsiteX6" fmla="*/ 1119188 w 1559719"/>
                        <a:gd name="connsiteY6" fmla="*/ 250031 h 1259681"/>
                        <a:gd name="connsiteX7" fmla="*/ 1126331 w 1559719"/>
                        <a:gd name="connsiteY7" fmla="*/ 290512 h 1259681"/>
                        <a:gd name="connsiteX8" fmla="*/ 1216819 w 1559719"/>
                        <a:gd name="connsiteY8" fmla="*/ 364331 h 1259681"/>
                        <a:gd name="connsiteX9" fmla="*/ 1235869 w 1559719"/>
                        <a:gd name="connsiteY9" fmla="*/ 404812 h 1259681"/>
                        <a:gd name="connsiteX10" fmla="*/ 1250156 w 1559719"/>
                        <a:gd name="connsiteY10" fmla="*/ 457200 h 1259681"/>
                        <a:gd name="connsiteX11" fmla="*/ 1385888 w 1559719"/>
                        <a:gd name="connsiteY11" fmla="*/ 523875 h 1259681"/>
                        <a:gd name="connsiteX12" fmla="*/ 1438275 w 1559719"/>
                        <a:gd name="connsiteY12" fmla="*/ 566737 h 1259681"/>
                        <a:gd name="connsiteX13" fmla="*/ 1462088 w 1559719"/>
                        <a:gd name="connsiteY13" fmla="*/ 688181 h 1259681"/>
                        <a:gd name="connsiteX14" fmla="*/ 1490663 w 1559719"/>
                        <a:gd name="connsiteY14" fmla="*/ 773906 h 1259681"/>
                        <a:gd name="connsiteX15" fmla="*/ 1543050 w 1559719"/>
                        <a:gd name="connsiteY15" fmla="*/ 866775 h 1259681"/>
                        <a:gd name="connsiteX16" fmla="*/ 1559719 w 1559719"/>
                        <a:gd name="connsiteY16" fmla="*/ 907256 h 1259681"/>
                        <a:gd name="connsiteX17" fmla="*/ 1545431 w 1559719"/>
                        <a:gd name="connsiteY17" fmla="*/ 959644 h 1259681"/>
                        <a:gd name="connsiteX18" fmla="*/ 1535906 w 1559719"/>
                        <a:gd name="connsiteY18" fmla="*/ 983456 h 1259681"/>
                        <a:gd name="connsiteX19" fmla="*/ 1435894 w 1559719"/>
                        <a:gd name="connsiteY19" fmla="*/ 978694 h 1259681"/>
                        <a:gd name="connsiteX20" fmla="*/ 1383506 w 1559719"/>
                        <a:gd name="connsiteY20" fmla="*/ 950119 h 1259681"/>
                        <a:gd name="connsiteX21" fmla="*/ 1333500 w 1559719"/>
                        <a:gd name="connsiteY21" fmla="*/ 923925 h 1259681"/>
                        <a:gd name="connsiteX22" fmla="*/ 1278731 w 1559719"/>
                        <a:gd name="connsiteY22" fmla="*/ 892969 h 1259681"/>
                        <a:gd name="connsiteX23" fmla="*/ 1228725 w 1559719"/>
                        <a:gd name="connsiteY23" fmla="*/ 873919 h 1259681"/>
                        <a:gd name="connsiteX24" fmla="*/ 1159669 w 1559719"/>
                        <a:gd name="connsiteY24" fmla="*/ 890587 h 1259681"/>
                        <a:gd name="connsiteX25" fmla="*/ 1104900 w 1559719"/>
                        <a:gd name="connsiteY25" fmla="*/ 926306 h 1259681"/>
                        <a:gd name="connsiteX26" fmla="*/ 1076325 w 1559719"/>
                        <a:gd name="connsiteY26" fmla="*/ 964406 h 1259681"/>
                        <a:gd name="connsiteX27" fmla="*/ 1052513 w 1559719"/>
                        <a:gd name="connsiteY27" fmla="*/ 1023937 h 1259681"/>
                        <a:gd name="connsiteX28" fmla="*/ 1050131 w 1559719"/>
                        <a:gd name="connsiteY28" fmla="*/ 1083469 h 1259681"/>
                        <a:gd name="connsiteX29" fmla="*/ 1069181 w 1559719"/>
                        <a:gd name="connsiteY29" fmla="*/ 1126331 h 1259681"/>
                        <a:gd name="connsiteX30" fmla="*/ 1066800 w 1559719"/>
                        <a:gd name="connsiteY30" fmla="*/ 1157287 h 1259681"/>
                        <a:gd name="connsiteX31" fmla="*/ 1028700 w 1559719"/>
                        <a:gd name="connsiteY31" fmla="*/ 1159669 h 1259681"/>
                        <a:gd name="connsiteX32" fmla="*/ 990600 w 1559719"/>
                        <a:gd name="connsiteY32" fmla="*/ 1112044 h 1259681"/>
                        <a:gd name="connsiteX33" fmla="*/ 935831 w 1559719"/>
                        <a:gd name="connsiteY33" fmla="*/ 1114425 h 1259681"/>
                        <a:gd name="connsiteX34" fmla="*/ 885825 w 1559719"/>
                        <a:gd name="connsiteY34" fmla="*/ 1073944 h 1259681"/>
                        <a:gd name="connsiteX35" fmla="*/ 771525 w 1559719"/>
                        <a:gd name="connsiteY35" fmla="*/ 1083469 h 1259681"/>
                        <a:gd name="connsiteX36" fmla="*/ 745331 w 1559719"/>
                        <a:gd name="connsiteY36" fmla="*/ 1059656 h 1259681"/>
                        <a:gd name="connsiteX37" fmla="*/ 638175 w 1559719"/>
                        <a:gd name="connsiteY37" fmla="*/ 1052512 h 1259681"/>
                        <a:gd name="connsiteX38" fmla="*/ 595313 w 1559719"/>
                        <a:gd name="connsiteY38" fmla="*/ 1081087 h 1259681"/>
                        <a:gd name="connsiteX39" fmla="*/ 528638 w 1559719"/>
                        <a:gd name="connsiteY39" fmla="*/ 1062037 h 1259681"/>
                        <a:gd name="connsiteX40" fmla="*/ 495300 w 1559719"/>
                        <a:gd name="connsiteY40" fmla="*/ 1104900 h 1259681"/>
                        <a:gd name="connsiteX41" fmla="*/ 509588 w 1559719"/>
                        <a:gd name="connsiteY41" fmla="*/ 1143000 h 1259681"/>
                        <a:gd name="connsiteX42" fmla="*/ 473869 w 1559719"/>
                        <a:gd name="connsiteY42" fmla="*/ 1164431 h 1259681"/>
                        <a:gd name="connsiteX43" fmla="*/ 473869 w 1559719"/>
                        <a:gd name="connsiteY43" fmla="*/ 1202531 h 1259681"/>
                        <a:gd name="connsiteX44" fmla="*/ 459581 w 1559719"/>
                        <a:gd name="connsiteY44" fmla="*/ 1259681 h 1259681"/>
                        <a:gd name="connsiteX45" fmla="*/ 342900 w 1559719"/>
                        <a:gd name="connsiteY45" fmla="*/ 1190625 h 1259681"/>
                        <a:gd name="connsiteX46" fmla="*/ 271463 w 1559719"/>
                        <a:gd name="connsiteY46" fmla="*/ 1107281 h 1259681"/>
                        <a:gd name="connsiteX47" fmla="*/ 278606 w 1559719"/>
                        <a:gd name="connsiteY47" fmla="*/ 1045369 h 1259681"/>
                        <a:gd name="connsiteX48" fmla="*/ 202406 w 1559719"/>
                        <a:gd name="connsiteY48" fmla="*/ 940594 h 1259681"/>
                        <a:gd name="connsiteX49" fmla="*/ 157163 w 1559719"/>
                        <a:gd name="connsiteY49" fmla="*/ 938212 h 1259681"/>
                        <a:gd name="connsiteX50" fmla="*/ 109538 w 1559719"/>
                        <a:gd name="connsiteY50" fmla="*/ 864394 h 1259681"/>
                        <a:gd name="connsiteX51" fmla="*/ 100013 w 1559719"/>
                        <a:gd name="connsiteY51" fmla="*/ 809625 h 1259681"/>
                        <a:gd name="connsiteX52" fmla="*/ 157163 w 1559719"/>
                        <a:gd name="connsiteY52" fmla="*/ 678656 h 1259681"/>
                        <a:gd name="connsiteX53" fmla="*/ 159544 w 1559719"/>
                        <a:gd name="connsiteY53" fmla="*/ 478631 h 1259681"/>
                        <a:gd name="connsiteX54" fmla="*/ 0 w 1559719"/>
                        <a:gd name="connsiteY54" fmla="*/ 71437 h 1259681"/>
                        <a:gd name="connsiteX0" fmla="*/ 0 w 1559719"/>
                        <a:gd name="connsiteY0" fmla="*/ 71437 h 1259681"/>
                        <a:gd name="connsiteX1" fmla="*/ 135731 w 1559719"/>
                        <a:gd name="connsiteY1" fmla="*/ 54769 h 1259681"/>
                        <a:gd name="connsiteX2" fmla="*/ 369094 w 1559719"/>
                        <a:gd name="connsiteY2" fmla="*/ 45244 h 1259681"/>
                        <a:gd name="connsiteX3" fmla="*/ 769144 w 1559719"/>
                        <a:gd name="connsiteY3" fmla="*/ 19050 h 1259681"/>
                        <a:gd name="connsiteX4" fmla="*/ 1047750 w 1559719"/>
                        <a:gd name="connsiteY4" fmla="*/ 0 h 1259681"/>
                        <a:gd name="connsiteX5" fmla="*/ 1081088 w 1559719"/>
                        <a:gd name="connsiteY5" fmla="*/ 107156 h 1259681"/>
                        <a:gd name="connsiteX6" fmla="*/ 1119188 w 1559719"/>
                        <a:gd name="connsiteY6" fmla="*/ 250031 h 1259681"/>
                        <a:gd name="connsiteX7" fmla="*/ 1126331 w 1559719"/>
                        <a:gd name="connsiteY7" fmla="*/ 290512 h 1259681"/>
                        <a:gd name="connsiteX8" fmla="*/ 1216819 w 1559719"/>
                        <a:gd name="connsiteY8" fmla="*/ 364331 h 1259681"/>
                        <a:gd name="connsiteX9" fmla="*/ 1235869 w 1559719"/>
                        <a:gd name="connsiteY9" fmla="*/ 404812 h 1259681"/>
                        <a:gd name="connsiteX10" fmla="*/ 1250156 w 1559719"/>
                        <a:gd name="connsiteY10" fmla="*/ 457200 h 1259681"/>
                        <a:gd name="connsiteX11" fmla="*/ 1385888 w 1559719"/>
                        <a:gd name="connsiteY11" fmla="*/ 523875 h 1259681"/>
                        <a:gd name="connsiteX12" fmla="*/ 1438275 w 1559719"/>
                        <a:gd name="connsiteY12" fmla="*/ 566737 h 1259681"/>
                        <a:gd name="connsiteX13" fmla="*/ 1462088 w 1559719"/>
                        <a:gd name="connsiteY13" fmla="*/ 688181 h 1259681"/>
                        <a:gd name="connsiteX14" fmla="*/ 1490663 w 1559719"/>
                        <a:gd name="connsiteY14" fmla="*/ 773906 h 1259681"/>
                        <a:gd name="connsiteX15" fmla="*/ 1543050 w 1559719"/>
                        <a:gd name="connsiteY15" fmla="*/ 866775 h 1259681"/>
                        <a:gd name="connsiteX16" fmla="*/ 1559719 w 1559719"/>
                        <a:gd name="connsiteY16" fmla="*/ 907256 h 1259681"/>
                        <a:gd name="connsiteX17" fmla="*/ 1545431 w 1559719"/>
                        <a:gd name="connsiteY17" fmla="*/ 959644 h 1259681"/>
                        <a:gd name="connsiteX18" fmla="*/ 1535906 w 1559719"/>
                        <a:gd name="connsiteY18" fmla="*/ 983456 h 1259681"/>
                        <a:gd name="connsiteX19" fmla="*/ 1435894 w 1559719"/>
                        <a:gd name="connsiteY19" fmla="*/ 978694 h 1259681"/>
                        <a:gd name="connsiteX20" fmla="*/ 1383506 w 1559719"/>
                        <a:gd name="connsiteY20" fmla="*/ 950119 h 1259681"/>
                        <a:gd name="connsiteX21" fmla="*/ 1333500 w 1559719"/>
                        <a:gd name="connsiteY21" fmla="*/ 923925 h 1259681"/>
                        <a:gd name="connsiteX22" fmla="*/ 1278731 w 1559719"/>
                        <a:gd name="connsiteY22" fmla="*/ 892969 h 1259681"/>
                        <a:gd name="connsiteX23" fmla="*/ 1228725 w 1559719"/>
                        <a:gd name="connsiteY23" fmla="*/ 873919 h 1259681"/>
                        <a:gd name="connsiteX24" fmla="*/ 1159669 w 1559719"/>
                        <a:gd name="connsiteY24" fmla="*/ 890587 h 1259681"/>
                        <a:gd name="connsiteX25" fmla="*/ 1104900 w 1559719"/>
                        <a:gd name="connsiteY25" fmla="*/ 926306 h 1259681"/>
                        <a:gd name="connsiteX26" fmla="*/ 1076325 w 1559719"/>
                        <a:gd name="connsiteY26" fmla="*/ 964406 h 1259681"/>
                        <a:gd name="connsiteX27" fmla="*/ 1052513 w 1559719"/>
                        <a:gd name="connsiteY27" fmla="*/ 1023937 h 1259681"/>
                        <a:gd name="connsiteX28" fmla="*/ 1050131 w 1559719"/>
                        <a:gd name="connsiteY28" fmla="*/ 1083469 h 1259681"/>
                        <a:gd name="connsiteX29" fmla="*/ 1069181 w 1559719"/>
                        <a:gd name="connsiteY29" fmla="*/ 1126331 h 1259681"/>
                        <a:gd name="connsiteX30" fmla="*/ 1066800 w 1559719"/>
                        <a:gd name="connsiteY30" fmla="*/ 1157287 h 1259681"/>
                        <a:gd name="connsiteX31" fmla="*/ 1028700 w 1559719"/>
                        <a:gd name="connsiteY31" fmla="*/ 1159669 h 1259681"/>
                        <a:gd name="connsiteX32" fmla="*/ 990600 w 1559719"/>
                        <a:gd name="connsiteY32" fmla="*/ 1112044 h 1259681"/>
                        <a:gd name="connsiteX33" fmla="*/ 935831 w 1559719"/>
                        <a:gd name="connsiteY33" fmla="*/ 1114425 h 1259681"/>
                        <a:gd name="connsiteX34" fmla="*/ 885825 w 1559719"/>
                        <a:gd name="connsiteY34" fmla="*/ 1073944 h 1259681"/>
                        <a:gd name="connsiteX35" fmla="*/ 771525 w 1559719"/>
                        <a:gd name="connsiteY35" fmla="*/ 1083469 h 1259681"/>
                        <a:gd name="connsiteX36" fmla="*/ 745331 w 1559719"/>
                        <a:gd name="connsiteY36" fmla="*/ 1059656 h 1259681"/>
                        <a:gd name="connsiteX37" fmla="*/ 638175 w 1559719"/>
                        <a:gd name="connsiteY37" fmla="*/ 1052512 h 1259681"/>
                        <a:gd name="connsiteX38" fmla="*/ 595313 w 1559719"/>
                        <a:gd name="connsiteY38" fmla="*/ 1081087 h 1259681"/>
                        <a:gd name="connsiteX39" fmla="*/ 528638 w 1559719"/>
                        <a:gd name="connsiteY39" fmla="*/ 1062037 h 1259681"/>
                        <a:gd name="connsiteX40" fmla="*/ 495300 w 1559719"/>
                        <a:gd name="connsiteY40" fmla="*/ 1104900 h 1259681"/>
                        <a:gd name="connsiteX41" fmla="*/ 509588 w 1559719"/>
                        <a:gd name="connsiteY41" fmla="*/ 1143000 h 1259681"/>
                        <a:gd name="connsiteX42" fmla="*/ 473869 w 1559719"/>
                        <a:gd name="connsiteY42" fmla="*/ 1164431 h 1259681"/>
                        <a:gd name="connsiteX43" fmla="*/ 473869 w 1559719"/>
                        <a:gd name="connsiteY43" fmla="*/ 1202531 h 1259681"/>
                        <a:gd name="connsiteX44" fmla="*/ 459581 w 1559719"/>
                        <a:gd name="connsiteY44" fmla="*/ 1259681 h 1259681"/>
                        <a:gd name="connsiteX45" fmla="*/ 342900 w 1559719"/>
                        <a:gd name="connsiteY45" fmla="*/ 1190625 h 1259681"/>
                        <a:gd name="connsiteX46" fmla="*/ 271463 w 1559719"/>
                        <a:gd name="connsiteY46" fmla="*/ 1107281 h 1259681"/>
                        <a:gd name="connsiteX47" fmla="*/ 278606 w 1559719"/>
                        <a:gd name="connsiteY47" fmla="*/ 1045369 h 1259681"/>
                        <a:gd name="connsiteX48" fmla="*/ 202406 w 1559719"/>
                        <a:gd name="connsiteY48" fmla="*/ 940594 h 1259681"/>
                        <a:gd name="connsiteX49" fmla="*/ 157163 w 1559719"/>
                        <a:gd name="connsiteY49" fmla="*/ 938212 h 1259681"/>
                        <a:gd name="connsiteX50" fmla="*/ 130969 w 1559719"/>
                        <a:gd name="connsiteY50" fmla="*/ 892969 h 1259681"/>
                        <a:gd name="connsiteX51" fmla="*/ 109538 w 1559719"/>
                        <a:gd name="connsiteY51" fmla="*/ 864394 h 1259681"/>
                        <a:gd name="connsiteX52" fmla="*/ 100013 w 1559719"/>
                        <a:gd name="connsiteY52" fmla="*/ 809625 h 1259681"/>
                        <a:gd name="connsiteX53" fmla="*/ 157163 w 1559719"/>
                        <a:gd name="connsiteY53" fmla="*/ 678656 h 1259681"/>
                        <a:gd name="connsiteX54" fmla="*/ 159544 w 1559719"/>
                        <a:gd name="connsiteY54" fmla="*/ 478631 h 1259681"/>
                        <a:gd name="connsiteX55" fmla="*/ 0 w 1559719"/>
                        <a:gd name="connsiteY55" fmla="*/ 71437 h 1259681"/>
                        <a:gd name="connsiteX0" fmla="*/ 0 w 1559719"/>
                        <a:gd name="connsiteY0" fmla="*/ 71437 h 1259681"/>
                        <a:gd name="connsiteX1" fmla="*/ 135731 w 1559719"/>
                        <a:gd name="connsiteY1" fmla="*/ 54769 h 1259681"/>
                        <a:gd name="connsiteX2" fmla="*/ 369094 w 1559719"/>
                        <a:gd name="connsiteY2" fmla="*/ 45244 h 1259681"/>
                        <a:gd name="connsiteX3" fmla="*/ 769144 w 1559719"/>
                        <a:gd name="connsiteY3" fmla="*/ 19050 h 1259681"/>
                        <a:gd name="connsiteX4" fmla="*/ 1047750 w 1559719"/>
                        <a:gd name="connsiteY4" fmla="*/ 0 h 1259681"/>
                        <a:gd name="connsiteX5" fmla="*/ 1081088 w 1559719"/>
                        <a:gd name="connsiteY5" fmla="*/ 107156 h 1259681"/>
                        <a:gd name="connsiteX6" fmla="*/ 1119188 w 1559719"/>
                        <a:gd name="connsiteY6" fmla="*/ 250031 h 1259681"/>
                        <a:gd name="connsiteX7" fmla="*/ 1126331 w 1559719"/>
                        <a:gd name="connsiteY7" fmla="*/ 290512 h 1259681"/>
                        <a:gd name="connsiteX8" fmla="*/ 1216819 w 1559719"/>
                        <a:gd name="connsiteY8" fmla="*/ 364331 h 1259681"/>
                        <a:gd name="connsiteX9" fmla="*/ 1235869 w 1559719"/>
                        <a:gd name="connsiteY9" fmla="*/ 404812 h 1259681"/>
                        <a:gd name="connsiteX10" fmla="*/ 1250156 w 1559719"/>
                        <a:gd name="connsiteY10" fmla="*/ 457200 h 1259681"/>
                        <a:gd name="connsiteX11" fmla="*/ 1385888 w 1559719"/>
                        <a:gd name="connsiteY11" fmla="*/ 523875 h 1259681"/>
                        <a:gd name="connsiteX12" fmla="*/ 1438275 w 1559719"/>
                        <a:gd name="connsiteY12" fmla="*/ 566737 h 1259681"/>
                        <a:gd name="connsiteX13" fmla="*/ 1462088 w 1559719"/>
                        <a:gd name="connsiteY13" fmla="*/ 688181 h 1259681"/>
                        <a:gd name="connsiteX14" fmla="*/ 1490663 w 1559719"/>
                        <a:gd name="connsiteY14" fmla="*/ 773906 h 1259681"/>
                        <a:gd name="connsiteX15" fmla="*/ 1543050 w 1559719"/>
                        <a:gd name="connsiteY15" fmla="*/ 866775 h 1259681"/>
                        <a:gd name="connsiteX16" fmla="*/ 1559719 w 1559719"/>
                        <a:gd name="connsiteY16" fmla="*/ 907256 h 1259681"/>
                        <a:gd name="connsiteX17" fmla="*/ 1545431 w 1559719"/>
                        <a:gd name="connsiteY17" fmla="*/ 959644 h 1259681"/>
                        <a:gd name="connsiteX18" fmla="*/ 1535906 w 1559719"/>
                        <a:gd name="connsiteY18" fmla="*/ 983456 h 1259681"/>
                        <a:gd name="connsiteX19" fmla="*/ 1435894 w 1559719"/>
                        <a:gd name="connsiteY19" fmla="*/ 978694 h 1259681"/>
                        <a:gd name="connsiteX20" fmla="*/ 1383506 w 1559719"/>
                        <a:gd name="connsiteY20" fmla="*/ 950119 h 1259681"/>
                        <a:gd name="connsiteX21" fmla="*/ 1333500 w 1559719"/>
                        <a:gd name="connsiteY21" fmla="*/ 923925 h 1259681"/>
                        <a:gd name="connsiteX22" fmla="*/ 1278731 w 1559719"/>
                        <a:gd name="connsiteY22" fmla="*/ 892969 h 1259681"/>
                        <a:gd name="connsiteX23" fmla="*/ 1228725 w 1559719"/>
                        <a:gd name="connsiteY23" fmla="*/ 873919 h 1259681"/>
                        <a:gd name="connsiteX24" fmla="*/ 1159669 w 1559719"/>
                        <a:gd name="connsiteY24" fmla="*/ 890587 h 1259681"/>
                        <a:gd name="connsiteX25" fmla="*/ 1104900 w 1559719"/>
                        <a:gd name="connsiteY25" fmla="*/ 926306 h 1259681"/>
                        <a:gd name="connsiteX26" fmla="*/ 1076325 w 1559719"/>
                        <a:gd name="connsiteY26" fmla="*/ 964406 h 1259681"/>
                        <a:gd name="connsiteX27" fmla="*/ 1052513 w 1559719"/>
                        <a:gd name="connsiteY27" fmla="*/ 1023937 h 1259681"/>
                        <a:gd name="connsiteX28" fmla="*/ 1050131 w 1559719"/>
                        <a:gd name="connsiteY28" fmla="*/ 1083469 h 1259681"/>
                        <a:gd name="connsiteX29" fmla="*/ 1069181 w 1559719"/>
                        <a:gd name="connsiteY29" fmla="*/ 1126331 h 1259681"/>
                        <a:gd name="connsiteX30" fmla="*/ 1066800 w 1559719"/>
                        <a:gd name="connsiteY30" fmla="*/ 1157287 h 1259681"/>
                        <a:gd name="connsiteX31" fmla="*/ 1028700 w 1559719"/>
                        <a:gd name="connsiteY31" fmla="*/ 1159669 h 1259681"/>
                        <a:gd name="connsiteX32" fmla="*/ 990600 w 1559719"/>
                        <a:gd name="connsiteY32" fmla="*/ 1112044 h 1259681"/>
                        <a:gd name="connsiteX33" fmla="*/ 935831 w 1559719"/>
                        <a:gd name="connsiteY33" fmla="*/ 1114425 h 1259681"/>
                        <a:gd name="connsiteX34" fmla="*/ 885825 w 1559719"/>
                        <a:gd name="connsiteY34" fmla="*/ 1073944 h 1259681"/>
                        <a:gd name="connsiteX35" fmla="*/ 771525 w 1559719"/>
                        <a:gd name="connsiteY35" fmla="*/ 1083469 h 1259681"/>
                        <a:gd name="connsiteX36" fmla="*/ 745331 w 1559719"/>
                        <a:gd name="connsiteY36" fmla="*/ 1059656 h 1259681"/>
                        <a:gd name="connsiteX37" fmla="*/ 638175 w 1559719"/>
                        <a:gd name="connsiteY37" fmla="*/ 1052512 h 1259681"/>
                        <a:gd name="connsiteX38" fmla="*/ 595313 w 1559719"/>
                        <a:gd name="connsiteY38" fmla="*/ 1081087 h 1259681"/>
                        <a:gd name="connsiteX39" fmla="*/ 528638 w 1559719"/>
                        <a:gd name="connsiteY39" fmla="*/ 1062037 h 1259681"/>
                        <a:gd name="connsiteX40" fmla="*/ 495300 w 1559719"/>
                        <a:gd name="connsiteY40" fmla="*/ 1104900 h 1259681"/>
                        <a:gd name="connsiteX41" fmla="*/ 509588 w 1559719"/>
                        <a:gd name="connsiteY41" fmla="*/ 1143000 h 1259681"/>
                        <a:gd name="connsiteX42" fmla="*/ 473869 w 1559719"/>
                        <a:gd name="connsiteY42" fmla="*/ 1164431 h 1259681"/>
                        <a:gd name="connsiteX43" fmla="*/ 473869 w 1559719"/>
                        <a:gd name="connsiteY43" fmla="*/ 1202531 h 1259681"/>
                        <a:gd name="connsiteX44" fmla="*/ 459581 w 1559719"/>
                        <a:gd name="connsiteY44" fmla="*/ 1259681 h 1259681"/>
                        <a:gd name="connsiteX45" fmla="*/ 342900 w 1559719"/>
                        <a:gd name="connsiteY45" fmla="*/ 1190625 h 1259681"/>
                        <a:gd name="connsiteX46" fmla="*/ 271463 w 1559719"/>
                        <a:gd name="connsiteY46" fmla="*/ 1107281 h 1259681"/>
                        <a:gd name="connsiteX47" fmla="*/ 278606 w 1559719"/>
                        <a:gd name="connsiteY47" fmla="*/ 1045369 h 1259681"/>
                        <a:gd name="connsiteX48" fmla="*/ 202406 w 1559719"/>
                        <a:gd name="connsiteY48" fmla="*/ 940594 h 1259681"/>
                        <a:gd name="connsiteX49" fmla="*/ 157163 w 1559719"/>
                        <a:gd name="connsiteY49" fmla="*/ 938212 h 1259681"/>
                        <a:gd name="connsiteX50" fmla="*/ 123825 w 1559719"/>
                        <a:gd name="connsiteY50" fmla="*/ 916781 h 1259681"/>
                        <a:gd name="connsiteX51" fmla="*/ 109538 w 1559719"/>
                        <a:gd name="connsiteY51" fmla="*/ 864394 h 1259681"/>
                        <a:gd name="connsiteX52" fmla="*/ 100013 w 1559719"/>
                        <a:gd name="connsiteY52" fmla="*/ 809625 h 1259681"/>
                        <a:gd name="connsiteX53" fmla="*/ 157163 w 1559719"/>
                        <a:gd name="connsiteY53" fmla="*/ 678656 h 1259681"/>
                        <a:gd name="connsiteX54" fmla="*/ 159544 w 1559719"/>
                        <a:gd name="connsiteY54" fmla="*/ 478631 h 1259681"/>
                        <a:gd name="connsiteX55" fmla="*/ 0 w 1559719"/>
                        <a:gd name="connsiteY55" fmla="*/ 71437 h 1259681"/>
                        <a:gd name="connsiteX0" fmla="*/ 0 w 1562101"/>
                        <a:gd name="connsiteY0" fmla="*/ 85725 h 1259681"/>
                        <a:gd name="connsiteX1" fmla="*/ 138113 w 1562101"/>
                        <a:gd name="connsiteY1" fmla="*/ 54769 h 1259681"/>
                        <a:gd name="connsiteX2" fmla="*/ 371476 w 1562101"/>
                        <a:gd name="connsiteY2" fmla="*/ 45244 h 1259681"/>
                        <a:gd name="connsiteX3" fmla="*/ 771526 w 1562101"/>
                        <a:gd name="connsiteY3" fmla="*/ 19050 h 1259681"/>
                        <a:gd name="connsiteX4" fmla="*/ 1050132 w 1562101"/>
                        <a:gd name="connsiteY4" fmla="*/ 0 h 1259681"/>
                        <a:gd name="connsiteX5" fmla="*/ 1083470 w 1562101"/>
                        <a:gd name="connsiteY5" fmla="*/ 107156 h 1259681"/>
                        <a:gd name="connsiteX6" fmla="*/ 1121570 w 1562101"/>
                        <a:gd name="connsiteY6" fmla="*/ 250031 h 1259681"/>
                        <a:gd name="connsiteX7" fmla="*/ 1128713 w 1562101"/>
                        <a:gd name="connsiteY7" fmla="*/ 290512 h 1259681"/>
                        <a:gd name="connsiteX8" fmla="*/ 1219201 w 1562101"/>
                        <a:gd name="connsiteY8" fmla="*/ 364331 h 1259681"/>
                        <a:gd name="connsiteX9" fmla="*/ 1238251 w 1562101"/>
                        <a:gd name="connsiteY9" fmla="*/ 404812 h 1259681"/>
                        <a:gd name="connsiteX10" fmla="*/ 1252538 w 1562101"/>
                        <a:gd name="connsiteY10" fmla="*/ 457200 h 1259681"/>
                        <a:gd name="connsiteX11" fmla="*/ 1388270 w 1562101"/>
                        <a:gd name="connsiteY11" fmla="*/ 523875 h 1259681"/>
                        <a:gd name="connsiteX12" fmla="*/ 1440657 w 1562101"/>
                        <a:gd name="connsiteY12" fmla="*/ 566737 h 1259681"/>
                        <a:gd name="connsiteX13" fmla="*/ 1464470 w 1562101"/>
                        <a:gd name="connsiteY13" fmla="*/ 688181 h 1259681"/>
                        <a:gd name="connsiteX14" fmla="*/ 1493045 w 1562101"/>
                        <a:gd name="connsiteY14" fmla="*/ 773906 h 1259681"/>
                        <a:gd name="connsiteX15" fmla="*/ 1545432 w 1562101"/>
                        <a:gd name="connsiteY15" fmla="*/ 866775 h 1259681"/>
                        <a:gd name="connsiteX16" fmla="*/ 1562101 w 1562101"/>
                        <a:gd name="connsiteY16" fmla="*/ 907256 h 1259681"/>
                        <a:gd name="connsiteX17" fmla="*/ 1547813 w 1562101"/>
                        <a:gd name="connsiteY17" fmla="*/ 959644 h 1259681"/>
                        <a:gd name="connsiteX18" fmla="*/ 1538288 w 1562101"/>
                        <a:gd name="connsiteY18" fmla="*/ 983456 h 1259681"/>
                        <a:gd name="connsiteX19" fmla="*/ 1438276 w 1562101"/>
                        <a:gd name="connsiteY19" fmla="*/ 978694 h 1259681"/>
                        <a:gd name="connsiteX20" fmla="*/ 1385888 w 1562101"/>
                        <a:gd name="connsiteY20" fmla="*/ 950119 h 1259681"/>
                        <a:gd name="connsiteX21" fmla="*/ 1335882 w 1562101"/>
                        <a:gd name="connsiteY21" fmla="*/ 923925 h 1259681"/>
                        <a:gd name="connsiteX22" fmla="*/ 1281113 w 1562101"/>
                        <a:gd name="connsiteY22" fmla="*/ 892969 h 1259681"/>
                        <a:gd name="connsiteX23" fmla="*/ 1231107 w 1562101"/>
                        <a:gd name="connsiteY23" fmla="*/ 873919 h 1259681"/>
                        <a:gd name="connsiteX24" fmla="*/ 1162051 w 1562101"/>
                        <a:gd name="connsiteY24" fmla="*/ 890587 h 1259681"/>
                        <a:gd name="connsiteX25" fmla="*/ 1107282 w 1562101"/>
                        <a:gd name="connsiteY25" fmla="*/ 926306 h 1259681"/>
                        <a:gd name="connsiteX26" fmla="*/ 1078707 w 1562101"/>
                        <a:gd name="connsiteY26" fmla="*/ 964406 h 1259681"/>
                        <a:gd name="connsiteX27" fmla="*/ 1054895 w 1562101"/>
                        <a:gd name="connsiteY27" fmla="*/ 1023937 h 1259681"/>
                        <a:gd name="connsiteX28" fmla="*/ 1052513 w 1562101"/>
                        <a:gd name="connsiteY28" fmla="*/ 1083469 h 1259681"/>
                        <a:gd name="connsiteX29" fmla="*/ 1071563 w 1562101"/>
                        <a:gd name="connsiteY29" fmla="*/ 1126331 h 1259681"/>
                        <a:gd name="connsiteX30" fmla="*/ 1069182 w 1562101"/>
                        <a:gd name="connsiteY30" fmla="*/ 1157287 h 1259681"/>
                        <a:gd name="connsiteX31" fmla="*/ 1031082 w 1562101"/>
                        <a:gd name="connsiteY31" fmla="*/ 1159669 h 1259681"/>
                        <a:gd name="connsiteX32" fmla="*/ 992982 w 1562101"/>
                        <a:gd name="connsiteY32" fmla="*/ 1112044 h 1259681"/>
                        <a:gd name="connsiteX33" fmla="*/ 938213 w 1562101"/>
                        <a:gd name="connsiteY33" fmla="*/ 1114425 h 1259681"/>
                        <a:gd name="connsiteX34" fmla="*/ 888207 w 1562101"/>
                        <a:gd name="connsiteY34" fmla="*/ 1073944 h 1259681"/>
                        <a:gd name="connsiteX35" fmla="*/ 773907 w 1562101"/>
                        <a:gd name="connsiteY35" fmla="*/ 1083469 h 1259681"/>
                        <a:gd name="connsiteX36" fmla="*/ 747713 w 1562101"/>
                        <a:gd name="connsiteY36" fmla="*/ 1059656 h 1259681"/>
                        <a:gd name="connsiteX37" fmla="*/ 640557 w 1562101"/>
                        <a:gd name="connsiteY37" fmla="*/ 1052512 h 1259681"/>
                        <a:gd name="connsiteX38" fmla="*/ 597695 w 1562101"/>
                        <a:gd name="connsiteY38" fmla="*/ 1081087 h 1259681"/>
                        <a:gd name="connsiteX39" fmla="*/ 531020 w 1562101"/>
                        <a:gd name="connsiteY39" fmla="*/ 1062037 h 1259681"/>
                        <a:gd name="connsiteX40" fmla="*/ 497682 w 1562101"/>
                        <a:gd name="connsiteY40" fmla="*/ 1104900 h 1259681"/>
                        <a:gd name="connsiteX41" fmla="*/ 511970 w 1562101"/>
                        <a:gd name="connsiteY41" fmla="*/ 1143000 h 1259681"/>
                        <a:gd name="connsiteX42" fmla="*/ 476251 w 1562101"/>
                        <a:gd name="connsiteY42" fmla="*/ 1164431 h 1259681"/>
                        <a:gd name="connsiteX43" fmla="*/ 476251 w 1562101"/>
                        <a:gd name="connsiteY43" fmla="*/ 1202531 h 1259681"/>
                        <a:gd name="connsiteX44" fmla="*/ 461963 w 1562101"/>
                        <a:gd name="connsiteY44" fmla="*/ 1259681 h 1259681"/>
                        <a:gd name="connsiteX45" fmla="*/ 345282 w 1562101"/>
                        <a:gd name="connsiteY45" fmla="*/ 1190625 h 1259681"/>
                        <a:gd name="connsiteX46" fmla="*/ 273845 w 1562101"/>
                        <a:gd name="connsiteY46" fmla="*/ 1107281 h 1259681"/>
                        <a:gd name="connsiteX47" fmla="*/ 280988 w 1562101"/>
                        <a:gd name="connsiteY47" fmla="*/ 1045369 h 1259681"/>
                        <a:gd name="connsiteX48" fmla="*/ 204788 w 1562101"/>
                        <a:gd name="connsiteY48" fmla="*/ 940594 h 1259681"/>
                        <a:gd name="connsiteX49" fmla="*/ 159545 w 1562101"/>
                        <a:gd name="connsiteY49" fmla="*/ 938212 h 1259681"/>
                        <a:gd name="connsiteX50" fmla="*/ 126207 w 1562101"/>
                        <a:gd name="connsiteY50" fmla="*/ 916781 h 1259681"/>
                        <a:gd name="connsiteX51" fmla="*/ 111920 w 1562101"/>
                        <a:gd name="connsiteY51" fmla="*/ 864394 h 1259681"/>
                        <a:gd name="connsiteX52" fmla="*/ 102395 w 1562101"/>
                        <a:gd name="connsiteY52" fmla="*/ 809625 h 1259681"/>
                        <a:gd name="connsiteX53" fmla="*/ 159545 w 1562101"/>
                        <a:gd name="connsiteY53" fmla="*/ 678656 h 1259681"/>
                        <a:gd name="connsiteX54" fmla="*/ 161926 w 1562101"/>
                        <a:gd name="connsiteY54" fmla="*/ 478631 h 1259681"/>
                        <a:gd name="connsiteX55" fmla="*/ 0 w 1562101"/>
                        <a:gd name="connsiteY55" fmla="*/ 85725 h 1259681"/>
                        <a:gd name="connsiteX0" fmla="*/ 0 w 1564482"/>
                        <a:gd name="connsiteY0" fmla="*/ 80963 h 1259681"/>
                        <a:gd name="connsiteX1" fmla="*/ 140494 w 1564482"/>
                        <a:gd name="connsiteY1" fmla="*/ 54769 h 1259681"/>
                        <a:gd name="connsiteX2" fmla="*/ 373857 w 1564482"/>
                        <a:gd name="connsiteY2" fmla="*/ 45244 h 1259681"/>
                        <a:gd name="connsiteX3" fmla="*/ 773907 w 1564482"/>
                        <a:gd name="connsiteY3" fmla="*/ 19050 h 1259681"/>
                        <a:gd name="connsiteX4" fmla="*/ 1052513 w 1564482"/>
                        <a:gd name="connsiteY4" fmla="*/ 0 h 1259681"/>
                        <a:gd name="connsiteX5" fmla="*/ 1085851 w 1564482"/>
                        <a:gd name="connsiteY5" fmla="*/ 107156 h 1259681"/>
                        <a:gd name="connsiteX6" fmla="*/ 1123951 w 1564482"/>
                        <a:gd name="connsiteY6" fmla="*/ 250031 h 1259681"/>
                        <a:gd name="connsiteX7" fmla="*/ 1131094 w 1564482"/>
                        <a:gd name="connsiteY7" fmla="*/ 290512 h 1259681"/>
                        <a:gd name="connsiteX8" fmla="*/ 1221582 w 1564482"/>
                        <a:gd name="connsiteY8" fmla="*/ 364331 h 1259681"/>
                        <a:gd name="connsiteX9" fmla="*/ 1240632 w 1564482"/>
                        <a:gd name="connsiteY9" fmla="*/ 404812 h 1259681"/>
                        <a:gd name="connsiteX10" fmla="*/ 1254919 w 1564482"/>
                        <a:gd name="connsiteY10" fmla="*/ 457200 h 1259681"/>
                        <a:gd name="connsiteX11" fmla="*/ 1390651 w 1564482"/>
                        <a:gd name="connsiteY11" fmla="*/ 523875 h 1259681"/>
                        <a:gd name="connsiteX12" fmla="*/ 1443038 w 1564482"/>
                        <a:gd name="connsiteY12" fmla="*/ 566737 h 1259681"/>
                        <a:gd name="connsiteX13" fmla="*/ 1466851 w 1564482"/>
                        <a:gd name="connsiteY13" fmla="*/ 688181 h 1259681"/>
                        <a:gd name="connsiteX14" fmla="*/ 1495426 w 1564482"/>
                        <a:gd name="connsiteY14" fmla="*/ 773906 h 1259681"/>
                        <a:gd name="connsiteX15" fmla="*/ 1547813 w 1564482"/>
                        <a:gd name="connsiteY15" fmla="*/ 866775 h 1259681"/>
                        <a:gd name="connsiteX16" fmla="*/ 1564482 w 1564482"/>
                        <a:gd name="connsiteY16" fmla="*/ 907256 h 1259681"/>
                        <a:gd name="connsiteX17" fmla="*/ 1550194 w 1564482"/>
                        <a:gd name="connsiteY17" fmla="*/ 959644 h 1259681"/>
                        <a:gd name="connsiteX18" fmla="*/ 1540669 w 1564482"/>
                        <a:gd name="connsiteY18" fmla="*/ 983456 h 1259681"/>
                        <a:gd name="connsiteX19" fmla="*/ 1440657 w 1564482"/>
                        <a:gd name="connsiteY19" fmla="*/ 978694 h 1259681"/>
                        <a:gd name="connsiteX20" fmla="*/ 1388269 w 1564482"/>
                        <a:gd name="connsiteY20" fmla="*/ 950119 h 1259681"/>
                        <a:gd name="connsiteX21" fmla="*/ 1338263 w 1564482"/>
                        <a:gd name="connsiteY21" fmla="*/ 923925 h 1259681"/>
                        <a:gd name="connsiteX22" fmla="*/ 1283494 w 1564482"/>
                        <a:gd name="connsiteY22" fmla="*/ 892969 h 1259681"/>
                        <a:gd name="connsiteX23" fmla="*/ 1233488 w 1564482"/>
                        <a:gd name="connsiteY23" fmla="*/ 873919 h 1259681"/>
                        <a:gd name="connsiteX24" fmla="*/ 1164432 w 1564482"/>
                        <a:gd name="connsiteY24" fmla="*/ 890587 h 1259681"/>
                        <a:gd name="connsiteX25" fmla="*/ 1109663 w 1564482"/>
                        <a:gd name="connsiteY25" fmla="*/ 926306 h 1259681"/>
                        <a:gd name="connsiteX26" fmla="*/ 1081088 w 1564482"/>
                        <a:gd name="connsiteY26" fmla="*/ 964406 h 1259681"/>
                        <a:gd name="connsiteX27" fmla="*/ 1057276 w 1564482"/>
                        <a:gd name="connsiteY27" fmla="*/ 1023937 h 1259681"/>
                        <a:gd name="connsiteX28" fmla="*/ 1054894 w 1564482"/>
                        <a:gd name="connsiteY28" fmla="*/ 1083469 h 1259681"/>
                        <a:gd name="connsiteX29" fmla="*/ 1073944 w 1564482"/>
                        <a:gd name="connsiteY29" fmla="*/ 1126331 h 1259681"/>
                        <a:gd name="connsiteX30" fmla="*/ 1071563 w 1564482"/>
                        <a:gd name="connsiteY30" fmla="*/ 1157287 h 1259681"/>
                        <a:gd name="connsiteX31" fmla="*/ 1033463 w 1564482"/>
                        <a:gd name="connsiteY31" fmla="*/ 1159669 h 1259681"/>
                        <a:gd name="connsiteX32" fmla="*/ 995363 w 1564482"/>
                        <a:gd name="connsiteY32" fmla="*/ 1112044 h 1259681"/>
                        <a:gd name="connsiteX33" fmla="*/ 940594 w 1564482"/>
                        <a:gd name="connsiteY33" fmla="*/ 1114425 h 1259681"/>
                        <a:gd name="connsiteX34" fmla="*/ 890588 w 1564482"/>
                        <a:gd name="connsiteY34" fmla="*/ 1073944 h 1259681"/>
                        <a:gd name="connsiteX35" fmla="*/ 776288 w 1564482"/>
                        <a:gd name="connsiteY35" fmla="*/ 1083469 h 1259681"/>
                        <a:gd name="connsiteX36" fmla="*/ 750094 w 1564482"/>
                        <a:gd name="connsiteY36" fmla="*/ 1059656 h 1259681"/>
                        <a:gd name="connsiteX37" fmla="*/ 642938 w 1564482"/>
                        <a:gd name="connsiteY37" fmla="*/ 1052512 h 1259681"/>
                        <a:gd name="connsiteX38" fmla="*/ 600076 w 1564482"/>
                        <a:gd name="connsiteY38" fmla="*/ 1081087 h 1259681"/>
                        <a:gd name="connsiteX39" fmla="*/ 533401 w 1564482"/>
                        <a:gd name="connsiteY39" fmla="*/ 1062037 h 1259681"/>
                        <a:gd name="connsiteX40" fmla="*/ 500063 w 1564482"/>
                        <a:gd name="connsiteY40" fmla="*/ 1104900 h 1259681"/>
                        <a:gd name="connsiteX41" fmla="*/ 514351 w 1564482"/>
                        <a:gd name="connsiteY41" fmla="*/ 1143000 h 1259681"/>
                        <a:gd name="connsiteX42" fmla="*/ 478632 w 1564482"/>
                        <a:gd name="connsiteY42" fmla="*/ 1164431 h 1259681"/>
                        <a:gd name="connsiteX43" fmla="*/ 478632 w 1564482"/>
                        <a:gd name="connsiteY43" fmla="*/ 1202531 h 1259681"/>
                        <a:gd name="connsiteX44" fmla="*/ 464344 w 1564482"/>
                        <a:gd name="connsiteY44" fmla="*/ 1259681 h 1259681"/>
                        <a:gd name="connsiteX45" fmla="*/ 347663 w 1564482"/>
                        <a:gd name="connsiteY45" fmla="*/ 1190625 h 1259681"/>
                        <a:gd name="connsiteX46" fmla="*/ 276226 w 1564482"/>
                        <a:gd name="connsiteY46" fmla="*/ 1107281 h 1259681"/>
                        <a:gd name="connsiteX47" fmla="*/ 283369 w 1564482"/>
                        <a:gd name="connsiteY47" fmla="*/ 1045369 h 1259681"/>
                        <a:gd name="connsiteX48" fmla="*/ 207169 w 1564482"/>
                        <a:gd name="connsiteY48" fmla="*/ 940594 h 1259681"/>
                        <a:gd name="connsiteX49" fmla="*/ 161926 w 1564482"/>
                        <a:gd name="connsiteY49" fmla="*/ 938212 h 1259681"/>
                        <a:gd name="connsiteX50" fmla="*/ 128588 w 1564482"/>
                        <a:gd name="connsiteY50" fmla="*/ 916781 h 1259681"/>
                        <a:gd name="connsiteX51" fmla="*/ 114301 w 1564482"/>
                        <a:gd name="connsiteY51" fmla="*/ 864394 h 1259681"/>
                        <a:gd name="connsiteX52" fmla="*/ 104776 w 1564482"/>
                        <a:gd name="connsiteY52" fmla="*/ 809625 h 1259681"/>
                        <a:gd name="connsiteX53" fmla="*/ 161926 w 1564482"/>
                        <a:gd name="connsiteY53" fmla="*/ 678656 h 1259681"/>
                        <a:gd name="connsiteX54" fmla="*/ 164307 w 1564482"/>
                        <a:gd name="connsiteY54" fmla="*/ 478631 h 1259681"/>
                        <a:gd name="connsiteX55" fmla="*/ 0 w 1564482"/>
                        <a:gd name="connsiteY55" fmla="*/ 80963 h 12596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</a:cxnLst>
                      <a:rect l="l" t="t" r="r" b="b"/>
                      <a:pathLst>
                        <a:path w="1564482" h="1259681">
                          <a:moveTo>
                            <a:pt x="0" y="80963"/>
                          </a:moveTo>
                          <a:lnTo>
                            <a:pt x="140494" y="54769"/>
                          </a:lnTo>
                          <a:lnTo>
                            <a:pt x="373857" y="45244"/>
                          </a:lnTo>
                          <a:lnTo>
                            <a:pt x="773907" y="19050"/>
                          </a:lnTo>
                          <a:lnTo>
                            <a:pt x="1052513" y="0"/>
                          </a:lnTo>
                          <a:lnTo>
                            <a:pt x="1085851" y="107156"/>
                          </a:lnTo>
                          <a:lnTo>
                            <a:pt x="1123951" y="250031"/>
                          </a:lnTo>
                          <a:lnTo>
                            <a:pt x="1131094" y="290512"/>
                          </a:lnTo>
                          <a:lnTo>
                            <a:pt x="1221582" y="364331"/>
                          </a:lnTo>
                          <a:lnTo>
                            <a:pt x="1240632" y="404812"/>
                          </a:lnTo>
                          <a:lnTo>
                            <a:pt x="1254919" y="457200"/>
                          </a:lnTo>
                          <a:lnTo>
                            <a:pt x="1390651" y="523875"/>
                          </a:lnTo>
                          <a:lnTo>
                            <a:pt x="1443038" y="566737"/>
                          </a:lnTo>
                          <a:lnTo>
                            <a:pt x="1466851" y="688181"/>
                          </a:lnTo>
                          <a:lnTo>
                            <a:pt x="1495426" y="773906"/>
                          </a:lnTo>
                          <a:lnTo>
                            <a:pt x="1547813" y="866775"/>
                          </a:lnTo>
                          <a:lnTo>
                            <a:pt x="1564482" y="907256"/>
                          </a:lnTo>
                          <a:lnTo>
                            <a:pt x="1550194" y="959644"/>
                          </a:lnTo>
                          <a:lnTo>
                            <a:pt x="1540669" y="983456"/>
                          </a:lnTo>
                          <a:lnTo>
                            <a:pt x="1440657" y="978694"/>
                          </a:lnTo>
                          <a:lnTo>
                            <a:pt x="1388269" y="950119"/>
                          </a:lnTo>
                          <a:lnTo>
                            <a:pt x="1338263" y="923925"/>
                          </a:lnTo>
                          <a:lnTo>
                            <a:pt x="1283494" y="892969"/>
                          </a:lnTo>
                          <a:lnTo>
                            <a:pt x="1233488" y="873919"/>
                          </a:lnTo>
                          <a:lnTo>
                            <a:pt x="1164432" y="890587"/>
                          </a:lnTo>
                          <a:lnTo>
                            <a:pt x="1109663" y="926306"/>
                          </a:lnTo>
                          <a:lnTo>
                            <a:pt x="1081088" y="964406"/>
                          </a:lnTo>
                          <a:lnTo>
                            <a:pt x="1057276" y="1023937"/>
                          </a:lnTo>
                          <a:lnTo>
                            <a:pt x="1054894" y="1083469"/>
                          </a:lnTo>
                          <a:lnTo>
                            <a:pt x="1073944" y="1126331"/>
                          </a:lnTo>
                          <a:lnTo>
                            <a:pt x="1071563" y="1157287"/>
                          </a:lnTo>
                          <a:lnTo>
                            <a:pt x="1033463" y="1159669"/>
                          </a:lnTo>
                          <a:lnTo>
                            <a:pt x="995363" y="1112044"/>
                          </a:lnTo>
                          <a:lnTo>
                            <a:pt x="940594" y="1114425"/>
                          </a:lnTo>
                          <a:lnTo>
                            <a:pt x="890588" y="1073944"/>
                          </a:lnTo>
                          <a:lnTo>
                            <a:pt x="776288" y="1083469"/>
                          </a:lnTo>
                          <a:lnTo>
                            <a:pt x="750094" y="1059656"/>
                          </a:lnTo>
                          <a:lnTo>
                            <a:pt x="642938" y="1052512"/>
                          </a:lnTo>
                          <a:lnTo>
                            <a:pt x="600076" y="1081087"/>
                          </a:lnTo>
                          <a:lnTo>
                            <a:pt x="533401" y="1062037"/>
                          </a:lnTo>
                          <a:lnTo>
                            <a:pt x="500063" y="1104900"/>
                          </a:lnTo>
                          <a:lnTo>
                            <a:pt x="514351" y="1143000"/>
                          </a:lnTo>
                          <a:lnTo>
                            <a:pt x="478632" y="1164431"/>
                          </a:lnTo>
                          <a:lnTo>
                            <a:pt x="478632" y="1202531"/>
                          </a:lnTo>
                          <a:lnTo>
                            <a:pt x="464344" y="1259681"/>
                          </a:lnTo>
                          <a:lnTo>
                            <a:pt x="347663" y="1190625"/>
                          </a:lnTo>
                          <a:lnTo>
                            <a:pt x="276226" y="1107281"/>
                          </a:lnTo>
                          <a:lnTo>
                            <a:pt x="283369" y="1045369"/>
                          </a:lnTo>
                          <a:lnTo>
                            <a:pt x="207169" y="940594"/>
                          </a:lnTo>
                          <a:lnTo>
                            <a:pt x="161926" y="938212"/>
                          </a:lnTo>
                          <a:lnTo>
                            <a:pt x="128588" y="916781"/>
                          </a:lnTo>
                          <a:lnTo>
                            <a:pt x="114301" y="864394"/>
                          </a:lnTo>
                          <a:lnTo>
                            <a:pt x="104776" y="809625"/>
                          </a:lnTo>
                          <a:lnTo>
                            <a:pt x="161926" y="678656"/>
                          </a:lnTo>
                          <a:cubicBezTo>
                            <a:pt x="162720" y="611981"/>
                            <a:pt x="163513" y="545306"/>
                            <a:pt x="164307" y="478631"/>
                          </a:cubicBezTo>
                          <a:lnTo>
                            <a:pt x="0" y="80963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17" name="Freeform 9"/>
                    <p:cNvSpPr/>
                    <p:nvPr/>
                  </p:nvSpPr>
                  <p:spPr>
                    <a:xfrm>
                      <a:off x="1402550" y="2695915"/>
                      <a:ext cx="1083055" cy="1112047"/>
                    </a:xfrm>
                    <a:custGeom>
                      <a:avLst/>
                      <a:gdLst>
                        <a:gd name="connsiteX0" fmla="*/ 1178719 w 1538288"/>
                        <a:gd name="connsiteY0" fmla="*/ 1697831 h 1707356"/>
                        <a:gd name="connsiteX1" fmla="*/ 1345406 w 1538288"/>
                        <a:gd name="connsiteY1" fmla="*/ 519112 h 1707356"/>
                        <a:gd name="connsiteX2" fmla="*/ 1538288 w 1538288"/>
                        <a:gd name="connsiteY2" fmla="*/ 471487 h 1707356"/>
                        <a:gd name="connsiteX3" fmla="*/ 1514475 w 1538288"/>
                        <a:gd name="connsiteY3" fmla="*/ 169069 h 1707356"/>
                        <a:gd name="connsiteX4" fmla="*/ 1478756 w 1538288"/>
                        <a:gd name="connsiteY4" fmla="*/ 185737 h 1707356"/>
                        <a:gd name="connsiteX5" fmla="*/ 1345406 w 1538288"/>
                        <a:gd name="connsiteY5" fmla="*/ 111919 h 1707356"/>
                        <a:gd name="connsiteX6" fmla="*/ 1262063 w 1538288"/>
                        <a:gd name="connsiteY6" fmla="*/ 0 h 1707356"/>
                        <a:gd name="connsiteX7" fmla="*/ 1202531 w 1538288"/>
                        <a:gd name="connsiteY7" fmla="*/ 64294 h 1707356"/>
                        <a:gd name="connsiteX8" fmla="*/ 1138238 w 1538288"/>
                        <a:gd name="connsiteY8" fmla="*/ 14287 h 1707356"/>
                        <a:gd name="connsiteX9" fmla="*/ 1038225 w 1538288"/>
                        <a:gd name="connsiteY9" fmla="*/ 19050 h 1707356"/>
                        <a:gd name="connsiteX10" fmla="*/ 1009650 w 1538288"/>
                        <a:gd name="connsiteY10" fmla="*/ 57150 h 1707356"/>
                        <a:gd name="connsiteX11" fmla="*/ 938213 w 1538288"/>
                        <a:gd name="connsiteY11" fmla="*/ 28575 h 1707356"/>
                        <a:gd name="connsiteX12" fmla="*/ 869156 w 1538288"/>
                        <a:gd name="connsiteY12" fmla="*/ 59531 h 1707356"/>
                        <a:gd name="connsiteX13" fmla="*/ 800100 w 1538288"/>
                        <a:gd name="connsiteY13" fmla="*/ 57150 h 1707356"/>
                        <a:gd name="connsiteX14" fmla="*/ 750094 w 1538288"/>
                        <a:gd name="connsiteY14" fmla="*/ 109537 h 1707356"/>
                        <a:gd name="connsiteX15" fmla="*/ 716756 w 1538288"/>
                        <a:gd name="connsiteY15" fmla="*/ 164306 h 1707356"/>
                        <a:gd name="connsiteX16" fmla="*/ 714375 w 1538288"/>
                        <a:gd name="connsiteY16" fmla="*/ 202406 h 1707356"/>
                        <a:gd name="connsiteX17" fmla="*/ 731044 w 1538288"/>
                        <a:gd name="connsiteY17" fmla="*/ 245269 h 1707356"/>
                        <a:gd name="connsiteX18" fmla="*/ 750094 w 1538288"/>
                        <a:gd name="connsiteY18" fmla="*/ 278606 h 1707356"/>
                        <a:gd name="connsiteX19" fmla="*/ 783431 w 1538288"/>
                        <a:gd name="connsiteY19" fmla="*/ 278606 h 1707356"/>
                        <a:gd name="connsiteX20" fmla="*/ 800100 w 1538288"/>
                        <a:gd name="connsiteY20" fmla="*/ 311944 h 1707356"/>
                        <a:gd name="connsiteX21" fmla="*/ 831056 w 1538288"/>
                        <a:gd name="connsiteY21" fmla="*/ 352425 h 1707356"/>
                        <a:gd name="connsiteX22" fmla="*/ 857250 w 1538288"/>
                        <a:gd name="connsiteY22" fmla="*/ 326231 h 1707356"/>
                        <a:gd name="connsiteX23" fmla="*/ 857250 w 1538288"/>
                        <a:gd name="connsiteY23" fmla="*/ 297656 h 1707356"/>
                        <a:gd name="connsiteX24" fmla="*/ 897731 w 1538288"/>
                        <a:gd name="connsiteY24" fmla="*/ 290512 h 1707356"/>
                        <a:gd name="connsiteX25" fmla="*/ 935831 w 1538288"/>
                        <a:gd name="connsiteY25" fmla="*/ 250031 h 1707356"/>
                        <a:gd name="connsiteX26" fmla="*/ 976313 w 1538288"/>
                        <a:gd name="connsiteY26" fmla="*/ 290512 h 1707356"/>
                        <a:gd name="connsiteX27" fmla="*/ 983456 w 1538288"/>
                        <a:gd name="connsiteY27" fmla="*/ 297656 h 1707356"/>
                        <a:gd name="connsiteX28" fmla="*/ 952500 w 1538288"/>
                        <a:gd name="connsiteY28" fmla="*/ 345281 h 1707356"/>
                        <a:gd name="connsiteX29" fmla="*/ 1000125 w 1538288"/>
                        <a:gd name="connsiteY29" fmla="*/ 426244 h 1707356"/>
                        <a:gd name="connsiteX30" fmla="*/ 945356 w 1538288"/>
                        <a:gd name="connsiteY30" fmla="*/ 435769 h 1707356"/>
                        <a:gd name="connsiteX31" fmla="*/ 895350 w 1538288"/>
                        <a:gd name="connsiteY31" fmla="*/ 438150 h 1707356"/>
                        <a:gd name="connsiteX32" fmla="*/ 866775 w 1538288"/>
                        <a:gd name="connsiteY32" fmla="*/ 416719 h 1707356"/>
                        <a:gd name="connsiteX33" fmla="*/ 888206 w 1538288"/>
                        <a:gd name="connsiteY33" fmla="*/ 383381 h 1707356"/>
                        <a:gd name="connsiteX34" fmla="*/ 916781 w 1538288"/>
                        <a:gd name="connsiteY34" fmla="*/ 388144 h 1707356"/>
                        <a:gd name="connsiteX35" fmla="*/ 938213 w 1538288"/>
                        <a:gd name="connsiteY35" fmla="*/ 354806 h 1707356"/>
                        <a:gd name="connsiteX36" fmla="*/ 931069 w 1538288"/>
                        <a:gd name="connsiteY36" fmla="*/ 333375 h 1707356"/>
                        <a:gd name="connsiteX37" fmla="*/ 845344 w 1538288"/>
                        <a:gd name="connsiteY37" fmla="*/ 342900 h 1707356"/>
                        <a:gd name="connsiteX38" fmla="*/ 826294 w 1538288"/>
                        <a:gd name="connsiteY38" fmla="*/ 352425 h 1707356"/>
                        <a:gd name="connsiteX39" fmla="*/ 783431 w 1538288"/>
                        <a:gd name="connsiteY39" fmla="*/ 328612 h 1707356"/>
                        <a:gd name="connsiteX40" fmla="*/ 747713 w 1538288"/>
                        <a:gd name="connsiteY40" fmla="*/ 338137 h 1707356"/>
                        <a:gd name="connsiteX41" fmla="*/ 626269 w 1538288"/>
                        <a:gd name="connsiteY41" fmla="*/ 278606 h 1707356"/>
                        <a:gd name="connsiteX42" fmla="*/ 471488 w 1538288"/>
                        <a:gd name="connsiteY42" fmla="*/ 221456 h 1707356"/>
                        <a:gd name="connsiteX43" fmla="*/ 419100 w 1538288"/>
                        <a:gd name="connsiteY43" fmla="*/ 190500 h 1707356"/>
                        <a:gd name="connsiteX44" fmla="*/ 376238 w 1538288"/>
                        <a:gd name="connsiteY44" fmla="*/ 216694 h 1707356"/>
                        <a:gd name="connsiteX45" fmla="*/ 333375 w 1538288"/>
                        <a:gd name="connsiteY45" fmla="*/ 195262 h 1707356"/>
                        <a:gd name="connsiteX46" fmla="*/ 297656 w 1538288"/>
                        <a:gd name="connsiteY46" fmla="*/ 240506 h 1707356"/>
                        <a:gd name="connsiteX47" fmla="*/ 283369 w 1538288"/>
                        <a:gd name="connsiteY47" fmla="*/ 278606 h 1707356"/>
                        <a:gd name="connsiteX48" fmla="*/ 271463 w 1538288"/>
                        <a:gd name="connsiteY48" fmla="*/ 295275 h 1707356"/>
                        <a:gd name="connsiteX49" fmla="*/ 230981 w 1538288"/>
                        <a:gd name="connsiteY49" fmla="*/ 292894 h 1707356"/>
                        <a:gd name="connsiteX50" fmla="*/ 202406 w 1538288"/>
                        <a:gd name="connsiteY50" fmla="*/ 300037 h 1707356"/>
                        <a:gd name="connsiteX51" fmla="*/ 209550 w 1538288"/>
                        <a:gd name="connsiteY51" fmla="*/ 340519 h 1707356"/>
                        <a:gd name="connsiteX52" fmla="*/ 273844 w 1538288"/>
                        <a:gd name="connsiteY52" fmla="*/ 423862 h 1707356"/>
                        <a:gd name="connsiteX53" fmla="*/ 309563 w 1538288"/>
                        <a:gd name="connsiteY53" fmla="*/ 471487 h 1707356"/>
                        <a:gd name="connsiteX54" fmla="*/ 264319 w 1538288"/>
                        <a:gd name="connsiteY54" fmla="*/ 457200 h 1707356"/>
                        <a:gd name="connsiteX55" fmla="*/ 214313 w 1538288"/>
                        <a:gd name="connsiteY55" fmla="*/ 466725 h 1707356"/>
                        <a:gd name="connsiteX56" fmla="*/ 173831 w 1538288"/>
                        <a:gd name="connsiteY56" fmla="*/ 411956 h 1707356"/>
                        <a:gd name="connsiteX57" fmla="*/ 114300 w 1538288"/>
                        <a:gd name="connsiteY57" fmla="*/ 392906 h 1707356"/>
                        <a:gd name="connsiteX58" fmla="*/ 50006 w 1538288"/>
                        <a:gd name="connsiteY58" fmla="*/ 371475 h 1707356"/>
                        <a:gd name="connsiteX59" fmla="*/ 21431 w 1538288"/>
                        <a:gd name="connsiteY59" fmla="*/ 395287 h 1707356"/>
                        <a:gd name="connsiteX60" fmla="*/ 0 w 1538288"/>
                        <a:gd name="connsiteY60" fmla="*/ 442912 h 1707356"/>
                        <a:gd name="connsiteX61" fmla="*/ 9525 w 1538288"/>
                        <a:gd name="connsiteY61" fmla="*/ 476250 h 1707356"/>
                        <a:gd name="connsiteX62" fmla="*/ 80963 w 1538288"/>
                        <a:gd name="connsiteY62" fmla="*/ 504825 h 1707356"/>
                        <a:gd name="connsiteX63" fmla="*/ 116681 w 1538288"/>
                        <a:gd name="connsiteY63" fmla="*/ 533400 h 1707356"/>
                        <a:gd name="connsiteX64" fmla="*/ 123825 w 1538288"/>
                        <a:gd name="connsiteY64" fmla="*/ 590550 h 1707356"/>
                        <a:gd name="connsiteX65" fmla="*/ 130969 w 1538288"/>
                        <a:gd name="connsiteY65" fmla="*/ 623887 h 1707356"/>
                        <a:gd name="connsiteX66" fmla="*/ 145256 w 1538288"/>
                        <a:gd name="connsiteY66" fmla="*/ 673894 h 1707356"/>
                        <a:gd name="connsiteX67" fmla="*/ 147638 w 1538288"/>
                        <a:gd name="connsiteY67" fmla="*/ 721519 h 1707356"/>
                        <a:gd name="connsiteX68" fmla="*/ 183356 w 1538288"/>
                        <a:gd name="connsiteY68" fmla="*/ 773906 h 1707356"/>
                        <a:gd name="connsiteX69" fmla="*/ 178594 w 1538288"/>
                        <a:gd name="connsiteY69" fmla="*/ 809625 h 1707356"/>
                        <a:gd name="connsiteX70" fmla="*/ 178594 w 1538288"/>
                        <a:gd name="connsiteY70" fmla="*/ 845344 h 1707356"/>
                        <a:gd name="connsiteX71" fmla="*/ 166688 w 1538288"/>
                        <a:gd name="connsiteY71" fmla="*/ 881062 h 1707356"/>
                        <a:gd name="connsiteX72" fmla="*/ 154781 w 1538288"/>
                        <a:gd name="connsiteY72" fmla="*/ 909637 h 1707356"/>
                        <a:gd name="connsiteX73" fmla="*/ 195263 w 1538288"/>
                        <a:gd name="connsiteY73" fmla="*/ 902494 h 1707356"/>
                        <a:gd name="connsiteX74" fmla="*/ 250031 w 1538288"/>
                        <a:gd name="connsiteY74" fmla="*/ 921544 h 1707356"/>
                        <a:gd name="connsiteX75" fmla="*/ 269081 w 1538288"/>
                        <a:gd name="connsiteY75" fmla="*/ 947737 h 1707356"/>
                        <a:gd name="connsiteX76" fmla="*/ 276225 w 1538288"/>
                        <a:gd name="connsiteY76" fmla="*/ 988219 h 1707356"/>
                        <a:gd name="connsiteX77" fmla="*/ 290513 w 1538288"/>
                        <a:gd name="connsiteY77" fmla="*/ 1026319 h 1707356"/>
                        <a:gd name="connsiteX78" fmla="*/ 330994 w 1538288"/>
                        <a:gd name="connsiteY78" fmla="*/ 1028700 h 1707356"/>
                        <a:gd name="connsiteX79" fmla="*/ 373856 w 1538288"/>
                        <a:gd name="connsiteY79" fmla="*/ 1050131 h 1707356"/>
                        <a:gd name="connsiteX80" fmla="*/ 409575 w 1538288"/>
                        <a:gd name="connsiteY80" fmla="*/ 1054894 h 1707356"/>
                        <a:gd name="connsiteX81" fmla="*/ 459581 w 1538288"/>
                        <a:gd name="connsiteY81" fmla="*/ 1095375 h 1707356"/>
                        <a:gd name="connsiteX82" fmla="*/ 459581 w 1538288"/>
                        <a:gd name="connsiteY82" fmla="*/ 1147762 h 1707356"/>
                        <a:gd name="connsiteX83" fmla="*/ 445294 w 1538288"/>
                        <a:gd name="connsiteY83" fmla="*/ 1183481 h 1707356"/>
                        <a:gd name="connsiteX84" fmla="*/ 426244 w 1538288"/>
                        <a:gd name="connsiteY84" fmla="*/ 1212056 h 1707356"/>
                        <a:gd name="connsiteX85" fmla="*/ 371475 w 1538288"/>
                        <a:gd name="connsiteY85" fmla="*/ 1273969 h 1707356"/>
                        <a:gd name="connsiteX86" fmla="*/ 357188 w 1538288"/>
                        <a:gd name="connsiteY86" fmla="*/ 1300162 h 1707356"/>
                        <a:gd name="connsiteX87" fmla="*/ 373856 w 1538288"/>
                        <a:gd name="connsiteY87" fmla="*/ 1350169 h 1707356"/>
                        <a:gd name="connsiteX88" fmla="*/ 361950 w 1538288"/>
                        <a:gd name="connsiteY88" fmla="*/ 1371600 h 1707356"/>
                        <a:gd name="connsiteX89" fmla="*/ 350044 w 1538288"/>
                        <a:gd name="connsiteY89" fmla="*/ 1409700 h 1707356"/>
                        <a:gd name="connsiteX90" fmla="*/ 428625 w 1538288"/>
                        <a:gd name="connsiteY90" fmla="*/ 1378744 h 1707356"/>
                        <a:gd name="connsiteX91" fmla="*/ 550069 w 1538288"/>
                        <a:gd name="connsiteY91" fmla="*/ 1300162 h 1707356"/>
                        <a:gd name="connsiteX92" fmla="*/ 781050 w 1538288"/>
                        <a:gd name="connsiteY92" fmla="*/ 1297781 h 1707356"/>
                        <a:gd name="connsiteX93" fmla="*/ 909638 w 1538288"/>
                        <a:gd name="connsiteY93" fmla="*/ 1404937 h 1707356"/>
                        <a:gd name="connsiteX94" fmla="*/ 966788 w 1538288"/>
                        <a:gd name="connsiteY94" fmla="*/ 1447800 h 1707356"/>
                        <a:gd name="connsiteX95" fmla="*/ 969169 w 1538288"/>
                        <a:gd name="connsiteY95" fmla="*/ 1516856 h 1707356"/>
                        <a:gd name="connsiteX96" fmla="*/ 1012031 w 1538288"/>
                        <a:gd name="connsiteY96" fmla="*/ 1593056 h 1707356"/>
                        <a:gd name="connsiteX97" fmla="*/ 1054894 w 1538288"/>
                        <a:gd name="connsiteY97" fmla="*/ 1707356 h 1707356"/>
                        <a:gd name="connsiteX98" fmla="*/ 1178719 w 1538288"/>
                        <a:gd name="connsiteY98" fmla="*/ 1697831 h 170735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</a:cxnLst>
                      <a:rect l="l" t="t" r="r" b="b"/>
                      <a:pathLst>
                        <a:path w="1538288" h="1707356">
                          <a:moveTo>
                            <a:pt x="1178719" y="1697831"/>
                          </a:moveTo>
                          <a:lnTo>
                            <a:pt x="1345406" y="519112"/>
                          </a:lnTo>
                          <a:lnTo>
                            <a:pt x="1538288" y="471487"/>
                          </a:lnTo>
                          <a:lnTo>
                            <a:pt x="1514475" y="169069"/>
                          </a:lnTo>
                          <a:lnTo>
                            <a:pt x="1478756" y="185737"/>
                          </a:lnTo>
                          <a:lnTo>
                            <a:pt x="1345406" y="111919"/>
                          </a:lnTo>
                          <a:lnTo>
                            <a:pt x="1262063" y="0"/>
                          </a:lnTo>
                          <a:lnTo>
                            <a:pt x="1202531" y="64294"/>
                          </a:lnTo>
                          <a:lnTo>
                            <a:pt x="1138238" y="14287"/>
                          </a:lnTo>
                          <a:lnTo>
                            <a:pt x="1038225" y="19050"/>
                          </a:lnTo>
                          <a:lnTo>
                            <a:pt x="1009650" y="57150"/>
                          </a:lnTo>
                          <a:lnTo>
                            <a:pt x="938213" y="28575"/>
                          </a:lnTo>
                          <a:lnTo>
                            <a:pt x="869156" y="59531"/>
                          </a:lnTo>
                          <a:lnTo>
                            <a:pt x="800100" y="57150"/>
                          </a:lnTo>
                          <a:lnTo>
                            <a:pt x="750094" y="109537"/>
                          </a:lnTo>
                          <a:lnTo>
                            <a:pt x="716756" y="164306"/>
                          </a:lnTo>
                          <a:lnTo>
                            <a:pt x="714375" y="202406"/>
                          </a:lnTo>
                          <a:lnTo>
                            <a:pt x="731044" y="245269"/>
                          </a:lnTo>
                          <a:lnTo>
                            <a:pt x="750094" y="278606"/>
                          </a:lnTo>
                          <a:lnTo>
                            <a:pt x="783431" y="278606"/>
                          </a:lnTo>
                          <a:lnTo>
                            <a:pt x="800100" y="311944"/>
                          </a:lnTo>
                          <a:lnTo>
                            <a:pt x="831056" y="352425"/>
                          </a:lnTo>
                          <a:lnTo>
                            <a:pt x="857250" y="326231"/>
                          </a:lnTo>
                          <a:lnTo>
                            <a:pt x="857250" y="297656"/>
                          </a:lnTo>
                          <a:lnTo>
                            <a:pt x="897731" y="290512"/>
                          </a:lnTo>
                          <a:lnTo>
                            <a:pt x="935831" y="250031"/>
                          </a:lnTo>
                          <a:lnTo>
                            <a:pt x="976313" y="290512"/>
                          </a:lnTo>
                          <a:lnTo>
                            <a:pt x="983456" y="297656"/>
                          </a:lnTo>
                          <a:lnTo>
                            <a:pt x="952500" y="345281"/>
                          </a:lnTo>
                          <a:lnTo>
                            <a:pt x="1000125" y="426244"/>
                          </a:lnTo>
                          <a:lnTo>
                            <a:pt x="945356" y="435769"/>
                          </a:lnTo>
                          <a:lnTo>
                            <a:pt x="895350" y="438150"/>
                          </a:lnTo>
                          <a:lnTo>
                            <a:pt x="866775" y="416719"/>
                          </a:lnTo>
                          <a:lnTo>
                            <a:pt x="888206" y="383381"/>
                          </a:lnTo>
                          <a:lnTo>
                            <a:pt x="916781" y="388144"/>
                          </a:lnTo>
                          <a:lnTo>
                            <a:pt x="938213" y="354806"/>
                          </a:lnTo>
                          <a:lnTo>
                            <a:pt x="931069" y="333375"/>
                          </a:lnTo>
                          <a:lnTo>
                            <a:pt x="845344" y="342900"/>
                          </a:lnTo>
                          <a:lnTo>
                            <a:pt x="826294" y="352425"/>
                          </a:lnTo>
                          <a:lnTo>
                            <a:pt x="783431" y="328612"/>
                          </a:lnTo>
                          <a:lnTo>
                            <a:pt x="747713" y="338137"/>
                          </a:lnTo>
                          <a:lnTo>
                            <a:pt x="626269" y="278606"/>
                          </a:lnTo>
                          <a:lnTo>
                            <a:pt x="471488" y="221456"/>
                          </a:lnTo>
                          <a:lnTo>
                            <a:pt x="419100" y="190500"/>
                          </a:lnTo>
                          <a:lnTo>
                            <a:pt x="376238" y="216694"/>
                          </a:lnTo>
                          <a:lnTo>
                            <a:pt x="333375" y="195262"/>
                          </a:lnTo>
                          <a:lnTo>
                            <a:pt x="297656" y="240506"/>
                          </a:lnTo>
                          <a:lnTo>
                            <a:pt x="283369" y="278606"/>
                          </a:lnTo>
                          <a:lnTo>
                            <a:pt x="271463" y="295275"/>
                          </a:lnTo>
                          <a:lnTo>
                            <a:pt x="230981" y="292894"/>
                          </a:lnTo>
                          <a:lnTo>
                            <a:pt x="202406" y="300037"/>
                          </a:lnTo>
                          <a:lnTo>
                            <a:pt x="209550" y="340519"/>
                          </a:lnTo>
                          <a:lnTo>
                            <a:pt x="273844" y="423862"/>
                          </a:lnTo>
                          <a:lnTo>
                            <a:pt x="309563" y="471487"/>
                          </a:lnTo>
                          <a:lnTo>
                            <a:pt x="264319" y="457200"/>
                          </a:lnTo>
                          <a:lnTo>
                            <a:pt x="214313" y="466725"/>
                          </a:lnTo>
                          <a:lnTo>
                            <a:pt x="173831" y="411956"/>
                          </a:lnTo>
                          <a:lnTo>
                            <a:pt x="114300" y="392906"/>
                          </a:lnTo>
                          <a:lnTo>
                            <a:pt x="50006" y="371475"/>
                          </a:lnTo>
                          <a:lnTo>
                            <a:pt x="21431" y="395287"/>
                          </a:lnTo>
                          <a:lnTo>
                            <a:pt x="0" y="442912"/>
                          </a:lnTo>
                          <a:lnTo>
                            <a:pt x="9525" y="476250"/>
                          </a:lnTo>
                          <a:lnTo>
                            <a:pt x="80963" y="504825"/>
                          </a:lnTo>
                          <a:lnTo>
                            <a:pt x="116681" y="533400"/>
                          </a:lnTo>
                          <a:lnTo>
                            <a:pt x="123825" y="590550"/>
                          </a:lnTo>
                          <a:lnTo>
                            <a:pt x="130969" y="623887"/>
                          </a:lnTo>
                          <a:lnTo>
                            <a:pt x="145256" y="673894"/>
                          </a:lnTo>
                          <a:lnTo>
                            <a:pt x="147638" y="721519"/>
                          </a:lnTo>
                          <a:lnTo>
                            <a:pt x="183356" y="773906"/>
                          </a:lnTo>
                          <a:lnTo>
                            <a:pt x="178594" y="809625"/>
                          </a:lnTo>
                          <a:lnTo>
                            <a:pt x="178594" y="845344"/>
                          </a:lnTo>
                          <a:lnTo>
                            <a:pt x="166688" y="881062"/>
                          </a:lnTo>
                          <a:lnTo>
                            <a:pt x="154781" y="909637"/>
                          </a:lnTo>
                          <a:lnTo>
                            <a:pt x="195263" y="902494"/>
                          </a:lnTo>
                          <a:lnTo>
                            <a:pt x="250031" y="921544"/>
                          </a:lnTo>
                          <a:lnTo>
                            <a:pt x="269081" y="947737"/>
                          </a:lnTo>
                          <a:lnTo>
                            <a:pt x="276225" y="988219"/>
                          </a:lnTo>
                          <a:lnTo>
                            <a:pt x="290513" y="1026319"/>
                          </a:lnTo>
                          <a:lnTo>
                            <a:pt x="330994" y="1028700"/>
                          </a:lnTo>
                          <a:lnTo>
                            <a:pt x="373856" y="1050131"/>
                          </a:lnTo>
                          <a:lnTo>
                            <a:pt x="409575" y="1054894"/>
                          </a:lnTo>
                          <a:lnTo>
                            <a:pt x="459581" y="1095375"/>
                          </a:lnTo>
                          <a:lnTo>
                            <a:pt x="459581" y="1147762"/>
                          </a:lnTo>
                          <a:lnTo>
                            <a:pt x="445294" y="1183481"/>
                          </a:lnTo>
                          <a:lnTo>
                            <a:pt x="426244" y="1212056"/>
                          </a:lnTo>
                          <a:lnTo>
                            <a:pt x="371475" y="1273969"/>
                          </a:lnTo>
                          <a:lnTo>
                            <a:pt x="357188" y="1300162"/>
                          </a:lnTo>
                          <a:lnTo>
                            <a:pt x="373856" y="1350169"/>
                          </a:lnTo>
                          <a:lnTo>
                            <a:pt x="361950" y="1371600"/>
                          </a:lnTo>
                          <a:lnTo>
                            <a:pt x="350044" y="1409700"/>
                          </a:lnTo>
                          <a:lnTo>
                            <a:pt x="428625" y="1378744"/>
                          </a:lnTo>
                          <a:lnTo>
                            <a:pt x="550069" y="1300162"/>
                          </a:lnTo>
                          <a:lnTo>
                            <a:pt x="781050" y="1297781"/>
                          </a:lnTo>
                          <a:lnTo>
                            <a:pt x="909638" y="1404937"/>
                          </a:lnTo>
                          <a:lnTo>
                            <a:pt x="966788" y="1447800"/>
                          </a:lnTo>
                          <a:cubicBezTo>
                            <a:pt x="967582" y="1470819"/>
                            <a:pt x="968375" y="1493837"/>
                            <a:pt x="969169" y="1516856"/>
                          </a:cubicBezTo>
                          <a:lnTo>
                            <a:pt x="1012031" y="1593056"/>
                          </a:lnTo>
                          <a:lnTo>
                            <a:pt x="1054894" y="1707356"/>
                          </a:lnTo>
                          <a:lnTo>
                            <a:pt x="1178719" y="1697831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18" name="Freeform 12"/>
                    <p:cNvSpPr/>
                    <p:nvPr/>
                  </p:nvSpPr>
                  <p:spPr>
                    <a:xfrm>
                      <a:off x="3993955" y="2954098"/>
                      <a:ext cx="832565" cy="1132298"/>
                    </a:xfrm>
                    <a:custGeom>
                      <a:avLst/>
                      <a:gdLst>
                        <a:gd name="connsiteX0" fmla="*/ 409575 w 1183481"/>
                        <a:gd name="connsiteY0" fmla="*/ 888207 h 1738313"/>
                        <a:gd name="connsiteX1" fmla="*/ 309563 w 1183481"/>
                        <a:gd name="connsiteY1" fmla="*/ 962025 h 1738313"/>
                        <a:gd name="connsiteX2" fmla="*/ 273844 w 1183481"/>
                        <a:gd name="connsiteY2" fmla="*/ 992982 h 1738313"/>
                        <a:gd name="connsiteX3" fmla="*/ 197644 w 1183481"/>
                        <a:gd name="connsiteY3" fmla="*/ 1021557 h 1738313"/>
                        <a:gd name="connsiteX4" fmla="*/ 0 w 1183481"/>
                        <a:gd name="connsiteY4" fmla="*/ 1166813 h 1738313"/>
                        <a:gd name="connsiteX5" fmla="*/ 0 w 1183481"/>
                        <a:gd name="connsiteY5" fmla="*/ 1273969 h 1738313"/>
                        <a:gd name="connsiteX6" fmla="*/ 71438 w 1183481"/>
                        <a:gd name="connsiteY6" fmla="*/ 1273969 h 1738313"/>
                        <a:gd name="connsiteX7" fmla="*/ 107156 w 1183481"/>
                        <a:gd name="connsiteY7" fmla="*/ 1290638 h 1738313"/>
                        <a:gd name="connsiteX8" fmla="*/ 126206 w 1183481"/>
                        <a:gd name="connsiteY8" fmla="*/ 1388269 h 1738313"/>
                        <a:gd name="connsiteX9" fmla="*/ 164306 w 1183481"/>
                        <a:gd name="connsiteY9" fmla="*/ 1562100 h 1738313"/>
                        <a:gd name="connsiteX10" fmla="*/ 304800 w 1183481"/>
                        <a:gd name="connsiteY10" fmla="*/ 1569244 h 1738313"/>
                        <a:gd name="connsiteX11" fmla="*/ 426244 w 1183481"/>
                        <a:gd name="connsiteY11" fmla="*/ 1535907 h 1738313"/>
                        <a:gd name="connsiteX12" fmla="*/ 509588 w 1183481"/>
                        <a:gd name="connsiteY12" fmla="*/ 1602582 h 1738313"/>
                        <a:gd name="connsiteX13" fmla="*/ 502444 w 1183481"/>
                        <a:gd name="connsiteY13" fmla="*/ 1638300 h 1738313"/>
                        <a:gd name="connsiteX14" fmla="*/ 483394 w 1183481"/>
                        <a:gd name="connsiteY14" fmla="*/ 1662113 h 1738313"/>
                        <a:gd name="connsiteX15" fmla="*/ 573881 w 1183481"/>
                        <a:gd name="connsiteY15" fmla="*/ 1738313 h 1738313"/>
                        <a:gd name="connsiteX16" fmla="*/ 623888 w 1183481"/>
                        <a:gd name="connsiteY16" fmla="*/ 1738313 h 1738313"/>
                        <a:gd name="connsiteX17" fmla="*/ 626269 w 1183481"/>
                        <a:gd name="connsiteY17" fmla="*/ 1643063 h 1738313"/>
                        <a:gd name="connsiteX18" fmla="*/ 702469 w 1183481"/>
                        <a:gd name="connsiteY18" fmla="*/ 1545432 h 1738313"/>
                        <a:gd name="connsiteX19" fmla="*/ 838200 w 1183481"/>
                        <a:gd name="connsiteY19" fmla="*/ 1431132 h 1738313"/>
                        <a:gd name="connsiteX20" fmla="*/ 878681 w 1183481"/>
                        <a:gd name="connsiteY20" fmla="*/ 1381125 h 1738313"/>
                        <a:gd name="connsiteX21" fmla="*/ 957263 w 1183481"/>
                        <a:gd name="connsiteY21" fmla="*/ 1378744 h 1738313"/>
                        <a:gd name="connsiteX22" fmla="*/ 1047750 w 1183481"/>
                        <a:gd name="connsiteY22" fmla="*/ 1257300 h 1738313"/>
                        <a:gd name="connsiteX23" fmla="*/ 1064419 w 1183481"/>
                        <a:gd name="connsiteY23" fmla="*/ 1243013 h 1738313"/>
                        <a:gd name="connsiteX24" fmla="*/ 1121569 w 1183481"/>
                        <a:gd name="connsiteY24" fmla="*/ 1271588 h 1738313"/>
                        <a:gd name="connsiteX25" fmla="*/ 1133475 w 1183481"/>
                        <a:gd name="connsiteY25" fmla="*/ 1212057 h 1738313"/>
                        <a:gd name="connsiteX26" fmla="*/ 1176338 w 1183481"/>
                        <a:gd name="connsiteY26" fmla="*/ 1212057 h 1738313"/>
                        <a:gd name="connsiteX27" fmla="*/ 1183481 w 1183481"/>
                        <a:gd name="connsiteY27" fmla="*/ 1176338 h 1738313"/>
                        <a:gd name="connsiteX28" fmla="*/ 1069181 w 1183481"/>
                        <a:gd name="connsiteY28" fmla="*/ 1112044 h 1738313"/>
                        <a:gd name="connsiteX29" fmla="*/ 997744 w 1183481"/>
                        <a:gd name="connsiteY29" fmla="*/ 1028700 h 1738313"/>
                        <a:gd name="connsiteX30" fmla="*/ 997744 w 1183481"/>
                        <a:gd name="connsiteY30" fmla="*/ 971550 h 1738313"/>
                        <a:gd name="connsiteX31" fmla="*/ 921544 w 1183481"/>
                        <a:gd name="connsiteY31" fmla="*/ 862013 h 1738313"/>
                        <a:gd name="connsiteX32" fmla="*/ 873919 w 1183481"/>
                        <a:gd name="connsiteY32" fmla="*/ 862013 h 1738313"/>
                        <a:gd name="connsiteX33" fmla="*/ 838200 w 1183481"/>
                        <a:gd name="connsiteY33" fmla="*/ 816769 h 1738313"/>
                        <a:gd name="connsiteX34" fmla="*/ 823913 w 1183481"/>
                        <a:gd name="connsiteY34" fmla="*/ 742950 h 1738313"/>
                        <a:gd name="connsiteX35" fmla="*/ 850106 w 1183481"/>
                        <a:gd name="connsiteY35" fmla="*/ 664369 h 1738313"/>
                        <a:gd name="connsiteX36" fmla="*/ 885825 w 1183481"/>
                        <a:gd name="connsiteY36" fmla="*/ 600075 h 1738313"/>
                        <a:gd name="connsiteX37" fmla="*/ 881063 w 1183481"/>
                        <a:gd name="connsiteY37" fmla="*/ 466725 h 1738313"/>
                        <a:gd name="connsiteX38" fmla="*/ 888206 w 1183481"/>
                        <a:gd name="connsiteY38" fmla="*/ 381000 h 1738313"/>
                        <a:gd name="connsiteX39" fmla="*/ 778669 w 1183481"/>
                        <a:gd name="connsiteY39" fmla="*/ 154782 h 1738313"/>
                        <a:gd name="connsiteX40" fmla="*/ 723900 w 1183481"/>
                        <a:gd name="connsiteY40" fmla="*/ 0 h 1738313"/>
                        <a:gd name="connsiteX41" fmla="*/ 311944 w 1183481"/>
                        <a:gd name="connsiteY41" fmla="*/ 2382 h 1738313"/>
                        <a:gd name="connsiteX42" fmla="*/ 273844 w 1183481"/>
                        <a:gd name="connsiteY42" fmla="*/ 195263 h 1738313"/>
                        <a:gd name="connsiteX43" fmla="*/ 347663 w 1183481"/>
                        <a:gd name="connsiteY43" fmla="*/ 288132 h 1738313"/>
                        <a:gd name="connsiteX44" fmla="*/ 345281 w 1183481"/>
                        <a:gd name="connsiteY44" fmla="*/ 519113 h 1738313"/>
                        <a:gd name="connsiteX45" fmla="*/ 454819 w 1183481"/>
                        <a:gd name="connsiteY45" fmla="*/ 604838 h 1738313"/>
                        <a:gd name="connsiteX46" fmla="*/ 447675 w 1183481"/>
                        <a:gd name="connsiteY46" fmla="*/ 688182 h 1738313"/>
                        <a:gd name="connsiteX47" fmla="*/ 457200 w 1183481"/>
                        <a:gd name="connsiteY47" fmla="*/ 735807 h 1738313"/>
                        <a:gd name="connsiteX48" fmla="*/ 361950 w 1183481"/>
                        <a:gd name="connsiteY48" fmla="*/ 816769 h 1738313"/>
                        <a:gd name="connsiteX49" fmla="*/ 409575 w 1183481"/>
                        <a:gd name="connsiteY49" fmla="*/ 888207 h 1738313"/>
                        <a:gd name="connsiteX0" fmla="*/ 409575 w 1183481"/>
                        <a:gd name="connsiteY0" fmla="*/ 888207 h 1738313"/>
                        <a:gd name="connsiteX1" fmla="*/ 309563 w 1183481"/>
                        <a:gd name="connsiteY1" fmla="*/ 962025 h 1738313"/>
                        <a:gd name="connsiteX2" fmla="*/ 273844 w 1183481"/>
                        <a:gd name="connsiteY2" fmla="*/ 992982 h 1738313"/>
                        <a:gd name="connsiteX3" fmla="*/ 197644 w 1183481"/>
                        <a:gd name="connsiteY3" fmla="*/ 1021557 h 1738313"/>
                        <a:gd name="connsiteX4" fmla="*/ 0 w 1183481"/>
                        <a:gd name="connsiteY4" fmla="*/ 1166813 h 1738313"/>
                        <a:gd name="connsiteX5" fmla="*/ 0 w 1183481"/>
                        <a:gd name="connsiteY5" fmla="*/ 1273969 h 1738313"/>
                        <a:gd name="connsiteX6" fmla="*/ 71438 w 1183481"/>
                        <a:gd name="connsiteY6" fmla="*/ 1273969 h 1738313"/>
                        <a:gd name="connsiteX7" fmla="*/ 107156 w 1183481"/>
                        <a:gd name="connsiteY7" fmla="*/ 1290638 h 1738313"/>
                        <a:gd name="connsiteX8" fmla="*/ 126206 w 1183481"/>
                        <a:gd name="connsiteY8" fmla="*/ 1388269 h 1738313"/>
                        <a:gd name="connsiteX9" fmla="*/ 164306 w 1183481"/>
                        <a:gd name="connsiteY9" fmla="*/ 1562100 h 1738313"/>
                        <a:gd name="connsiteX10" fmla="*/ 304800 w 1183481"/>
                        <a:gd name="connsiteY10" fmla="*/ 1569244 h 1738313"/>
                        <a:gd name="connsiteX11" fmla="*/ 426244 w 1183481"/>
                        <a:gd name="connsiteY11" fmla="*/ 1535907 h 1738313"/>
                        <a:gd name="connsiteX12" fmla="*/ 509588 w 1183481"/>
                        <a:gd name="connsiteY12" fmla="*/ 1602582 h 1738313"/>
                        <a:gd name="connsiteX13" fmla="*/ 502444 w 1183481"/>
                        <a:gd name="connsiteY13" fmla="*/ 1638300 h 1738313"/>
                        <a:gd name="connsiteX14" fmla="*/ 483394 w 1183481"/>
                        <a:gd name="connsiteY14" fmla="*/ 1662113 h 1738313"/>
                        <a:gd name="connsiteX15" fmla="*/ 573881 w 1183481"/>
                        <a:gd name="connsiteY15" fmla="*/ 1738313 h 1738313"/>
                        <a:gd name="connsiteX16" fmla="*/ 623888 w 1183481"/>
                        <a:gd name="connsiteY16" fmla="*/ 1738313 h 1738313"/>
                        <a:gd name="connsiteX17" fmla="*/ 626269 w 1183481"/>
                        <a:gd name="connsiteY17" fmla="*/ 1643063 h 1738313"/>
                        <a:gd name="connsiteX18" fmla="*/ 702469 w 1183481"/>
                        <a:gd name="connsiteY18" fmla="*/ 1545432 h 1738313"/>
                        <a:gd name="connsiteX19" fmla="*/ 838200 w 1183481"/>
                        <a:gd name="connsiteY19" fmla="*/ 1431132 h 1738313"/>
                        <a:gd name="connsiteX20" fmla="*/ 878681 w 1183481"/>
                        <a:gd name="connsiteY20" fmla="*/ 1381125 h 1738313"/>
                        <a:gd name="connsiteX21" fmla="*/ 957263 w 1183481"/>
                        <a:gd name="connsiteY21" fmla="*/ 1378744 h 1738313"/>
                        <a:gd name="connsiteX22" fmla="*/ 1047750 w 1183481"/>
                        <a:gd name="connsiteY22" fmla="*/ 1257300 h 1738313"/>
                        <a:gd name="connsiteX23" fmla="*/ 1064419 w 1183481"/>
                        <a:gd name="connsiteY23" fmla="*/ 1243013 h 1738313"/>
                        <a:gd name="connsiteX24" fmla="*/ 1121569 w 1183481"/>
                        <a:gd name="connsiteY24" fmla="*/ 1271588 h 1738313"/>
                        <a:gd name="connsiteX25" fmla="*/ 1133475 w 1183481"/>
                        <a:gd name="connsiteY25" fmla="*/ 1212057 h 1738313"/>
                        <a:gd name="connsiteX26" fmla="*/ 1176338 w 1183481"/>
                        <a:gd name="connsiteY26" fmla="*/ 1212057 h 1738313"/>
                        <a:gd name="connsiteX27" fmla="*/ 1183481 w 1183481"/>
                        <a:gd name="connsiteY27" fmla="*/ 1176338 h 1738313"/>
                        <a:gd name="connsiteX28" fmla="*/ 1069181 w 1183481"/>
                        <a:gd name="connsiteY28" fmla="*/ 1112044 h 1738313"/>
                        <a:gd name="connsiteX29" fmla="*/ 997744 w 1183481"/>
                        <a:gd name="connsiteY29" fmla="*/ 1028700 h 1738313"/>
                        <a:gd name="connsiteX30" fmla="*/ 997744 w 1183481"/>
                        <a:gd name="connsiteY30" fmla="*/ 971550 h 1738313"/>
                        <a:gd name="connsiteX31" fmla="*/ 921544 w 1183481"/>
                        <a:gd name="connsiteY31" fmla="*/ 862013 h 1738313"/>
                        <a:gd name="connsiteX32" fmla="*/ 873919 w 1183481"/>
                        <a:gd name="connsiteY32" fmla="*/ 862013 h 1738313"/>
                        <a:gd name="connsiteX33" fmla="*/ 838200 w 1183481"/>
                        <a:gd name="connsiteY33" fmla="*/ 816769 h 1738313"/>
                        <a:gd name="connsiteX34" fmla="*/ 823913 w 1183481"/>
                        <a:gd name="connsiteY34" fmla="*/ 742950 h 1738313"/>
                        <a:gd name="connsiteX35" fmla="*/ 850106 w 1183481"/>
                        <a:gd name="connsiteY35" fmla="*/ 664369 h 1738313"/>
                        <a:gd name="connsiteX36" fmla="*/ 885825 w 1183481"/>
                        <a:gd name="connsiteY36" fmla="*/ 600075 h 1738313"/>
                        <a:gd name="connsiteX37" fmla="*/ 881063 w 1183481"/>
                        <a:gd name="connsiteY37" fmla="*/ 466725 h 1738313"/>
                        <a:gd name="connsiteX38" fmla="*/ 888206 w 1183481"/>
                        <a:gd name="connsiteY38" fmla="*/ 381000 h 1738313"/>
                        <a:gd name="connsiteX39" fmla="*/ 778669 w 1183481"/>
                        <a:gd name="connsiteY39" fmla="*/ 154782 h 1738313"/>
                        <a:gd name="connsiteX40" fmla="*/ 723900 w 1183481"/>
                        <a:gd name="connsiteY40" fmla="*/ 0 h 1738313"/>
                        <a:gd name="connsiteX41" fmla="*/ 307182 w 1183481"/>
                        <a:gd name="connsiteY41" fmla="*/ 4763 h 1738313"/>
                        <a:gd name="connsiteX42" fmla="*/ 273844 w 1183481"/>
                        <a:gd name="connsiteY42" fmla="*/ 195263 h 1738313"/>
                        <a:gd name="connsiteX43" fmla="*/ 347663 w 1183481"/>
                        <a:gd name="connsiteY43" fmla="*/ 288132 h 1738313"/>
                        <a:gd name="connsiteX44" fmla="*/ 345281 w 1183481"/>
                        <a:gd name="connsiteY44" fmla="*/ 519113 h 1738313"/>
                        <a:gd name="connsiteX45" fmla="*/ 454819 w 1183481"/>
                        <a:gd name="connsiteY45" fmla="*/ 604838 h 1738313"/>
                        <a:gd name="connsiteX46" fmla="*/ 447675 w 1183481"/>
                        <a:gd name="connsiteY46" fmla="*/ 688182 h 1738313"/>
                        <a:gd name="connsiteX47" fmla="*/ 457200 w 1183481"/>
                        <a:gd name="connsiteY47" fmla="*/ 735807 h 1738313"/>
                        <a:gd name="connsiteX48" fmla="*/ 361950 w 1183481"/>
                        <a:gd name="connsiteY48" fmla="*/ 816769 h 1738313"/>
                        <a:gd name="connsiteX49" fmla="*/ 409575 w 1183481"/>
                        <a:gd name="connsiteY49" fmla="*/ 888207 h 173831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</a:cxnLst>
                      <a:rect l="l" t="t" r="r" b="b"/>
                      <a:pathLst>
                        <a:path w="1183481" h="1738313">
                          <a:moveTo>
                            <a:pt x="409575" y="888207"/>
                          </a:moveTo>
                          <a:lnTo>
                            <a:pt x="309563" y="962025"/>
                          </a:lnTo>
                          <a:lnTo>
                            <a:pt x="273844" y="992982"/>
                          </a:lnTo>
                          <a:lnTo>
                            <a:pt x="197644" y="1021557"/>
                          </a:lnTo>
                          <a:lnTo>
                            <a:pt x="0" y="1166813"/>
                          </a:lnTo>
                          <a:lnTo>
                            <a:pt x="0" y="1273969"/>
                          </a:lnTo>
                          <a:lnTo>
                            <a:pt x="71438" y="1273969"/>
                          </a:lnTo>
                          <a:lnTo>
                            <a:pt x="107156" y="1290638"/>
                          </a:lnTo>
                          <a:lnTo>
                            <a:pt x="126206" y="1388269"/>
                          </a:lnTo>
                          <a:lnTo>
                            <a:pt x="164306" y="1562100"/>
                          </a:lnTo>
                          <a:lnTo>
                            <a:pt x="304800" y="1569244"/>
                          </a:lnTo>
                          <a:lnTo>
                            <a:pt x="426244" y="1535907"/>
                          </a:lnTo>
                          <a:lnTo>
                            <a:pt x="509588" y="1602582"/>
                          </a:lnTo>
                          <a:lnTo>
                            <a:pt x="502444" y="1638300"/>
                          </a:lnTo>
                          <a:lnTo>
                            <a:pt x="483394" y="1662113"/>
                          </a:lnTo>
                          <a:lnTo>
                            <a:pt x="573881" y="1738313"/>
                          </a:lnTo>
                          <a:lnTo>
                            <a:pt x="623888" y="1738313"/>
                          </a:lnTo>
                          <a:cubicBezTo>
                            <a:pt x="624682" y="1706563"/>
                            <a:pt x="625475" y="1674813"/>
                            <a:pt x="626269" y="1643063"/>
                          </a:cubicBezTo>
                          <a:lnTo>
                            <a:pt x="702469" y="1545432"/>
                          </a:lnTo>
                          <a:lnTo>
                            <a:pt x="838200" y="1431132"/>
                          </a:lnTo>
                          <a:lnTo>
                            <a:pt x="878681" y="1381125"/>
                          </a:lnTo>
                          <a:lnTo>
                            <a:pt x="957263" y="1378744"/>
                          </a:lnTo>
                          <a:lnTo>
                            <a:pt x="1047750" y="1257300"/>
                          </a:lnTo>
                          <a:lnTo>
                            <a:pt x="1064419" y="1243013"/>
                          </a:lnTo>
                          <a:lnTo>
                            <a:pt x="1121569" y="1271588"/>
                          </a:lnTo>
                          <a:lnTo>
                            <a:pt x="1133475" y="1212057"/>
                          </a:lnTo>
                          <a:lnTo>
                            <a:pt x="1176338" y="1212057"/>
                          </a:lnTo>
                          <a:lnTo>
                            <a:pt x="1183481" y="1176338"/>
                          </a:lnTo>
                          <a:lnTo>
                            <a:pt x="1069181" y="1112044"/>
                          </a:lnTo>
                          <a:lnTo>
                            <a:pt x="997744" y="1028700"/>
                          </a:lnTo>
                          <a:lnTo>
                            <a:pt x="997744" y="971550"/>
                          </a:lnTo>
                          <a:lnTo>
                            <a:pt x="921544" y="862013"/>
                          </a:lnTo>
                          <a:lnTo>
                            <a:pt x="873919" y="862013"/>
                          </a:lnTo>
                          <a:lnTo>
                            <a:pt x="838200" y="816769"/>
                          </a:lnTo>
                          <a:lnTo>
                            <a:pt x="823913" y="742950"/>
                          </a:lnTo>
                          <a:lnTo>
                            <a:pt x="850106" y="664369"/>
                          </a:lnTo>
                          <a:lnTo>
                            <a:pt x="885825" y="600075"/>
                          </a:lnTo>
                          <a:lnTo>
                            <a:pt x="881063" y="466725"/>
                          </a:lnTo>
                          <a:lnTo>
                            <a:pt x="888206" y="381000"/>
                          </a:lnTo>
                          <a:lnTo>
                            <a:pt x="778669" y="154782"/>
                          </a:lnTo>
                          <a:lnTo>
                            <a:pt x="723900" y="0"/>
                          </a:lnTo>
                          <a:lnTo>
                            <a:pt x="307182" y="4763"/>
                          </a:lnTo>
                          <a:lnTo>
                            <a:pt x="273844" y="195263"/>
                          </a:lnTo>
                          <a:lnTo>
                            <a:pt x="347663" y="288132"/>
                          </a:lnTo>
                          <a:lnTo>
                            <a:pt x="345281" y="519113"/>
                          </a:lnTo>
                          <a:lnTo>
                            <a:pt x="454819" y="604838"/>
                          </a:lnTo>
                          <a:lnTo>
                            <a:pt x="447675" y="688182"/>
                          </a:lnTo>
                          <a:lnTo>
                            <a:pt x="457200" y="735807"/>
                          </a:lnTo>
                          <a:lnTo>
                            <a:pt x="361950" y="816769"/>
                          </a:lnTo>
                          <a:lnTo>
                            <a:pt x="409575" y="888207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19" name="Freeform 15"/>
                    <p:cNvSpPr/>
                    <p:nvPr/>
                  </p:nvSpPr>
                  <p:spPr>
                    <a:xfrm>
                      <a:off x="5657283" y="1561930"/>
                      <a:ext cx="1524568" cy="1214983"/>
                    </a:xfrm>
                    <a:custGeom>
                      <a:avLst/>
                      <a:gdLst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73969 w 2169319"/>
                        <a:gd name="connsiteY106" fmla="*/ 1783557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02582 h 1862138"/>
                        <a:gd name="connsiteX110" fmla="*/ 1097757 w 2169319"/>
                        <a:gd name="connsiteY110" fmla="*/ 1554957 h 1862138"/>
                        <a:gd name="connsiteX111" fmla="*/ 1057275 w 2169319"/>
                        <a:gd name="connsiteY111" fmla="*/ 1569244 h 1862138"/>
                        <a:gd name="connsiteX112" fmla="*/ 1057275 w 2169319"/>
                        <a:gd name="connsiteY112" fmla="*/ 1569244 h 1862138"/>
                        <a:gd name="connsiteX113" fmla="*/ 1028700 w 2169319"/>
                        <a:gd name="connsiteY113" fmla="*/ 1583532 h 1862138"/>
                        <a:gd name="connsiteX114" fmla="*/ 873919 w 2169319"/>
                        <a:gd name="connsiteY114" fmla="*/ 1581150 h 1862138"/>
                        <a:gd name="connsiteX115" fmla="*/ 845344 w 2169319"/>
                        <a:gd name="connsiteY115" fmla="*/ 1571625 h 1862138"/>
                        <a:gd name="connsiteX116" fmla="*/ 788194 w 2169319"/>
                        <a:gd name="connsiteY116" fmla="*/ 1512094 h 1862138"/>
                        <a:gd name="connsiteX117" fmla="*/ 752475 w 2169319"/>
                        <a:gd name="connsiteY117" fmla="*/ 1516857 h 1862138"/>
                        <a:gd name="connsiteX118" fmla="*/ 685800 w 2169319"/>
                        <a:gd name="connsiteY118" fmla="*/ 1571625 h 1862138"/>
                        <a:gd name="connsiteX119" fmla="*/ 638175 w 2169319"/>
                        <a:gd name="connsiteY119" fmla="*/ 1578769 h 1862138"/>
                        <a:gd name="connsiteX120" fmla="*/ 590550 w 2169319"/>
                        <a:gd name="connsiteY120" fmla="*/ 1566863 h 1862138"/>
                        <a:gd name="connsiteX121" fmla="*/ 552450 w 2169319"/>
                        <a:gd name="connsiteY121" fmla="*/ 1514475 h 1862138"/>
                        <a:gd name="connsiteX122" fmla="*/ 483394 w 2169319"/>
                        <a:gd name="connsiteY122" fmla="*/ 1552575 h 1862138"/>
                        <a:gd name="connsiteX123" fmla="*/ 388144 w 2169319"/>
                        <a:gd name="connsiteY123" fmla="*/ 1500188 h 1862138"/>
                        <a:gd name="connsiteX124" fmla="*/ 280988 w 2169319"/>
                        <a:gd name="connsiteY124" fmla="*/ 1516857 h 1862138"/>
                        <a:gd name="connsiteX125" fmla="*/ 207169 w 2169319"/>
                        <a:gd name="connsiteY125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73969 w 2169319"/>
                        <a:gd name="connsiteY106" fmla="*/ 1783557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4907 w 2169319"/>
                        <a:gd name="connsiteY109" fmla="*/ 1640682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8194 w 2169319"/>
                        <a:gd name="connsiteY117" fmla="*/ 1512094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388144 w 2169319"/>
                        <a:gd name="connsiteY124" fmla="*/ 1500188 h 1862138"/>
                        <a:gd name="connsiteX125" fmla="*/ 280988 w 2169319"/>
                        <a:gd name="connsiteY125" fmla="*/ 1516857 h 1862138"/>
                        <a:gd name="connsiteX126" fmla="*/ 207169 w 2169319"/>
                        <a:gd name="connsiteY126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73969 w 2169319"/>
                        <a:gd name="connsiteY106" fmla="*/ 1783557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8194 w 2169319"/>
                        <a:gd name="connsiteY117" fmla="*/ 1512094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388144 w 2169319"/>
                        <a:gd name="connsiteY124" fmla="*/ 1500188 h 1862138"/>
                        <a:gd name="connsiteX125" fmla="*/ 280988 w 2169319"/>
                        <a:gd name="connsiteY125" fmla="*/ 1516857 h 1862138"/>
                        <a:gd name="connsiteX126" fmla="*/ 207169 w 2169319"/>
                        <a:gd name="connsiteY126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8194 w 2169319"/>
                        <a:gd name="connsiteY117" fmla="*/ 1512094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388144 w 2169319"/>
                        <a:gd name="connsiteY124" fmla="*/ 1500188 h 1862138"/>
                        <a:gd name="connsiteX125" fmla="*/ 280988 w 2169319"/>
                        <a:gd name="connsiteY125" fmla="*/ 1516857 h 1862138"/>
                        <a:gd name="connsiteX126" fmla="*/ 207169 w 2169319"/>
                        <a:gd name="connsiteY126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5813 w 2169319"/>
                        <a:gd name="connsiteY117" fmla="*/ 1519238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388144 w 2169319"/>
                        <a:gd name="connsiteY124" fmla="*/ 1500188 h 1862138"/>
                        <a:gd name="connsiteX125" fmla="*/ 280988 w 2169319"/>
                        <a:gd name="connsiteY125" fmla="*/ 1516857 h 1862138"/>
                        <a:gd name="connsiteX126" fmla="*/ 207169 w 2169319"/>
                        <a:gd name="connsiteY126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5813 w 2169319"/>
                        <a:gd name="connsiteY117" fmla="*/ 1519238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419100 w 2169319"/>
                        <a:gd name="connsiteY124" fmla="*/ 1519238 h 1862138"/>
                        <a:gd name="connsiteX125" fmla="*/ 388144 w 2169319"/>
                        <a:gd name="connsiteY125" fmla="*/ 1500188 h 1862138"/>
                        <a:gd name="connsiteX126" fmla="*/ 280988 w 2169319"/>
                        <a:gd name="connsiteY126" fmla="*/ 1516857 h 1862138"/>
                        <a:gd name="connsiteX127" fmla="*/ 207169 w 2169319"/>
                        <a:gd name="connsiteY127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5813 w 2169319"/>
                        <a:gd name="connsiteY117" fmla="*/ 1519238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404813 w 2169319"/>
                        <a:gd name="connsiteY124" fmla="*/ 1521619 h 1862138"/>
                        <a:gd name="connsiteX125" fmla="*/ 388144 w 2169319"/>
                        <a:gd name="connsiteY125" fmla="*/ 1500188 h 1862138"/>
                        <a:gd name="connsiteX126" fmla="*/ 280988 w 2169319"/>
                        <a:gd name="connsiteY126" fmla="*/ 1516857 h 1862138"/>
                        <a:gd name="connsiteX127" fmla="*/ 207169 w 2169319"/>
                        <a:gd name="connsiteY127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5813 w 2169319"/>
                        <a:gd name="connsiteY117" fmla="*/ 1519238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404813 w 2169319"/>
                        <a:gd name="connsiteY124" fmla="*/ 1521619 h 1862138"/>
                        <a:gd name="connsiteX125" fmla="*/ 388144 w 2169319"/>
                        <a:gd name="connsiteY125" fmla="*/ 1500188 h 1862138"/>
                        <a:gd name="connsiteX126" fmla="*/ 273845 w 2169319"/>
                        <a:gd name="connsiteY126" fmla="*/ 1524000 h 1862138"/>
                        <a:gd name="connsiteX127" fmla="*/ 207169 w 2169319"/>
                        <a:gd name="connsiteY127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1919 w 2169319"/>
                        <a:gd name="connsiteY8" fmla="*/ 1288257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5813 w 2169319"/>
                        <a:gd name="connsiteY117" fmla="*/ 1519238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404813 w 2169319"/>
                        <a:gd name="connsiteY124" fmla="*/ 1521619 h 1862138"/>
                        <a:gd name="connsiteX125" fmla="*/ 388144 w 2169319"/>
                        <a:gd name="connsiteY125" fmla="*/ 1500188 h 1862138"/>
                        <a:gd name="connsiteX126" fmla="*/ 273845 w 2169319"/>
                        <a:gd name="connsiteY126" fmla="*/ 1524000 h 1862138"/>
                        <a:gd name="connsiteX127" fmla="*/ 207169 w 2169319"/>
                        <a:gd name="connsiteY127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1919 w 2169319"/>
                        <a:gd name="connsiteY8" fmla="*/ 1288257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61913 w 2169319"/>
                        <a:gd name="connsiteY15" fmla="*/ 1028700 h 1862138"/>
                        <a:gd name="connsiteX16" fmla="*/ 47625 w 2169319"/>
                        <a:gd name="connsiteY16" fmla="*/ 1014413 h 1862138"/>
                        <a:gd name="connsiteX17" fmla="*/ 19050 w 2169319"/>
                        <a:gd name="connsiteY17" fmla="*/ 962025 h 1862138"/>
                        <a:gd name="connsiteX18" fmla="*/ 21432 w 2169319"/>
                        <a:gd name="connsiteY18" fmla="*/ 914400 h 1862138"/>
                        <a:gd name="connsiteX19" fmla="*/ 40482 w 2169319"/>
                        <a:gd name="connsiteY19" fmla="*/ 900113 h 1862138"/>
                        <a:gd name="connsiteX20" fmla="*/ 61913 w 2169319"/>
                        <a:gd name="connsiteY20" fmla="*/ 864394 h 1862138"/>
                        <a:gd name="connsiteX21" fmla="*/ 16669 w 2169319"/>
                        <a:gd name="connsiteY21" fmla="*/ 809625 h 1862138"/>
                        <a:gd name="connsiteX22" fmla="*/ 0 w 2169319"/>
                        <a:gd name="connsiteY22" fmla="*/ 757238 h 1862138"/>
                        <a:gd name="connsiteX23" fmla="*/ 0 w 2169319"/>
                        <a:gd name="connsiteY23" fmla="*/ 683419 h 1862138"/>
                        <a:gd name="connsiteX24" fmla="*/ 28575 w 2169319"/>
                        <a:gd name="connsiteY24" fmla="*/ 640557 h 1862138"/>
                        <a:gd name="connsiteX25" fmla="*/ 76200 w 2169319"/>
                        <a:gd name="connsiteY25" fmla="*/ 600075 h 1862138"/>
                        <a:gd name="connsiteX26" fmla="*/ 107157 w 2169319"/>
                        <a:gd name="connsiteY26" fmla="*/ 583407 h 1862138"/>
                        <a:gd name="connsiteX27" fmla="*/ 135732 w 2169319"/>
                        <a:gd name="connsiteY27" fmla="*/ 600075 h 1862138"/>
                        <a:gd name="connsiteX28" fmla="*/ 164307 w 2169319"/>
                        <a:gd name="connsiteY28" fmla="*/ 602457 h 1862138"/>
                        <a:gd name="connsiteX29" fmla="*/ 180975 w 2169319"/>
                        <a:gd name="connsiteY29" fmla="*/ 600075 h 1862138"/>
                        <a:gd name="connsiteX30" fmla="*/ 226219 w 2169319"/>
                        <a:gd name="connsiteY30" fmla="*/ 590550 h 1862138"/>
                        <a:gd name="connsiteX31" fmla="*/ 252413 w 2169319"/>
                        <a:gd name="connsiteY31" fmla="*/ 559594 h 1862138"/>
                        <a:gd name="connsiteX32" fmla="*/ 280988 w 2169319"/>
                        <a:gd name="connsiteY32" fmla="*/ 514350 h 1862138"/>
                        <a:gd name="connsiteX33" fmla="*/ 290513 w 2169319"/>
                        <a:gd name="connsiteY33" fmla="*/ 483394 h 1862138"/>
                        <a:gd name="connsiteX34" fmla="*/ 273844 w 2169319"/>
                        <a:gd name="connsiteY34" fmla="*/ 447675 h 1862138"/>
                        <a:gd name="connsiteX35" fmla="*/ 276225 w 2169319"/>
                        <a:gd name="connsiteY35" fmla="*/ 407194 h 1862138"/>
                        <a:gd name="connsiteX36" fmla="*/ 226219 w 2169319"/>
                        <a:gd name="connsiteY36" fmla="*/ 350044 h 1862138"/>
                        <a:gd name="connsiteX37" fmla="*/ 157163 w 2169319"/>
                        <a:gd name="connsiteY37" fmla="*/ 280988 h 1862138"/>
                        <a:gd name="connsiteX38" fmla="*/ 152400 w 2169319"/>
                        <a:gd name="connsiteY38" fmla="*/ 233363 h 1862138"/>
                        <a:gd name="connsiteX39" fmla="*/ 192882 w 2169319"/>
                        <a:gd name="connsiteY39" fmla="*/ 195263 h 1862138"/>
                        <a:gd name="connsiteX40" fmla="*/ 242888 w 2169319"/>
                        <a:gd name="connsiteY40" fmla="*/ 123825 h 1862138"/>
                        <a:gd name="connsiteX41" fmla="*/ 290513 w 2169319"/>
                        <a:gd name="connsiteY41" fmla="*/ 83344 h 1862138"/>
                        <a:gd name="connsiteX42" fmla="*/ 319088 w 2169319"/>
                        <a:gd name="connsiteY42" fmla="*/ 0 h 1862138"/>
                        <a:gd name="connsiteX43" fmla="*/ 540544 w 2169319"/>
                        <a:gd name="connsiteY43" fmla="*/ 304800 h 1862138"/>
                        <a:gd name="connsiteX44" fmla="*/ 552450 w 2169319"/>
                        <a:gd name="connsiteY44" fmla="*/ 316707 h 1862138"/>
                        <a:gd name="connsiteX45" fmla="*/ 597694 w 2169319"/>
                        <a:gd name="connsiteY45" fmla="*/ 257175 h 1862138"/>
                        <a:gd name="connsiteX46" fmla="*/ 626269 w 2169319"/>
                        <a:gd name="connsiteY46" fmla="*/ 238125 h 1862138"/>
                        <a:gd name="connsiteX47" fmla="*/ 621507 w 2169319"/>
                        <a:gd name="connsiteY47" fmla="*/ 169069 h 1862138"/>
                        <a:gd name="connsiteX48" fmla="*/ 633413 w 2169319"/>
                        <a:gd name="connsiteY48" fmla="*/ 140494 h 1862138"/>
                        <a:gd name="connsiteX49" fmla="*/ 719138 w 2169319"/>
                        <a:gd name="connsiteY49" fmla="*/ 140494 h 1862138"/>
                        <a:gd name="connsiteX50" fmla="*/ 752475 w 2169319"/>
                        <a:gd name="connsiteY50" fmla="*/ 147638 h 1862138"/>
                        <a:gd name="connsiteX51" fmla="*/ 764382 w 2169319"/>
                        <a:gd name="connsiteY51" fmla="*/ 197644 h 1862138"/>
                        <a:gd name="connsiteX52" fmla="*/ 809625 w 2169319"/>
                        <a:gd name="connsiteY52" fmla="*/ 214313 h 1862138"/>
                        <a:gd name="connsiteX53" fmla="*/ 847725 w 2169319"/>
                        <a:gd name="connsiteY53" fmla="*/ 264319 h 1862138"/>
                        <a:gd name="connsiteX54" fmla="*/ 890588 w 2169319"/>
                        <a:gd name="connsiteY54" fmla="*/ 280988 h 1862138"/>
                        <a:gd name="connsiteX55" fmla="*/ 950119 w 2169319"/>
                        <a:gd name="connsiteY55" fmla="*/ 235744 h 1862138"/>
                        <a:gd name="connsiteX56" fmla="*/ 1028700 w 2169319"/>
                        <a:gd name="connsiteY56" fmla="*/ 238125 h 1862138"/>
                        <a:gd name="connsiteX57" fmla="*/ 1095375 w 2169319"/>
                        <a:gd name="connsiteY57" fmla="*/ 157163 h 1862138"/>
                        <a:gd name="connsiteX58" fmla="*/ 1147763 w 2169319"/>
                        <a:gd name="connsiteY58" fmla="*/ 161925 h 1862138"/>
                        <a:gd name="connsiteX59" fmla="*/ 1166813 w 2169319"/>
                        <a:gd name="connsiteY59" fmla="*/ 145257 h 1862138"/>
                        <a:gd name="connsiteX60" fmla="*/ 1188244 w 2169319"/>
                        <a:gd name="connsiteY60" fmla="*/ 123825 h 1862138"/>
                        <a:gd name="connsiteX61" fmla="*/ 1259682 w 2169319"/>
                        <a:gd name="connsiteY61" fmla="*/ 123825 h 1862138"/>
                        <a:gd name="connsiteX62" fmla="*/ 1359694 w 2169319"/>
                        <a:gd name="connsiteY62" fmla="*/ 154782 h 1862138"/>
                        <a:gd name="connsiteX63" fmla="*/ 1423988 w 2169319"/>
                        <a:gd name="connsiteY63" fmla="*/ 250032 h 1862138"/>
                        <a:gd name="connsiteX64" fmla="*/ 1440657 w 2169319"/>
                        <a:gd name="connsiteY64" fmla="*/ 264319 h 1862138"/>
                        <a:gd name="connsiteX65" fmla="*/ 1454944 w 2169319"/>
                        <a:gd name="connsiteY65" fmla="*/ 304800 h 1862138"/>
                        <a:gd name="connsiteX66" fmla="*/ 1583532 w 2169319"/>
                        <a:gd name="connsiteY66" fmla="*/ 321469 h 1862138"/>
                        <a:gd name="connsiteX67" fmla="*/ 1654969 w 2169319"/>
                        <a:gd name="connsiteY67" fmla="*/ 423863 h 1862138"/>
                        <a:gd name="connsiteX68" fmla="*/ 1728788 w 2169319"/>
                        <a:gd name="connsiteY68" fmla="*/ 454819 h 1862138"/>
                        <a:gd name="connsiteX69" fmla="*/ 1864519 w 2169319"/>
                        <a:gd name="connsiteY69" fmla="*/ 466725 h 1862138"/>
                        <a:gd name="connsiteX70" fmla="*/ 1909763 w 2169319"/>
                        <a:gd name="connsiteY70" fmla="*/ 450057 h 1862138"/>
                        <a:gd name="connsiteX71" fmla="*/ 1995488 w 2169319"/>
                        <a:gd name="connsiteY71" fmla="*/ 364332 h 1862138"/>
                        <a:gd name="connsiteX72" fmla="*/ 2021682 w 2169319"/>
                        <a:gd name="connsiteY72" fmla="*/ 400050 h 1862138"/>
                        <a:gd name="connsiteX73" fmla="*/ 2069307 w 2169319"/>
                        <a:gd name="connsiteY73" fmla="*/ 435769 h 1862138"/>
                        <a:gd name="connsiteX74" fmla="*/ 2093119 w 2169319"/>
                        <a:gd name="connsiteY74" fmla="*/ 466725 h 1862138"/>
                        <a:gd name="connsiteX75" fmla="*/ 2105025 w 2169319"/>
                        <a:gd name="connsiteY75" fmla="*/ 488157 h 1862138"/>
                        <a:gd name="connsiteX76" fmla="*/ 2169319 w 2169319"/>
                        <a:gd name="connsiteY76" fmla="*/ 483394 h 1862138"/>
                        <a:gd name="connsiteX77" fmla="*/ 2169319 w 2169319"/>
                        <a:gd name="connsiteY77" fmla="*/ 521494 h 1862138"/>
                        <a:gd name="connsiteX78" fmla="*/ 2119313 w 2169319"/>
                        <a:gd name="connsiteY78" fmla="*/ 521494 h 1862138"/>
                        <a:gd name="connsiteX79" fmla="*/ 2045494 w 2169319"/>
                        <a:gd name="connsiteY79" fmla="*/ 578644 h 1862138"/>
                        <a:gd name="connsiteX80" fmla="*/ 2090738 w 2169319"/>
                        <a:gd name="connsiteY80" fmla="*/ 633413 h 1862138"/>
                        <a:gd name="connsiteX81" fmla="*/ 2097882 w 2169319"/>
                        <a:gd name="connsiteY81" fmla="*/ 690563 h 1862138"/>
                        <a:gd name="connsiteX82" fmla="*/ 2093119 w 2169319"/>
                        <a:gd name="connsiteY82" fmla="*/ 716757 h 1862138"/>
                        <a:gd name="connsiteX83" fmla="*/ 1905000 w 2169319"/>
                        <a:gd name="connsiteY83" fmla="*/ 831057 h 1862138"/>
                        <a:gd name="connsiteX84" fmla="*/ 1888332 w 2169319"/>
                        <a:gd name="connsiteY84" fmla="*/ 888207 h 1862138"/>
                        <a:gd name="connsiteX85" fmla="*/ 1895475 w 2169319"/>
                        <a:gd name="connsiteY85" fmla="*/ 1012032 h 1862138"/>
                        <a:gd name="connsiteX86" fmla="*/ 1940719 w 2169319"/>
                        <a:gd name="connsiteY86" fmla="*/ 1100138 h 1862138"/>
                        <a:gd name="connsiteX87" fmla="*/ 1978819 w 2169319"/>
                        <a:gd name="connsiteY87" fmla="*/ 1183482 h 1862138"/>
                        <a:gd name="connsiteX88" fmla="*/ 1966913 w 2169319"/>
                        <a:gd name="connsiteY88" fmla="*/ 1216819 h 1862138"/>
                        <a:gd name="connsiteX89" fmla="*/ 1952625 w 2169319"/>
                        <a:gd name="connsiteY89" fmla="*/ 1273969 h 1862138"/>
                        <a:gd name="connsiteX90" fmla="*/ 1907382 w 2169319"/>
                        <a:gd name="connsiteY90" fmla="*/ 1288257 h 1862138"/>
                        <a:gd name="connsiteX91" fmla="*/ 1885950 w 2169319"/>
                        <a:gd name="connsiteY91" fmla="*/ 1302544 h 1862138"/>
                        <a:gd name="connsiteX92" fmla="*/ 1850232 w 2169319"/>
                        <a:gd name="connsiteY92" fmla="*/ 1350169 h 1862138"/>
                        <a:gd name="connsiteX93" fmla="*/ 1828800 w 2169319"/>
                        <a:gd name="connsiteY93" fmla="*/ 1371600 h 1862138"/>
                        <a:gd name="connsiteX94" fmla="*/ 1783557 w 2169319"/>
                        <a:gd name="connsiteY94" fmla="*/ 1369219 h 1862138"/>
                        <a:gd name="connsiteX95" fmla="*/ 1752600 w 2169319"/>
                        <a:gd name="connsiteY95" fmla="*/ 1321594 h 1862138"/>
                        <a:gd name="connsiteX96" fmla="*/ 1674019 w 2169319"/>
                        <a:gd name="connsiteY96" fmla="*/ 1345407 h 1862138"/>
                        <a:gd name="connsiteX97" fmla="*/ 1626394 w 2169319"/>
                        <a:gd name="connsiteY97" fmla="*/ 1366838 h 1862138"/>
                        <a:gd name="connsiteX98" fmla="*/ 1552575 w 2169319"/>
                        <a:gd name="connsiteY98" fmla="*/ 1376363 h 1862138"/>
                        <a:gd name="connsiteX99" fmla="*/ 1507332 w 2169319"/>
                        <a:gd name="connsiteY99" fmla="*/ 1357313 h 1862138"/>
                        <a:gd name="connsiteX100" fmla="*/ 1447800 w 2169319"/>
                        <a:gd name="connsiteY100" fmla="*/ 1321594 h 1862138"/>
                        <a:gd name="connsiteX101" fmla="*/ 1407319 w 2169319"/>
                        <a:gd name="connsiteY101" fmla="*/ 1331119 h 1862138"/>
                        <a:gd name="connsiteX102" fmla="*/ 1390650 w 2169319"/>
                        <a:gd name="connsiteY102" fmla="*/ 1516857 h 1862138"/>
                        <a:gd name="connsiteX103" fmla="*/ 1359694 w 2169319"/>
                        <a:gd name="connsiteY103" fmla="*/ 1859757 h 1862138"/>
                        <a:gd name="connsiteX104" fmla="*/ 1357313 w 2169319"/>
                        <a:gd name="connsiteY104" fmla="*/ 1862138 h 1862138"/>
                        <a:gd name="connsiteX105" fmla="*/ 1312069 w 2169319"/>
                        <a:gd name="connsiteY105" fmla="*/ 1852613 h 1862138"/>
                        <a:gd name="connsiteX106" fmla="*/ 1285875 w 2169319"/>
                        <a:gd name="connsiteY106" fmla="*/ 1802607 h 1862138"/>
                        <a:gd name="connsiteX107" fmla="*/ 1262063 w 2169319"/>
                        <a:gd name="connsiteY107" fmla="*/ 1785938 h 1862138"/>
                        <a:gd name="connsiteX108" fmla="*/ 1204913 w 2169319"/>
                        <a:gd name="connsiteY108" fmla="*/ 1738313 h 1862138"/>
                        <a:gd name="connsiteX109" fmla="*/ 1166813 w 2169319"/>
                        <a:gd name="connsiteY109" fmla="*/ 1681163 h 1862138"/>
                        <a:gd name="connsiteX110" fmla="*/ 1150144 w 2169319"/>
                        <a:gd name="connsiteY110" fmla="*/ 1643064 h 1862138"/>
                        <a:gd name="connsiteX111" fmla="*/ 1150144 w 2169319"/>
                        <a:gd name="connsiteY111" fmla="*/ 1602582 h 1862138"/>
                        <a:gd name="connsiteX112" fmla="*/ 1097757 w 2169319"/>
                        <a:gd name="connsiteY112" fmla="*/ 1554957 h 1862138"/>
                        <a:gd name="connsiteX113" fmla="*/ 1057275 w 2169319"/>
                        <a:gd name="connsiteY113" fmla="*/ 1569244 h 1862138"/>
                        <a:gd name="connsiteX114" fmla="*/ 1057275 w 2169319"/>
                        <a:gd name="connsiteY114" fmla="*/ 1569244 h 1862138"/>
                        <a:gd name="connsiteX115" fmla="*/ 1028700 w 2169319"/>
                        <a:gd name="connsiteY115" fmla="*/ 1583532 h 1862138"/>
                        <a:gd name="connsiteX116" fmla="*/ 873919 w 2169319"/>
                        <a:gd name="connsiteY116" fmla="*/ 1581150 h 1862138"/>
                        <a:gd name="connsiteX117" fmla="*/ 845344 w 2169319"/>
                        <a:gd name="connsiteY117" fmla="*/ 1571625 h 1862138"/>
                        <a:gd name="connsiteX118" fmla="*/ 785813 w 2169319"/>
                        <a:gd name="connsiteY118" fmla="*/ 1519238 h 1862138"/>
                        <a:gd name="connsiteX119" fmla="*/ 752475 w 2169319"/>
                        <a:gd name="connsiteY119" fmla="*/ 1516857 h 1862138"/>
                        <a:gd name="connsiteX120" fmla="*/ 685800 w 2169319"/>
                        <a:gd name="connsiteY120" fmla="*/ 1571625 h 1862138"/>
                        <a:gd name="connsiteX121" fmla="*/ 638175 w 2169319"/>
                        <a:gd name="connsiteY121" fmla="*/ 1578769 h 1862138"/>
                        <a:gd name="connsiteX122" fmla="*/ 590550 w 2169319"/>
                        <a:gd name="connsiteY122" fmla="*/ 1566863 h 1862138"/>
                        <a:gd name="connsiteX123" fmla="*/ 552450 w 2169319"/>
                        <a:gd name="connsiteY123" fmla="*/ 1514475 h 1862138"/>
                        <a:gd name="connsiteX124" fmla="*/ 483394 w 2169319"/>
                        <a:gd name="connsiteY124" fmla="*/ 1552575 h 1862138"/>
                        <a:gd name="connsiteX125" fmla="*/ 404813 w 2169319"/>
                        <a:gd name="connsiteY125" fmla="*/ 1521619 h 1862138"/>
                        <a:gd name="connsiteX126" fmla="*/ 388144 w 2169319"/>
                        <a:gd name="connsiteY126" fmla="*/ 1500188 h 1862138"/>
                        <a:gd name="connsiteX127" fmla="*/ 273845 w 2169319"/>
                        <a:gd name="connsiteY127" fmla="*/ 1524000 h 1862138"/>
                        <a:gd name="connsiteX128" fmla="*/ 207169 w 2169319"/>
                        <a:gd name="connsiteY128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1919 w 2169319"/>
                        <a:gd name="connsiteY8" fmla="*/ 1288257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6 w 2169319"/>
                        <a:gd name="connsiteY15" fmla="*/ 1035844 h 1862138"/>
                        <a:gd name="connsiteX16" fmla="*/ 47625 w 2169319"/>
                        <a:gd name="connsiteY16" fmla="*/ 1014413 h 1862138"/>
                        <a:gd name="connsiteX17" fmla="*/ 19050 w 2169319"/>
                        <a:gd name="connsiteY17" fmla="*/ 962025 h 1862138"/>
                        <a:gd name="connsiteX18" fmla="*/ 21432 w 2169319"/>
                        <a:gd name="connsiteY18" fmla="*/ 914400 h 1862138"/>
                        <a:gd name="connsiteX19" fmla="*/ 40482 w 2169319"/>
                        <a:gd name="connsiteY19" fmla="*/ 900113 h 1862138"/>
                        <a:gd name="connsiteX20" fmla="*/ 61913 w 2169319"/>
                        <a:gd name="connsiteY20" fmla="*/ 864394 h 1862138"/>
                        <a:gd name="connsiteX21" fmla="*/ 16669 w 2169319"/>
                        <a:gd name="connsiteY21" fmla="*/ 809625 h 1862138"/>
                        <a:gd name="connsiteX22" fmla="*/ 0 w 2169319"/>
                        <a:gd name="connsiteY22" fmla="*/ 757238 h 1862138"/>
                        <a:gd name="connsiteX23" fmla="*/ 0 w 2169319"/>
                        <a:gd name="connsiteY23" fmla="*/ 683419 h 1862138"/>
                        <a:gd name="connsiteX24" fmla="*/ 28575 w 2169319"/>
                        <a:gd name="connsiteY24" fmla="*/ 640557 h 1862138"/>
                        <a:gd name="connsiteX25" fmla="*/ 76200 w 2169319"/>
                        <a:gd name="connsiteY25" fmla="*/ 600075 h 1862138"/>
                        <a:gd name="connsiteX26" fmla="*/ 107157 w 2169319"/>
                        <a:gd name="connsiteY26" fmla="*/ 583407 h 1862138"/>
                        <a:gd name="connsiteX27" fmla="*/ 135732 w 2169319"/>
                        <a:gd name="connsiteY27" fmla="*/ 600075 h 1862138"/>
                        <a:gd name="connsiteX28" fmla="*/ 164307 w 2169319"/>
                        <a:gd name="connsiteY28" fmla="*/ 602457 h 1862138"/>
                        <a:gd name="connsiteX29" fmla="*/ 180975 w 2169319"/>
                        <a:gd name="connsiteY29" fmla="*/ 600075 h 1862138"/>
                        <a:gd name="connsiteX30" fmla="*/ 226219 w 2169319"/>
                        <a:gd name="connsiteY30" fmla="*/ 590550 h 1862138"/>
                        <a:gd name="connsiteX31" fmla="*/ 252413 w 2169319"/>
                        <a:gd name="connsiteY31" fmla="*/ 559594 h 1862138"/>
                        <a:gd name="connsiteX32" fmla="*/ 280988 w 2169319"/>
                        <a:gd name="connsiteY32" fmla="*/ 514350 h 1862138"/>
                        <a:gd name="connsiteX33" fmla="*/ 290513 w 2169319"/>
                        <a:gd name="connsiteY33" fmla="*/ 483394 h 1862138"/>
                        <a:gd name="connsiteX34" fmla="*/ 273844 w 2169319"/>
                        <a:gd name="connsiteY34" fmla="*/ 447675 h 1862138"/>
                        <a:gd name="connsiteX35" fmla="*/ 276225 w 2169319"/>
                        <a:gd name="connsiteY35" fmla="*/ 407194 h 1862138"/>
                        <a:gd name="connsiteX36" fmla="*/ 226219 w 2169319"/>
                        <a:gd name="connsiteY36" fmla="*/ 350044 h 1862138"/>
                        <a:gd name="connsiteX37" fmla="*/ 157163 w 2169319"/>
                        <a:gd name="connsiteY37" fmla="*/ 280988 h 1862138"/>
                        <a:gd name="connsiteX38" fmla="*/ 152400 w 2169319"/>
                        <a:gd name="connsiteY38" fmla="*/ 233363 h 1862138"/>
                        <a:gd name="connsiteX39" fmla="*/ 192882 w 2169319"/>
                        <a:gd name="connsiteY39" fmla="*/ 195263 h 1862138"/>
                        <a:gd name="connsiteX40" fmla="*/ 242888 w 2169319"/>
                        <a:gd name="connsiteY40" fmla="*/ 123825 h 1862138"/>
                        <a:gd name="connsiteX41" fmla="*/ 290513 w 2169319"/>
                        <a:gd name="connsiteY41" fmla="*/ 83344 h 1862138"/>
                        <a:gd name="connsiteX42" fmla="*/ 319088 w 2169319"/>
                        <a:gd name="connsiteY42" fmla="*/ 0 h 1862138"/>
                        <a:gd name="connsiteX43" fmla="*/ 540544 w 2169319"/>
                        <a:gd name="connsiteY43" fmla="*/ 304800 h 1862138"/>
                        <a:gd name="connsiteX44" fmla="*/ 552450 w 2169319"/>
                        <a:gd name="connsiteY44" fmla="*/ 316707 h 1862138"/>
                        <a:gd name="connsiteX45" fmla="*/ 597694 w 2169319"/>
                        <a:gd name="connsiteY45" fmla="*/ 257175 h 1862138"/>
                        <a:gd name="connsiteX46" fmla="*/ 626269 w 2169319"/>
                        <a:gd name="connsiteY46" fmla="*/ 238125 h 1862138"/>
                        <a:gd name="connsiteX47" fmla="*/ 621507 w 2169319"/>
                        <a:gd name="connsiteY47" fmla="*/ 169069 h 1862138"/>
                        <a:gd name="connsiteX48" fmla="*/ 633413 w 2169319"/>
                        <a:gd name="connsiteY48" fmla="*/ 140494 h 1862138"/>
                        <a:gd name="connsiteX49" fmla="*/ 719138 w 2169319"/>
                        <a:gd name="connsiteY49" fmla="*/ 140494 h 1862138"/>
                        <a:gd name="connsiteX50" fmla="*/ 752475 w 2169319"/>
                        <a:gd name="connsiteY50" fmla="*/ 147638 h 1862138"/>
                        <a:gd name="connsiteX51" fmla="*/ 764382 w 2169319"/>
                        <a:gd name="connsiteY51" fmla="*/ 197644 h 1862138"/>
                        <a:gd name="connsiteX52" fmla="*/ 809625 w 2169319"/>
                        <a:gd name="connsiteY52" fmla="*/ 214313 h 1862138"/>
                        <a:gd name="connsiteX53" fmla="*/ 847725 w 2169319"/>
                        <a:gd name="connsiteY53" fmla="*/ 264319 h 1862138"/>
                        <a:gd name="connsiteX54" fmla="*/ 890588 w 2169319"/>
                        <a:gd name="connsiteY54" fmla="*/ 280988 h 1862138"/>
                        <a:gd name="connsiteX55" fmla="*/ 950119 w 2169319"/>
                        <a:gd name="connsiteY55" fmla="*/ 235744 h 1862138"/>
                        <a:gd name="connsiteX56" fmla="*/ 1028700 w 2169319"/>
                        <a:gd name="connsiteY56" fmla="*/ 238125 h 1862138"/>
                        <a:gd name="connsiteX57" fmla="*/ 1095375 w 2169319"/>
                        <a:gd name="connsiteY57" fmla="*/ 157163 h 1862138"/>
                        <a:gd name="connsiteX58" fmla="*/ 1147763 w 2169319"/>
                        <a:gd name="connsiteY58" fmla="*/ 161925 h 1862138"/>
                        <a:gd name="connsiteX59" fmla="*/ 1166813 w 2169319"/>
                        <a:gd name="connsiteY59" fmla="*/ 145257 h 1862138"/>
                        <a:gd name="connsiteX60" fmla="*/ 1188244 w 2169319"/>
                        <a:gd name="connsiteY60" fmla="*/ 123825 h 1862138"/>
                        <a:gd name="connsiteX61" fmla="*/ 1259682 w 2169319"/>
                        <a:gd name="connsiteY61" fmla="*/ 123825 h 1862138"/>
                        <a:gd name="connsiteX62" fmla="*/ 1359694 w 2169319"/>
                        <a:gd name="connsiteY62" fmla="*/ 154782 h 1862138"/>
                        <a:gd name="connsiteX63" fmla="*/ 1423988 w 2169319"/>
                        <a:gd name="connsiteY63" fmla="*/ 250032 h 1862138"/>
                        <a:gd name="connsiteX64" fmla="*/ 1440657 w 2169319"/>
                        <a:gd name="connsiteY64" fmla="*/ 264319 h 1862138"/>
                        <a:gd name="connsiteX65" fmla="*/ 1454944 w 2169319"/>
                        <a:gd name="connsiteY65" fmla="*/ 304800 h 1862138"/>
                        <a:gd name="connsiteX66" fmla="*/ 1583532 w 2169319"/>
                        <a:gd name="connsiteY66" fmla="*/ 321469 h 1862138"/>
                        <a:gd name="connsiteX67" fmla="*/ 1654969 w 2169319"/>
                        <a:gd name="connsiteY67" fmla="*/ 423863 h 1862138"/>
                        <a:gd name="connsiteX68" fmla="*/ 1728788 w 2169319"/>
                        <a:gd name="connsiteY68" fmla="*/ 454819 h 1862138"/>
                        <a:gd name="connsiteX69" fmla="*/ 1864519 w 2169319"/>
                        <a:gd name="connsiteY69" fmla="*/ 466725 h 1862138"/>
                        <a:gd name="connsiteX70" fmla="*/ 1909763 w 2169319"/>
                        <a:gd name="connsiteY70" fmla="*/ 450057 h 1862138"/>
                        <a:gd name="connsiteX71" fmla="*/ 1995488 w 2169319"/>
                        <a:gd name="connsiteY71" fmla="*/ 364332 h 1862138"/>
                        <a:gd name="connsiteX72" fmla="*/ 2021682 w 2169319"/>
                        <a:gd name="connsiteY72" fmla="*/ 400050 h 1862138"/>
                        <a:gd name="connsiteX73" fmla="*/ 2069307 w 2169319"/>
                        <a:gd name="connsiteY73" fmla="*/ 435769 h 1862138"/>
                        <a:gd name="connsiteX74" fmla="*/ 2093119 w 2169319"/>
                        <a:gd name="connsiteY74" fmla="*/ 466725 h 1862138"/>
                        <a:gd name="connsiteX75" fmla="*/ 2105025 w 2169319"/>
                        <a:gd name="connsiteY75" fmla="*/ 488157 h 1862138"/>
                        <a:gd name="connsiteX76" fmla="*/ 2169319 w 2169319"/>
                        <a:gd name="connsiteY76" fmla="*/ 483394 h 1862138"/>
                        <a:gd name="connsiteX77" fmla="*/ 2169319 w 2169319"/>
                        <a:gd name="connsiteY77" fmla="*/ 521494 h 1862138"/>
                        <a:gd name="connsiteX78" fmla="*/ 2119313 w 2169319"/>
                        <a:gd name="connsiteY78" fmla="*/ 521494 h 1862138"/>
                        <a:gd name="connsiteX79" fmla="*/ 2045494 w 2169319"/>
                        <a:gd name="connsiteY79" fmla="*/ 578644 h 1862138"/>
                        <a:gd name="connsiteX80" fmla="*/ 2090738 w 2169319"/>
                        <a:gd name="connsiteY80" fmla="*/ 633413 h 1862138"/>
                        <a:gd name="connsiteX81" fmla="*/ 2097882 w 2169319"/>
                        <a:gd name="connsiteY81" fmla="*/ 690563 h 1862138"/>
                        <a:gd name="connsiteX82" fmla="*/ 2093119 w 2169319"/>
                        <a:gd name="connsiteY82" fmla="*/ 716757 h 1862138"/>
                        <a:gd name="connsiteX83" fmla="*/ 1905000 w 2169319"/>
                        <a:gd name="connsiteY83" fmla="*/ 831057 h 1862138"/>
                        <a:gd name="connsiteX84" fmla="*/ 1888332 w 2169319"/>
                        <a:gd name="connsiteY84" fmla="*/ 888207 h 1862138"/>
                        <a:gd name="connsiteX85" fmla="*/ 1895475 w 2169319"/>
                        <a:gd name="connsiteY85" fmla="*/ 1012032 h 1862138"/>
                        <a:gd name="connsiteX86" fmla="*/ 1940719 w 2169319"/>
                        <a:gd name="connsiteY86" fmla="*/ 1100138 h 1862138"/>
                        <a:gd name="connsiteX87" fmla="*/ 1978819 w 2169319"/>
                        <a:gd name="connsiteY87" fmla="*/ 1183482 h 1862138"/>
                        <a:gd name="connsiteX88" fmla="*/ 1966913 w 2169319"/>
                        <a:gd name="connsiteY88" fmla="*/ 1216819 h 1862138"/>
                        <a:gd name="connsiteX89" fmla="*/ 1952625 w 2169319"/>
                        <a:gd name="connsiteY89" fmla="*/ 1273969 h 1862138"/>
                        <a:gd name="connsiteX90" fmla="*/ 1907382 w 2169319"/>
                        <a:gd name="connsiteY90" fmla="*/ 1288257 h 1862138"/>
                        <a:gd name="connsiteX91" fmla="*/ 1885950 w 2169319"/>
                        <a:gd name="connsiteY91" fmla="*/ 1302544 h 1862138"/>
                        <a:gd name="connsiteX92" fmla="*/ 1850232 w 2169319"/>
                        <a:gd name="connsiteY92" fmla="*/ 1350169 h 1862138"/>
                        <a:gd name="connsiteX93" fmla="*/ 1828800 w 2169319"/>
                        <a:gd name="connsiteY93" fmla="*/ 1371600 h 1862138"/>
                        <a:gd name="connsiteX94" fmla="*/ 1783557 w 2169319"/>
                        <a:gd name="connsiteY94" fmla="*/ 1369219 h 1862138"/>
                        <a:gd name="connsiteX95" fmla="*/ 1752600 w 2169319"/>
                        <a:gd name="connsiteY95" fmla="*/ 1321594 h 1862138"/>
                        <a:gd name="connsiteX96" fmla="*/ 1674019 w 2169319"/>
                        <a:gd name="connsiteY96" fmla="*/ 1345407 h 1862138"/>
                        <a:gd name="connsiteX97" fmla="*/ 1626394 w 2169319"/>
                        <a:gd name="connsiteY97" fmla="*/ 1366838 h 1862138"/>
                        <a:gd name="connsiteX98" fmla="*/ 1552575 w 2169319"/>
                        <a:gd name="connsiteY98" fmla="*/ 1376363 h 1862138"/>
                        <a:gd name="connsiteX99" fmla="*/ 1507332 w 2169319"/>
                        <a:gd name="connsiteY99" fmla="*/ 1357313 h 1862138"/>
                        <a:gd name="connsiteX100" fmla="*/ 1447800 w 2169319"/>
                        <a:gd name="connsiteY100" fmla="*/ 1321594 h 1862138"/>
                        <a:gd name="connsiteX101" fmla="*/ 1407319 w 2169319"/>
                        <a:gd name="connsiteY101" fmla="*/ 1331119 h 1862138"/>
                        <a:gd name="connsiteX102" fmla="*/ 1390650 w 2169319"/>
                        <a:gd name="connsiteY102" fmla="*/ 1516857 h 1862138"/>
                        <a:gd name="connsiteX103" fmla="*/ 1359694 w 2169319"/>
                        <a:gd name="connsiteY103" fmla="*/ 1859757 h 1862138"/>
                        <a:gd name="connsiteX104" fmla="*/ 1357313 w 2169319"/>
                        <a:gd name="connsiteY104" fmla="*/ 1862138 h 1862138"/>
                        <a:gd name="connsiteX105" fmla="*/ 1312069 w 2169319"/>
                        <a:gd name="connsiteY105" fmla="*/ 1852613 h 1862138"/>
                        <a:gd name="connsiteX106" fmla="*/ 1285875 w 2169319"/>
                        <a:gd name="connsiteY106" fmla="*/ 1802607 h 1862138"/>
                        <a:gd name="connsiteX107" fmla="*/ 1262063 w 2169319"/>
                        <a:gd name="connsiteY107" fmla="*/ 1785938 h 1862138"/>
                        <a:gd name="connsiteX108" fmla="*/ 1204913 w 2169319"/>
                        <a:gd name="connsiteY108" fmla="*/ 1738313 h 1862138"/>
                        <a:gd name="connsiteX109" fmla="*/ 1166813 w 2169319"/>
                        <a:gd name="connsiteY109" fmla="*/ 1681163 h 1862138"/>
                        <a:gd name="connsiteX110" fmla="*/ 1150144 w 2169319"/>
                        <a:gd name="connsiteY110" fmla="*/ 1643064 h 1862138"/>
                        <a:gd name="connsiteX111" fmla="*/ 1150144 w 2169319"/>
                        <a:gd name="connsiteY111" fmla="*/ 1602582 h 1862138"/>
                        <a:gd name="connsiteX112" fmla="*/ 1097757 w 2169319"/>
                        <a:gd name="connsiteY112" fmla="*/ 1554957 h 1862138"/>
                        <a:gd name="connsiteX113" fmla="*/ 1057275 w 2169319"/>
                        <a:gd name="connsiteY113" fmla="*/ 1569244 h 1862138"/>
                        <a:gd name="connsiteX114" fmla="*/ 1057275 w 2169319"/>
                        <a:gd name="connsiteY114" fmla="*/ 1569244 h 1862138"/>
                        <a:gd name="connsiteX115" fmla="*/ 1028700 w 2169319"/>
                        <a:gd name="connsiteY115" fmla="*/ 1583532 h 1862138"/>
                        <a:gd name="connsiteX116" fmla="*/ 873919 w 2169319"/>
                        <a:gd name="connsiteY116" fmla="*/ 1581150 h 1862138"/>
                        <a:gd name="connsiteX117" fmla="*/ 845344 w 2169319"/>
                        <a:gd name="connsiteY117" fmla="*/ 1571625 h 1862138"/>
                        <a:gd name="connsiteX118" fmla="*/ 785813 w 2169319"/>
                        <a:gd name="connsiteY118" fmla="*/ 1519238 h 1862138"/>
                        <a:gd name="connsiteX119" fmla="*/ 752475 w 2169319"/>
                        <a:gd name="connsiteY119" fmla="*/ 1516857 h 1862138"/>
                        <a:gd name="connsiteX120" fmla="*/ 685800 w 2169319"/>
                        <a:gd name="connsiteY120" fmla="*/ 1571625 h 1862138"/>
                        <a:gd name="connsiteX121" fmla="*/ 638175 w 2169319"/>
                        <a:gd name="connsiteY121" fmla="*/ 1578769 h 1862138"/>
                        <a:gd name="connsiteX122" fmla="*/ 590550 w 2169319"/>
                        <a:gd name="connsiteY122" fmla="*/ 1566863 h 1862138"/>
                        <a:gd name="connsiteX123" fmla="*/ 552450 w 2169319"/>
                        <a:gd name="connsiteY123" fmla="*/ 1514475 h 1862138"/>
                        <a:gd name="connsiteX124" fmla="*/ 483394 w 2169319"/>
                        <a:gd name="connsiteY124" fmla="*/ 1552575 h 1862138"/>
                        <a:gd name="connsiteX125" fmla="*/ 404813 w 2169319"/>
                        <a:gd name="connsiteY125" fmla="*/ 1521619 h 1862138"/>
                        <a:gd name="connsiteX126" fmla="*/ 388144 w 2169319"/>
                        <a:gd name="connsiteY126" fmla="*/ 1500188 h 1862138"/>
                        <a:gd name="connsiteX127" fmla="*/ 273845 w 2169319"/>
                        <a:gd name="connsiteY127" fmla="*/ 1524000 h 1862138"/>
                        <a:gd name="connsiteX128" fmla="*/ 207169 w 2169319"/>
                        <a:gd name="connsiteY128" fmla="*/ 1562100 h 18621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  <a:cxn ang="0">
                          <a:pos x="connsiteX101" y="connsiteY101"/>
                        </a:cxn>
                        <a:cxn ang="0">
                          <a:pos x="connsiteX102" y="connsiteY102"/>
                        </a:cxn>
                        <a:cxn ang="0">
                          <a:pos x="connsiteX103" y="connsiteY103"/>
                        </a:cxn>
                        <a:cxn ang="0">
                          <a:pos x="connsiteX104" y="connsiteY104"/>
                        </a:cxn>
                        <a:cxn ang="0">
                          <a:pos x="connsiteX105" y="connsiteY105"/>
                        </a:cxn>
                        <a:cxn ang="0">
                          <a:pos x="connsiteX106" y="connsiteY106"/>
                        </a:cxn>
                        <a:cxn ang="0">
                          <a:pos x="connsiteX107" y="connsiteY107"/>
                        </a:cxn>
                        <a:cxn ang="0">
                          <a:pos x="connsiteX108" y="connsiteY108"/>
                        </a:cxn>
                        <a:cxn ang="0">
                          <a:pos x="connsiteX109" y="connsiteY109"/>
                        </a:cxn>
                        <a:cxn ang="0">
                          <a:pos x="connsiteX110" y="connsiteY110"/>
                        </a:cxn>
                        <a:cxn ang="0">
                          <a:pos x="connsiteX111" y="connsiteY111"/>
                        </a:cxn>
                        <a:cxn ang="0">
                          <a:pos x="connsiteX112" y="connsiteY112"/>
                        </a:cxn>
                        <a:cxn ang="0">
                          <a:pos x="connsiteX113" y="connsiteY113"/>
                        </a:cxn>
                        <a:cxn ang="0">
                          <a:pos x="connsiteX114" y="connsiteY114"/>
                        </a:cxn>
                        <a:cxn ang="0">
                          <a:pos x="connsiteX115" y="connsiteY115"/>
                        </a:cxn>
                        <a:cxn ang="0">
                          <a:pos x="connsiteX116" y="connsiteY116"/>
                        </a:cxn>
                        <a:cxn ang="0">
                          <a:pos x="connsiteX117" y="connsiteY117"/>
                        </a:cxn>
                        <a:cxn ang="0">
                          <a:pos x="connsiteX118" y="connsiteY118"/>
                        </a:cxn>
                        <a:cxn ang="0">
                          <a:pos x="connsiteX119" y="connsiteY119"/>
                        </a:cxn>
                        <a:cxn ang="0">
                          <a:pos x="connsiteX120" y="connsiteY120"/>
                        </a:cxn>
                        <a:cxn ang="0">
                          <a:pos x="connsiteX121" y="connsiteY121"/>
                        </a:cxn>
                        <a:cxn ang="0">
                          <a:pos x="connsiteX122" y="connsiteY122"/>
                        </a:cxn>
                        <a:cxn ang="0">
                          <a:pos x="connsiteX123" y="connsiteY123"/>
                        </a:cxn>
                        <a:cxn ang="0">
                          <a:pos x="connsiteX124" y="connsiteY124"/>
                        </a:cxn>
                        <a:cxn ang="0">
                          <a:pos x="connsiteX125" y="connsiteY125"/>
                        </a:cxn>
                        <a:cxn ang="0">
                          <a:pos x="connsiteX126" y="connsiteY126"/>
                        </a:cxn>
                        <a:cxn ang="0">
                          <a:pos x="connsiteX127" y="connsiteY127"/>
                        </a:cxn>
                        <a:cxn ang="0">
                          <a:pos x="connsiteX128" y="connsiteY128"/>
                        </a:cxn>
                      </a:cxnLst>
                      <a:rect l="l" t="t" r="r" b="b"/>
                      <a:pathLst>
                        <a:path w="2169319" h="1862138">
                          <a:moveTo>
                            <a:pt x="207169" y="1562100"/>
                          </a:moveTo>
                          <a:lnTo>
                            <a:pt x="138113" y="1569244"/>
                          </a:lnTo>
                          <a:lnTo>
                            <a:pt x="95250" y="1607344"/>
                          </a:lnTo>
                          <a:lnTo>
                            <a:pt x="78582" y="1614488"/>
                          </a:lnTo>
                          <a:lnTo>
                            <a:pt x="16669" y="1538288"/>
                          </a:lnTo>
                          <a:lnTo>
                            <a:pt x="52388" y="1514475"/>
                          </a:lnTo>
                          <a:lnTo>
                            <a:pt x="66675" y="1495425"/>
                          </a:lnTo>
                          <a:lnTo>
                            <a:pt x="66675" y="1345407"/>
                          </a:lnTo>
                          <a:lnTo>
                            <a:pt x="111919" y="1288257"/>
                          </a:lnTo>
                          <a:lnTo>
                            <a:pt x="28575" y="1195388"/>
                          </a:lnTo>
                          <a:lnTo>
                            <a:pt x="16669" y="1154907"/>
                          </a:lnTo>
                          <a:lnTo>
                            <a:pt x="38100" y="1126332"/>
                          </a:lnTo>
                          <a:lnTo>
                            <a:pt x="64294" y="1119188"/>
                          </a:lnTo>
                          <a:lnTo>
                            <a:pt x="76200" y="1102519"/>
                          </a:lnTo>
                          <a:lnTo>
                            <a:pt x="85725" y="1064419"/>
                          </a:lnTo>
                          <a:lnTo>
                            <a:pt x="47626" y="1035844"/>
                          </a:lnTo>
                          <a:cubicBezTo>
                            <a:pt x="47626" y="1028700"/>
                            <a:pt x="47625" y="1021557"/>
                            <a:pt x="47625" y="1014413"/>
                          </a:cubicBezTo>
                          <a:lnTo>
                            <a:pt x="19050" y="962025"/>
                          </a:lnTo>
                          <a:lnTo>
                            <a:pt x="21432" y="914400"/>
                          </a:lnTo>
                          <a:cubicBezTo>
                            <a:pt x="39014" y="901841"/>
                            <a:pt x="33271" y="907321"/>
                            <a:pt x="40482" y="900113"/>
                          </a:cubicBezTo>
                          <a:lnTo>
                            <a:pt x="61913" y="864394"/>
                          </a:lnTo>
                          <a:lnTo>
                            <a:pt x="16669" y="809625"/>
                          </a:lnTo>
                          <a:lnTo>
                            <a:pt x="0" y="757238"/>
                          </a:lnTo>
                          <a:lnTo>
                            <a:pt x="0" y="683419"/>
                          </a:lnTo>
                          <a:lnTo>
                            <a:pt x="28575" y="640557"/>
                          </a:lnTo>
                          <a:lnTo>
                            <a:pt x="76200" y="600075"/>
                          </a:lnTo>
                          <a:lnTo>
                            <a:pt x="107157" y="583407"/>
                          </a:lnTo>
                          <a:lnTo>
                            <a:pt x="135732" y="600075"/>
                          </a:lnTo>
                          <a:cubicBezTo>
                            <a:pt x="159530" y="602720"/>
                            <a:pt x="149975" y="602457"/>
                            <a:pt x="164307" y="602457"/>
                          </a:cubicBezTo>
                          <a:lnTo>
                            <a:pt x="180975" y="600075"/>
                          </a:lnTo>
                          <a:lnTo>
                            <a:pt x="226219" y="590550"/>
                          </a:lnTo>
                          <a:lnTo>
                            <a:pt x="252413" y="559594"/>
                          </a:lnTo>
                          <a:lnTo>
                            <a:pt x="280988" y="514350"/>
                          </a:lnTo>
                          <a:lnTo>
                            <a:pt x="290513" y="483394"/>
                          </a:lnTo>
                          <a:lnTo>
                            <a:pt x="273844" y="447675"/>
                          </a:lnTo>
                          <a:lnTo>
                            <a:pt x="276225" y="407194"/>
                          </a:lnTo>
                          <a:lnTo>
                            <a:pt x="226219" y="350044"/>
                          </a:lnTo>
                          <a:lnTo>
                            <a:pt x="157163" y="280988"/>
                          </a:lnTo>
                          <a:lnTo>
                            <a:pt x="152400" y="233363"/>
                          </a:lnTo>
                          <a:lnTo>
                            <a:pt x="192882" y="195263"/>
                          </a:lnTo>
                          <a:lnTo>
                            <a:pt x="242888" y="123825"/>
                          </a:lnTo>
                          <a:lnTo>
                            <a:pt x="290513" y="83344"/>
                          </a:lnTo>
                          <a:lnTo>
                            <a:pt x="319088" y="0"/>
                          </a:lnTo>
                          <a:lnTo>
                            <a:pt x="540544" y="304800"/>
                          </a:lnTo>
                          <a:lnTo>
                            <a:pt x="552450" y="316707"/>
                          </a:lnTo>
                          <a:lnTo>
                            <a:pt x="597694" y="257175"/>
                          </a:lnTo>
                          <a:lnTo>
                            <a:pt x="626269" y="238125"/>
                          </a:lnTo>
                          <a:lnTo>
                            <a:pt x="621507" y="169069"/>
                          </a:lnTo>
                          <a:lnTo>
                            <a:pt x="633413" y="140494"/>
                          </a:lnTo>
                          <a:lnTo>
                            <a:pt x="719138" y="140494"/>
                          </a:lnTo>
                          <a:lnTo>
                            <a:pt x="752475" y="147638"/>
                          </a:lnTo>
                          <a:lnTo>
                            <a:pt x="764382" y="197644"/>
                          </a:lnTo>
                          <a:lnTo>
                            <a:pt x="809625" y="214313"/>
                          </a:lnTo>
                          <a:lnTo>
                            <a:pt x="847725" y="264319"/>
                          </a:lnTo>
                          <a:lnTo>
                            <a:pt x="890588" y="280988"/>
                          </a:lnTo>
                          <a:lnTo>
                            <a:pt x="950119" y="235744"/>
                          </a:lnTo>
                          <a:lnTo>
                            <a:pt x="1028700" y="238125"/>
                          </a:lnTo>
                          <a:lnTo>
                            <a:pt x="1095375" y="157163"/>
                          </a:lnTo>
                          <a:lnTo>
                            <a:pt x="1147763" y="161925"/>
                          </a:lnTo>
                          <a:lnTo>
                            <a:pt x="1166813" y="145257"/>
                          </a:lnTo>
                          <a:lnTo>
                            <a:pt x="1188244" y="123825"/>
                          </a:lnTo>
                          <a:lnTo>
                            <a:pt x="1259682" y="123825"/>
                          </a:lnTo>
                          <a:lnTo>
                            <a:pt x="1359694" y="154782"/>
                          </a:lnTo>
                          <a:lnTo>
                            <a:pt x="1423988" y="250032"/>
                          </a:lnTo>
                          <a:lnTo>
                            <a:pt x="1440657" y="264319"/>
                          </a:lnTo>
                          <a:lnTo>
                            <a:pt x="1454944" y="304800"/>
                          </a:lnTo>
                          <a:lnTo>
                            <a:pt x="1583532" y="321469"/>
                          </a:lnTo>
                          <a:lnTo>
                            <a:pt x="1654969" y="423863"/>
                          </a:lnTo>
                          <a:lnTo>
                            <a:pt x="1728788" y="454819"/>
                          </a:lnTo>
                          <a:lnTo>
                            <a:pt x="1864519" y="466725"/>
                          </a:lnTo>
                          <a:lnTo>
                            <a:pt x="1909763" y="450057"/>
                          </a:lnTo>
                          <a:lnTo>
                            <a:pt x="1995488" y="364332"/>
                          </a:lnTo>
                          <a:lnTo>
                            <a:pt x="2021682" y="400050"/>
                          </a:lnTo>
                          <a:lnTo>
                            <a:pt x="2069307" y="435769"/>
                          </a:lnTo>
                          <a:lnTo>
                            <a:pt x="2093119" y="466725"/>
                          </a:lnTo>
                          <a:lnTo>
                            <a:pt x="2105025" y="488157"/>
                          </a:lnTo>
                          <a:lnTo>
                            <a:pt x="2169319" y="483394"/>
                          </a:lnTo>
                          <a:lnTo>
                            <a:pt x="2169319" y="521494"/>
                          </a:lnTo>
                          <a:lnTo>
                            <a:pt x="2119313" y="521494"/>
                          </a:lnTo>
                          <a:lnTo>
                            <a:pt x="2045494" y="578644"/>
                          </a:lnTo>
                          <a:lnTo>
                            <a:pt x="2090738" y="633413"/>
                          </a:lnTo>
                          <a:lnTo>
                            <a:pt x="2097882" y="690563"/>
                          </a:lnTo>
                          <a:lnTo>
                            <a:pt x="2093119" y="716757"/>
                          </a:lnTo>
                          <a:lnTo>
                            <a:pt x="1905000" y="831057"/>
                          </a:lnTo>
                          <a:lnTo>
                            <a:pt x="1888332" y="888207"/>
                          </a:lnTo>
                          <a:lnTo>
                            <a:pt x="1895475" y="1012032"/>
                          </a:lnTo>
                          <a:lnTo>
                            <a:pt x="1940719" y="1100138"/>
                          </a:lnTo>
                          <a:lnTo>
                            <a:pt x="1978819" y="1183482"/>
                          </a:lnTo>
                          <a:lnTo>
                            <a:pt x="1966913" y="1216819"/>
                          </a:lnTo>
                          <a:lnTo>
                            <a:pt x="1952625" y="1273969"/>
                          </a:lnTo>
                          <a:lnTo>
                            <a:pt x="1907382" y="1288257"/>
                          </a:lnTo>
                          <a:lnTo>
                            <a:pt x="1885950" y="1302544"/>
                          </a:lnTo>
                          <a:lnTo>
                            <a:pt x="1850232" y="1350169"/>
                          </a:lnTo>
                          <a:lnTo>
                            <a:pt x="1828800" y="1371600"/>
                          </a:lnTo>
                          <a:lnTo>
                            <a:pt x="1783557" y="1369219"/>
                          </a:lnTo>
                          <a:lnTo>
                            <a:pt x="1752600" y="1321594"/>
                          </a:lnTo>
                          <a:lnTo>
                            <a:pt x="1674019" y="1345407"/>
                          </a:lnTo>
                          <a:lnTo>
                            <a:pt x="1626394" y="1366838"/>
                          </a:lnTo>
                          <a:lnTo>
                            <a:pt x="1552575" y="1376363"/>
                          </a:lnTo>
                          <a:lnTo>
                            <a:pt x="1507332" y="1357313"/>
                          </a:lnTo>
                          <a:lnTo>
                            <a:pt x="1447800" y="1321594"/>
                          </a:lnTo>
                          <a:lnTo>
                            <a:pt x="1407319" y="1331119"/>
                          </a:lnTo>
                          <a:lnTo>
                            <a:pt x="1390650" y="1516857"/>
                          </a:lnTo>
                          <a:lnTo>
                            <a:pt x="1359694" y="1859757"/>
                          </a:lnTo>
                          <a:lnTo>
                            <a:pt x="1357313" y="1862138"/>
                          </a:lnTo>
                          <a:lnTo>
                            <a:pt x="1312069" y="1852613"/>
                          </a:lnTo>
                          <a:lnTo>
                            <a:pt x="1285875" y="1802607"/>
                          </a:lnTo>
                          <a:lnTo>
                            <a:pt x="1262063" y="1785938"/>
                          </a:lnTo>
                          <a:lnTo>
                            <a:pt x="1204913" y="1738313"/>
                          </a:lnTo>
                          <a:lnTo>
                            <a:pt x="1166813" y="1681163"/>
                          </a:lnTo>
                          <a:lnTo>
                            <a:pt x="1150144" y="1643064"/>
                          </a:lnTo>
                          <a:lnTo>
                            <a:pt x="1150144" y="1602582"/>
                          </a:lnTo>
                          <a:lnTo>
                            <a:pt x="1097757" y="1554957"/>
                          </a:lnTo>
                          <a:lnTo>
                            <a:pt x="1057275" y="1569244"/>
                          </a:lnTo>
                          <a:lnTo>
                            <a:pt x="1057275" y="1569244"/>
                          </a:lnTo>
                          <a:lnTo>
                            <a:pt x="1028700" y="1583532"/>
                          </a:lnTo>
                          <a:lnTo>
                            <a:pt x="873919" y="1581150"/>
                          </a:lnTo>
                          <a:lnTo>
                            <a:pt x="845344" y="1571625"/>
                          </a:lnTo>
                          <a:lnTo>
                            <a:pt x="785813" y="1519238"/>
                          </a:lnTo>
                          <a:lnTo>
                            <a:pt x="752475" y="1516857"/>
                          </a:lnTo>
                          <a:lnTo>
                            <a:pt x="685800" y="1571625"/>
                          </a:lnTo>
                          <a:lnTo>
                            <a:pt x="638175" y="1578769"/>
                          </a:lnTo>
                          <a:lnTo>
                            <a:pt x="590550" y="1566863"/>
                          </a:lnTo>
                          <a:lnTo>
                            <a:pt x="552450" y="1514475"/>
                          </a:lnTo>
                          <a:lnTo>
                            <a:pt x="483394" y="1552575"/>
                          </a:lnTo>
                          <a:lnTo>
                            <a:pt x="404813" y="1521619"/>
                          </a:lnTo>
                          <a:lnTo>
                            <a:pt x="388144" y="1500188"/>
                          </a:lnTo>
                          <a:lnTo>
                            <a:pt x="273845" y="1524000"/>
                          </a:lnTo>
                          <a:lnTo>
                            <a:pt x="207169" y="1562100"/>
                          </a:lnTo>
                          <a:close/>
                        </a:path>
                      </a:pathLst>
                    </a:custGeom>
                    <a:solidFill>
                      <a:schemeClr val="accent6">
                        <a:lumMod val="60000"/>
                        <a:lumOff val="40000"/>
                        <a:alpha val="50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20" name="Freeform 16"/>
                    <p:cNvSpPr/>
                    <p:nvPr/>
                  </p:nvSpPr>
                  <p:spPr>
                    <a:xfrm>
                      <a:off x="3181212" y="1086062"/>
                      <a:ext cx="1126307" cy="1373606"/>
                    </a:xfrm>
                    <a:custGeom>
                      <a:avLst/>
                      <a:gdLst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400050 w 1602581"/>
                        <a:gd name="connsiteY103" fmla="*/ 1800225 h 2107406"/>
                        <a:gd name="connsiteX104" fmla="*/ 421481 w 1602581"/>
                        <a:gd name="connsiteY104" fmla="*/ 1759743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8637 w 1602581"/>
                        <a:gd name="connsiteY107" fmla="*/ 1540668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26243 w 1602581"/>
                        <a:gd name="connsiteY110" fmla="*/ 1240631 h 2107406"/>
                        <a:gd name="connsiteX111" fmla="*/ 469106 w 1602581"/>
                        <a:gd name="connsiteY111" fmla="*/ 1209675 h 2107406"/>
                        <a:gd name="connsiteX112" fmla="*/ 409575 w 1602581"/>
                        <a:gd name="connsiteY112" fmla="*/ 1109662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400050 w 1602581"/>
                        <a:gd name="connsiteY103" fmla="*/ 1800225 h 2107406"/>
                        <a:gd name="connsiteX104" fmla="*/ 421481 w 1602581"/>
                        <a:gd name="connsiteY104" fmla="*/ 1759743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8637 w 1602581"/>
                        <a:gd name="connsiteY107" fmla="*/ 1540668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26243 w 1602581"/>
                        <a:gd name="connsiteY110" fmla="*/ 1240631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400050 w 1602581"/>
                        <a:gd name="connsiteY103" fmla="*/ 1800225 h 2107406"/>
                        <a:gd name="connsiteX104" fmla="*/ 421481 w 1602581"/>
                        <a:gd name="connsiteY104" fmla="*/ 1759743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8637 w 1602581"/>
                        <a:gd name="connsiteY107" fmla="*/ 1540668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21481 w 1602581"/>
                        <a:gd name="connsiteY104" fmla="*/ 1759743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8637 w 1602581"/>
                        <a:gd name="connsiteY107" fmla="*/ 1540668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8637 w 1602581"/>
                        <a:gd name="connsiteY107" fmla="*/ 1540668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42912 w 1602581"/>
                        <a:gd name="connsiteY112" fmla="*/ 1162050 h 2107406"/>
                        <a:gd name="connsiteX113" fmla="*/ 414338 w 1602581"/>
                        <a:gd name="connsiteY113" fmla="*/ 1121568 h 2107406"/>
                        <a:gd name="connsiteX114" fmla="*/ 357187 w 1602581"/>
                        <a:gd name="connsiteY114" fmla="*/ 1147762 h 2107406"/>
                        <a:gd name="connsiteX115" fmla="*/ 366712 w 1602581"/>
                        <a:gd name="connsiteY115" fmla="*/ 1059656 h 2107406"/>
                        <a:gd name="connsiteX116" fmla="*/ 278606 w 1602581"/>
                        <a:gd name="connsiteY116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35768 w 1602581"/>
                        <a:gd name="connsiteY112" fmla="*/ 1162050 h 2107406"/>
                        <a:gd name="connsiteX113" fmla="*/ 414338 w 1602581"/>
                        <a:gd name="connsiteY113" fmla="*/ 1121568 h 2107406"/>
                        <a:gd name="connsiteX114" fmla="*/ 357187 w 1602581"/>
                        <a:gd name="connsiteY114" fmla="*/ 1147762 h 2107406"/>
                        <a:gd name="connsiteX115" fmla="*/ 366712 w 1602581"/>
                        <a:gd name="connsiteY115" fmla="*/ 1059656 h 2107406"/>
                        <a:gd name="connsiteX116" fmla="*/ 278606 w 1602581"/>
                        <a:gd name="connsiteY116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35768 w 1602581"/>
                        <a:gd name="connsiteY112" fmla="*/ 1162050 h 2107406"/>
                        <a:gd name="connsiteX113" fmla="*/ 402432 w 1602581"/>
                        <a:gd name="connsiteY113" fmla="*/ 1121568 h 2107406"/>
                        <a:gd name="connsiteX114" fmla="*/ 357187 w 1602581"/>
                        <a:gd name="connsiteY114" fmla="*/ 1147762 h 2107406"/>
                        <a:gd name="connsiteX115" fmla="*/ 366712 w 1602581"/>
                        <a:gd name="connsiteY115" fmla="*/ 1059656 h 2107406"/>
                        <a:gd name="connsiteX116" fmla="*/ 278606 w 1602581"/>
                        <a:gd name="connsiteY116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1963 w 1602581"/>
                        <a:gd name="connsiteY111" fmla="*/ 1209675 h 2107406"/>
                        <a:gd name="connsiteX112" fmla="*/ 435768 w 1602581"/>
                        <a:gd name="connsiteY112" fmla="*/ 1162050 h 2107406"/>
                        <a:gd name="connsiteX113" fmla="*/ 402432 w 1602581"/>
                        <a:gd name="connsiteY113" fmla="*/ 1121568 h 2107406"/>
                        <a:gd name="connsiteX114" fmla="*/ 357187 w 1602581"/>
                        <a:gd name="connsiteY114" fmla="*/ 1147762 h 2107406"/>
                        <a:gd name="connsiteX115" fmla="*/ 366712 w 1602581"/>
                        <a:gd name="connsiteY115" fmla="*/ 1059656 h 2107406"/>
                        <a:gd name="connsiteX116" fmla="*/ 278606 w 1602581"/>
                        <a:gd name="connsiteY116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1963 w 1602581"/>
                        <a:gd name="connsiteY111" fmla="*/ 1209675 h 2107406"/>
                        <a:gd name="connsiteX112" fmla="*/ 435768 w 1602581"/>
                        <a:gd name="connsiteY112" fmla="*/ 1162050 h 2107406"/>
                        <a:gd name="connsiteX113" fmla="*/ 402432 w 1602581"/>
                        <a:gd name="connsiteY113" fmla="*/ 1121568 h 2107406"/>
                        <a:gd name="connsiteX114" fmla="*/ 357187 w 1602581"/>
                        <a:gd name="connsiteY114" fmla="*/ 1159668 h 2107406"/>
                        <a:gd name="connsiteX115" fmla="*/ 366712 w 1602581"/>
                        <a:gd name="connsiteY115" fmla="*/ 1059656 h 2107406"/>
                        <a:gd name="connsiteX116" fmla="*/ 278606 w 1602581"/>
                        <a:gd name="connsiteY116" fmla="*/ 1064418 h 2107406"/>
                        <a:gd name="connsiteX0" fmla="*/ 285750 w 1602581"/>
                        <a:gd name="connsiteY0" fmla="*/ 1073943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1963 w 1602581"/>
                        <a:gd name="connsiteY111" fmla="*/ 1209675 h 2107406"/>
                        <a:gd name="connsiteX112" fmla="*/ 435768 w 1602581"/>
                        <a:gd name="connsiteY112" fmla="*/ 1162050 h 2107406"/>
                        <a:gd name="connsiteX113" fmla="*/ 402432 w 1602581"/>
                        <a:gd name="connsiteY113" fmla="*/ 1121568 h 2107406"/>
                        <a:gd name="connsiteX114" fmla="*/ 357187 w 1602581"/>
                        <a:gd name="connsiteY114" fmla="*/ 1159668 h 2107406"/>
                        <a:gd name="connsiteX115" fmla="*/ 366712 w 1602581"/>
                        <a:gd name="connsiteY115" fmla="*/ 1059656 h 2107406"/>
                        <a:gd name="connsiteX116" fmla="*/ 285750 w 1602581"/>
                        <a:gd name="connsiteY116" fmla="*/ 1073943 h 21074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  <a:cxn ang="0">
                          <a:pos x="connsiteX101" y="connsiteY101"/>
                        </a:cxn>
                        <a:cxn ang="0">
                          <a:pos x="connsiteX102" y="connsiteY102"/>
                        </a:cxn>
                        <a:cxn ang="0">
                          <a:pos x="connsiteX103" y="connsiteY103"/>
                        </a:cxn>
                        <a:cxn ang="0">
                          <a:pos x="connsiteX104" y="connsiteY104"/>
                        </a:cxn>
                        <a:cxn ang="0">
                          <a:pos x="connsiteX105" y="connsiteY105"/>
                        </a:cxn>
                        <a:cxn ang="0">
                          <a:pos x="connsiteX106" y="connsiteY106"/>
                        </a:cxn>
                        <a:cxn ang="0">
                          <a:pos x="connsiteX107" y="connsiteY107"/>
                        </a:cxn>
                        <a:cxn ang="0">
                          <a:pos x="connsiteX108" y="connsiteY108"/>
                        </a:cxn>
                        <a:cxn ang="0">
                          <a:pos x="connsiteX109" y="connsiteY109"/>
                        </a:cxn>
                        <a:cxn ang="0">
                          <a:pos x="connsiteX110" y="connsiteY110"/>
                        </a:cxn>
                        <a:cxn ang="0">
                          <a:pos x="connsiteX111" y="connsiteY111"/>
                        </a:cxn>
                        <a:cxn ang="0">
                          <a:pos x="connsiteX112" y="connsiteY112"/>
                        </a:cxn>
                        <a:cxn ang="0">
                          <a:pos x="connsiteX113" y="connsiteY113"/>
                        </a:cxn>
                        <a:cxn ang="0">
                          <a:pos x="connsiteX114" y="connsiteY114"/>
                        </a:cxn>
                        <a:cxn ang="0">
                          <a:pos x="connsiteX115" y="connsiteY115"/>
                        </a:cxn>
                        <a:cxn ang="0">
                          <a:pos x="connsiteX116" y="connsiteY116"/>
                        </a:cxn>
                      </a:cxnLst>
                      <a:rect l="l" t="t" r="r" b="b"/>
                      <a:pathLst>
                        <a:path w="1602581" h="2107406">
                          <a:moveTo>
                            <a:pt x="285750" y="1073943"/>
                          </a:moveTo>
                          <a:lnTo>
                            <a:pt x="247650" y="1016793"/>
                          </a:lnTo>
                          <a:lnTo>
                            <a:pt x="209550" y="1000125"/>
                          </a:lnTo>
                          <a:lnTo>
                            <a:pt x="164306" y="1012031"/>
                          </a:lnTo>
                          <a:lnTo>
                            <a:pt x="135731" y="957262"/>
                          </a:lnTo>
                          <a:lnTo>
                            <a:pt x="76200" y="957262"/>
                          </a:lnTo>
                          <a:lnTo>
                            <a:pt x="47625" y="947737"/>
                          </a:lnTo>
                          <a:lnTo>
                            <a:pt x="50006" y="897731"/>
                          </a:lnTo>
                          <a:lnTo>
                            <a:pt x="21431" y="876300"/>
                          </a:lnTo>
                          <a:lnTo>
                            <a:pt x="0" y="835818"/>
                          </a:lnTo>
                          <a:lnTo>
                            <a:pt x="47625" y="788193"/>
                          </a:lnTo>
                          <a:lnTo>
                            <a:pt x="133350" y="759618"/>
                          </a:lnTo>
                          <a:lnTo>
                            <a:pt x="173831" y="731043"/>
                          </a:lnTo>
                          <a:lnTo>
                            <a:pt x="183356" y="652462"/>
                          </a:lnTo>
                          <a:lnTo>
                            <a:pt x="133350" y="597693"/>
                          </a:lnTo>
                          <a:cubicBezTo>
                            <a:pt x="154062" y="589927"/>
                            <a:pt x="146335" y="593584"/>
                            <a:pt x="157162" y="588168"/>
                          </a:cubicBezTo>
                          <a:lnTo>
                            <a:pt x="207168" y="519112"/>
                          </a:lnTo>
                          <a:lnTo>
                            <a:pt x="250031" y="500062"/>
                          </a:lnTo>
                          <a:lnTo>
                            <a:pt x="321468" y="521493"/>
                          </a:lnTo>
                          <a:lnTo>
                            <a:pt x="402431" y="521493"/>
                          </a:lnTo>
                          <a:lnTo>
                            <a:pt x="419100" y="509587"/>
                          </a:lnTo>
                          <a:lnTo>
                            <a:pt x="416718" y="469106"/>
                          </a:lnTo>
                          <a:lnTo>
                            <a:pt x="354806" y="440531"/>
                          </a:lnTo>
                          <a:lnTo>
                            <a:pt x="309562" y="419100"/>
                          </a:lnTo>
                          <a:lnTo>
                            <a:pt x="247650" y="419100"/>
                          </a:lnTo>
                          <a:lnTo>
                            <a:pt x="228600" y="388143"/>
                          </a:lnTo>
                          <a:lnTo>
                            <a:pt x="250031" y="364331"/>
                          </a:lnTo>
                          <a:lnTo>
                            <a:pt x="314325" y="345281"/>
                          </a:lnTo>
                          <a:lnTo>
                            <a:pt x="328612" y="323850"/>
                          </a:lnTo>
                          <a:lnTo>
                            <a:pt x="297656" y="292893"/>
                          </a:lnTo>
                          <a:lnTo>
                            <a:pt x="250031" y="311943"/>
                          </a:lnTo>
                          <a:lnTo>
                            <a:pt x="216693" y="280987"/>
                          </a:lnTo>
                          <a:lnTo>
                            <a:pt x="238125" y="257175"/>
                          </a:lnTo>
                          <a:lnTo>
                            <a:pt x="245268" y="219075"/>
                          </a:lnTo>
                          <a:lnTo>
                            <a:pt x="233362" y="195262"/>
                          </a:lnTo>
                          <a:lnTo>
                            <a:pt x="261937" y="145256"/>
                          </a:lnTo>
                          <a:lnTo>
                            <a:pt x="319087" y="157162"/>
                          </a:lnTo>
                          <a:lnTo>
                            <a:pt x="357187" y="195262"/>
                          </a:lnTo>
                          <a:lnTo>
                            <a:pt x="485775" y="197643"/>
                          </a:lnTo>
                          <a:lnTo>
                            <a:pt x="614362" y="178593"/>
                          </a:lnTo>
                          <a:lnTo>
                            <a:pt x="673893" y="157162"/>
                          </a:lnTo>
                          <a:lnTo>
                            <a:pt x="812006" y="126206"/>
                          </a:lnTo>
                          <a:lnTo>
                            <a:pt x="833437" y="123825"/>
                          </a:lnTo>
                          <a:lnTo>
                            <a:pt x="866775" y="107156"/>
                          </a:lnTo>
                          <a:lnTo>
                            <a:pt x="1028700" y="111918"/>
                          </a:lnTo>
                          <a:lnTo>
                            <a:pt x="1042987" y="57150"/>
                          </a:lnTo>
                          <a:lnTo>
                            <a:pt x="1114425" y="14287"/>
                          </a:lnTo>
                          <a:lnTo>
                            <a:pt x="1133475" y="4762"/>
                          </a:lnTo>
                          <a:lnTo>
                            <a:pt x="1223962" y="0"/>
                          </a:lnTo>
                          <a:lnTo>
                            <a:pt x="1262062" y="2381"/>
                          </a:lnTo>
                          <a:lnTo>
                            <a:pt x="1233487" y="30956"/>
                          </a:lnTo>
                          <a:lnTo>
                            <a:pt x="1259681" y="76200"/>
                          </a:lnTo>
                          <a:lnTo>
                            <a:pt x="1273968" y="104775"/>
                          </a:lnTo>
                          <a:lnTo>
                            <a:pt x="1235868" y="140493"/>
                          </a:lnTo>
                          <a:lnTo>
                            <a:pt x="1273968" y="159543"/>
                          </a:lnTo>
                          <a:lnTo>
                            <a:pt x="1276350" y="188118"/>
                          </a:lnTo>
                          <a:lnTo>
                            <a:pt x="1219200" y="245268"/>
                          </a:lnTo>
                          <a:lnTo>
                            <a:pt x="1278731" y="309562"/>
                          </a:lnTo>
                          <a:lnTo>
                            <a:pt x="1243012" y="354806"/>
                          </a:lnTo>
                          <a:lnTo>
                            <a:pt x="1281112" y="397668"/>
                          </a:lnTo>
                          <a:lnTo>
                            <a:pt x="1240631" y="433387"/>
                          </a:lnTo>
                          <a:lnTo>
                            <a:pt x="1269206" y="469106"/>
                          </a:lnTo>
                          <a:lnTo>
                            <a:pt x="1202531" y="526256"/>
                          </a:lnTo>
                          <a:lnTo>
                            <a:pt x="1202531" y="719137"/>
                          </a:lnTo>
                          <a:lnTo>
                            <a:pt x="1131093" y="845343"/>
                          </a:lnTo>
                          <a:lnTo>
                            <a:pt x="1042987" y="952500"/>
                          </a:lnTo>
                          <a:lnTo>
                            <a:pt x="1092993" y="992981"/>
                          </a:lnTo>
                          <a:lnTo>
                            <a:pt x="1097756" y="1157287"/>
                          </a:lnTo>
                          <a:lnTo>
                            <a:pt x="1181100" y="1154906"/>
                          </a:lnTo>
                          <a:lnTo>
                            <a:pt x="1209675" y="1178718"/>
                          </a:lnTo>
                          <a:lnTo>
                            <a:pt x="1252537" y="1238250"/>
                          </a:lnTo>
                          <a:lnTo>
                            <a:pt x="1347787" y="1235868"/>
                          </a:lnTo>
                          <a:lnTo>
                            <a:pt x="1390650" y="1300162"/>
                          </a:lnTo>
                          <a:lnTo>
                            <a:pt x="1481137" y="1347787"/>
                          </a:lnTo>
                          <a:lnTo>
                            <a:pt x="1583531" y="1333500"/>
                          </a:lnTo>
                          <a:lnTo>
                            <a:pt x="1602581" y="1357312"/>
                          </a:lnTo>
                          <a:lnTo>
                            <a:pt x="1552575" y="1407318"/>
                          </a:lnTo>
                          <a:lnTo>
                            <a:pt x="1493043" y="1447800"/>
                          </a:lnTo>
                          <a:lnTo>
                            <a:pt x="1419225" y="1585912"/>
                          </a:lnTo>
                          <a:lnTo>
                            <a:pt x="1297781" y="1688306"/>
                          </a:lnTo>
                          <a:lnTo>
                            <a:pt x="1262062" y="1719262"/>
                          </a:lnTo>
                          <a:lnTo>
                            <a:pt x="1271587" y="1762125"/>
                          </a:lnTo>
                          <a:lnTo>
                            <a:pt x="1240631" y="1797843"/>
                          </a:lnTo>
                          <a:lnTo>
                            <a:pt x="1202531" y="1821656"/>
                          </a:lnTo>
                          <a:lnTo>
                            <a:pt x="1183481" y="1883568"/>
                          </a:lnTo>
                          <a:lnTo>
                            <a:pt x="1131093" y="1859756"/>
                          </a:lnTo>
                          <a:lnTo>
                            <a:pt x="1085850" y="1921668"/>
                          </a:lnTo>
                          <a:lnTo>
                            <a:pt x="1050131" y="1921668"/>
                          </a:lnTo>
                          <a:lnTo>
                            <a:pt x="1009650" y="1914525"/>
                          </a:lnTo>
                          <a:lnTo>
                            <a:pt x="947737" y="1895475"/>
                          </a:lnTo>
                          <a:lnTo>
                            <a:pt x="933450" y="1866900"/>
                          </a:lnTo>
                          <a:lnTo>
                            <a:pt x="895350" y="1878806"/>
                          </a:lnTo>
                          <a:lnTo>
                            <a:pt x="890587" y="1926431"/>
                          </a:lnTo>
                          <a:lnTo>
                            <a:pt x="878681" y="1959768"/>
                          </a:lnTo>
                          <a:lnTo>
                            <a:pt x="823912" y="2019300"/>
                          </a:lnTo>
                          <a:lnTo>
                            <a:pt x="800100" y="2040731"/>
                          </a:lnTo>
                          <a:lnTo>
                            <a:pt x="797718" y="2090737"/>
                          </a:lnTo>
                          <a:lnTo>
                            <a:pt x="747712" y="2107406"/>
                          </a:lnTo>
                          <a:lnTo>
                            <a:pt x="719137" y="2028825"/>
                          </a:lnTo>
                          <a:lnTo>
                            <a:pt x="523875" y="1916906"/>
                          </a:lnTo>
                          <a:lnTo>
                            <a:pt x="550068" y="1862137"/>
                          </a:lnTo>
                          <a:lnTo>
                            <a:pt x="521493" y="1843087"/>
                          </a:lnTo>
                          <a:lnTo>
                            <a:pt x="471487" y="1883568"/>
                          </a:lnTo>
                          <a:lnTo>
                            <a:pt x="392907" y="1797844"/>
                          </a:lnTo>
                          <a:lnTo>
                            <a:pt x="411956" y="1762124"/>
                          </a:lnTo>
                          <a:cubicBezTo>
                            <a:pt x="411162" y="1726405"/>
                            <a:pt x="410369" y="1690687"/>
                            <a:pt x="409575" y="1654968"/>
                          </a:cubicBezTo>
                          <a:lnTo>
                            <a:pt x="504825" y="1545431"/>
                          </a:lnTo>
                          <a:cubicBezTo>
                            <a:pt x="527031" y="1540496"/>
                            <a:pt x="514176" y="1531143"/>
                            <a:pt x="523875" y="1531143"/>
                          </a:cubicBezTo>
                          <a:lnTo>
                            <a:pt x="545306" y="1519237"/>
                          </a:lnTo>
                          <a:lnTo>
                            <a:pt x="488156" y="1347787"/>
                          </a:lnTo>
                          <a:lnTo>
                            <a:pt x="419099" y="1233488"/>
                          </a:lnTo>
                          <a:lnTo>
                            <a:pt x="461963" y="1209675"/>
                          </a:lnTo>
                          <a:lnTo>
                            <a:pt x="435768" y="1162050"/>
                          </a:lnTo>
                          <a:lnTo>
                            <a:pt x="402432" y="1121568"/>
                          </a:lnTo>
                          <a:lnTo>
                            <a:pt x="357187" y="1159668"/>
                          </a:lnTo>
                          <a:lnTo>
                            <a:pt x="366712" y="1059656"/>
                          </a:lnTo>
                          <a:lnTo>
                            <a:pt x="285750" y="1073943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21" name="Freeform 17"/>
                    <p:cNvSpPr/>
                    <p:nvPr/>
                  </p:nvSpPr>
                  <p:spPr>
                    <a:xfrm>
                      <a:off x="4022789" y="929126"/>
                      <a:ext cx="1075847" cy="631116"/>
                    </a:xfrm>
                    <a:custGeom>
                      <a:avLst/>
                      <a:gdLst>
                        <a:gd name="connsiteX0" fmla="*/ 50007 w 1521619"/>
                        <a:gd name="connsiteY0" fmla="*/ 240507 h 969169"/>
                        <a:gd name="connsiteX1" fmla="*/ 345282 w 1521619"/>
                        <a:gd name="connsiteY1" fmla="*/ 130969 h 969169"/>
                        <a:gd name="connsiteX2" fmla="*/ 397669 w 1521619"/>
                        <a:gd name="connsiteY2" fmla="*/ 142875 h 969169"/>
                        <a:gd name="connsiteX3" fmla="*/ 459582 w 1521619"/>
                        <a:gd name="connsiteY3" fmla="*/ 50007 h 969169"/>
                        <a:gd name="connsiteX4" fmla="*/ 552450 w 1521619"/>
                        <a:gd name="connsiteY4" fmla="*/ 0 h 969169"/>
                        <a:gd name="connsiteX5" fmla="*/ 647700 w 1521619"/>
                        <a:gd name="connsiteY5" fmla="*/ 4763 h 969169"/>
                        <a:gd name="connsiteX6" fmla="*/ 747713 w 1521619"/>
                        <a:gd name="connsiteY6" fmla="*/ 57150 h 969169"/>
                        <a:gd name="connsiteX7" fmla="*/ 781050 w 1521619"/>
                        <a:gd name="connsiteY7" fmla="*/ 73819 h 969169"/>
                        <a:gd name="connsiteX8" fmla="*/ 831057 w 1521619"/>
                        <a:gd name="connsiteY8" fmla="*/ 23813 h 969169"/>
                        <a:gd name="connsiteX9" fmla="*/ 876300 w 1521619"/>
                        <a:gd name="connsiteY9" fmla="*/ 11907 h 969169"/>
                        <a:gd name="connsiteX10" fmla="*/ 921544 w 1521619"/>
                        <a:gd name="connsiteY10" fmla="*/ 52388 h 969169"/>
                        <a:gd name="connsiteX11" fmla="*/ 938213 w 1521619"/>
                        <a:gd name="connsiteY11" fmla="*/ 102394 h 969169"/>
                        <a:gd name="connsiteX12" fmla="*/ 933450 w 1521619"/>
                        <a:gd name="connsiteY12" fmla="*/ 154782 h 969169"/>
                        <a:gd name="connsiteX13" fmla="*/ 981075 w 1521619"/>
                        <a:gd name="connsiteY13" fmla="*/ 209550 h 969169"/>
                        <a:gd name="connsiteX14" fmla="*/ 992982 w 1521619"/>
                        <a:gd name="connsiteY14" fmla="*/ 228600 h 969169"/>
                        <a:gd name="connsiteX15" fmla="*/ 973932 w 1521619"/>
                        <a:gd name="connsiteY15" fmla="*/ 288132 h 969169"/>
                        <a:gd name="connsiteX16" fmla="*/ 978694 w 1521619"/>
                        <a:gd name="connsiteY16" fmla="*/ 316707 h 969169"/>
                        <a:gd name="connsiteX17" fmla="*/ 947738 w 1521619"/>
                        <a:gd name="connsiteY17" fmla="*/ 345282 h 969169"/>
                        <a:gd name="connsiteX18" fmla="*/ 973932 w 1521619"/>
                        <a:gd name="connsiteY18" fmla="*/ 390525 h 969169"/>
                        <a:gd name="connsiteX19" fmla="*/ 995363 w 1521619"/>
                        <a:gd name="connsiteY19" fmla="*/ 397669 h 969169"/>
                        <a:gd name="connsiteX20" fmla="*/ 1023938 w 1521619"/>
                        <a:gd name="connsiteY20" fmla="*/ 366713 h 969169"/>
                        <a:gd name="connsiteX21" fmla="*/ 1064419 w 1521619"/>
                        <a:gd name="connsiteY21" fmla="*/ 404813 h 969169"/>
                        <a:gd name="connsiteX22" fmla="*/ 1116807 w 1521619"/>
                        <a:gd name="connsiteY22" fmla="*/ 345282 h 969169"/>
                        <a:gd name="connsiteX23" fmla="*/ 1166813 w 1521619"/>
                        <a:gd name="connsiteY23" fmla="*/ 321469 h 969169"/>
                        <a:gd name="connsiteX24" fmla="*/ 1209675 w 1521619"/>
                        <a:gd name="connsiteY24" fmla="*/ 357188 h 969169"/>
                        <a:gd name="connsiteX25" fmla="*/ 1228725 w 1521619"/>
                        <a:gd name="connsiteY25" fmla="*/ 388144 h 969169"/>
                        <a:gd name="connsiteX26" fmla="*/ 1231107 w 1521619"/>
                        <a:gd name="connsiteY26" fmla="*/ 435769 h 969169"/>
                        <a:gd name="connsiteX27" fmla="*/ 1271588 w 1521619"/>
                        <a:gd name="connsiteY27" fmla="*/ 445294 h 969169"/>
                        <a:gd name="connsiteX28" fmla="*/ 1281113 w 1521619"/>
                        <a:gd name="connsiteY28" fmla="*/ 383382 h 969169"/>
                        <a:gd name="connsiteX29" fmla="*/ 1316832 w 1521619"/>
                        <a:gd name="connsiteY29" fmla="*/ 366713 h 969169"/>
                        <a:gd name="connsiteX30" fmla="*/ 1388269 w 1521619"/>
                        <a:gd name="connsiteY30" fmla="*/ 414338 h 969169"/>
                        <a:gd name="connsiteX31" fmla="*/ 1416844 w 1521619"/>
                        <a:gd name="connsiteY31" fmla="*/ 421482 h 969169"/>
                        <a:gd name="connsiteX32" fmla="*/ 1464469 w 1521619"/>
                        <a:gd name="connsiteY32" fmla="*/ 376238 h 969169"/>
                        <a:gd name="connsiteX33" fmla="*/ 1507332 w 1521619"/>
                        <a:gd name="connsiteY33" fmla="*/ 421482 h 969169"/>
                        <a:gd name="connsiteX34" fmla="*/ 1493044 w 1521619"/>
                        <a:gd name="connsiteY34" fmla="*/ 447675 h 969169"/>
                        <a:gd name="connsiteX35" fmla="*/ 1454944 w 1521619"/>
                        <a:gd name="connsiteY35" fmla="*/ 466725 h 969169"/>
                        <a:gd name="connsiteX36" fmla="*/ 1421607 w 1521619"/>
                        <a:gd name="connsiteY36" fmla="*/ 507207 h 969169"/>
                        <a:gd name="connsiteX37" fmla="*/ 1388269 w 1521619"/>
                        <a:gd name="connsiteY37" fmla="*/ 547688 h 969169"/>
                        <a:gd name="connsiteX38" fmla="*/ 1388269 w 1521619"/>
                        <a:gd name="connsiteY38" fmla="*/ 547688 h 969169"/>
                        <a:gd name="connsiteX39" fmla="*/ 1416844 w 1521619"/>
                        <a:gd name="connsiteY39" fmla="*/ 588169 h 969169"/>
                        <a:gd name="connsiteX40" fmla="*/ 1426369 w 1521619"/>
                        <a:gd name="connsiteY40" fmla="*/ 635794 h 969169"/>
                        <a:gd name="connsiteX41" fmla="*/ 1478757 w 1521619"/>
                        <a:gd name="connsiteY41" fmla="*/ 619125 h 969169"/>
                        <a:gd name="connsiteX42" fmla="*/ 1464469 w 1521619"/>
                        <a:gd name="connsiteY42" fmla="*/ 657225 h 969169"/>
                        <a:gd name="connsiteX43" fmla="*/ 1438275 w 1521619"/>
                        <a:gd name="connsiteY43" fmla="*/ 683419 h 969169"/>
                        <a:gd name="connsiteX44" fmla="*/ 1485900 w 1521619"/>
                        <a:gd name="connsiteY44" fmla="*/ 719138 h 969169"/>
                        <a:gd name="connsiteX45" fmla="*/ 1521619 w 1521619"/>
                        <a:gd name="connsiteY45" fmla="*/ 738188 h 969169"/>
                        <a:gd name="connsiteX46" fmla="*/ 1502569 w 1521619"/>
                        <a:gd name="connsiteY46" fmla="*/ 764382 h 969169"/>
                        <a:gd name="connsiteX47" fmla="*/ 1473994 w 1521619"/>
                        <a:gd name="connsiteY47" fmla="*/ 759619 h 969169"/>
                        <a:gd name="connsiteX48" fmla="*/ 1512094 w 1521619"/>
                        <a:gd name="connsiteY48" fmla="*/ 814388 h 969169"/>
                        <a:gd name="connsiteX49" fmla="*/ 1473994 w 1521619"/>
                        <a:gd name="connsiteY49" fmla="*/ 816769 h 969169"/>
                        <a:gd name="connsiteX50" fmla="*/ 1438275 w 1521619"/>
                        <a:gd name="connsiteY50" fmla="*/ 812007 h 969169"/>
                        <a:gd name="connsiteX51" fmla="*/ 1362075 w 1521619"/>
                        <a:gd name="connsiteY51" fmla="*/ 795338 h 969169"/>
                        <a:gd name="connsiteX52" fmla="*/ 1328738 w 1521619"/>
                        <a:gd name="connsiteY52" fmla="*/ 790575 h 969169"/>
                        <a:gd name="connsiteX53" fmla="*/ 1309688 w 1521619"/>
                        <a:gd name="connsiteY53" fmla="*/ 723900 h 969169"/>
                        <a:gd name="connsiteX54" fmla="*/ 1171575 w 1521619"/>
                        <a:gd name="connsiteY54" fmla="*/ 757238 h 969169"/>
                        <a:gd name="connsiteX55" fmla="*/ 1135857 w 1521619"/>
                        <a:gd name="connsiteY55" fmla="*/ 738188 h 969169"/>
                        <a:gd name="connsiteX56" fmla="*/ 1052513 w 1521619"/>
                        <a:gd name="connsiteY56" fmla="*/ 645319 h 969169"/>
                        <a:gd name="connsiteX57" fmla="*/ 1019175 w 1521619"/>
                        <a:gd name="connsiteY57" fmla="*/ 654844 h 969169"/>
                        <a:gd name="connsiteX58" fmla="*/ 983457 w 1521619"/>
                        <a:gd name="connsiteY58" fmla="*/ 652463 h 969169"/>
                        <a:gd name="connsiteX59" fmla="*/ 888207 w 1521619"/>
                        <a:gd name="connsiteY59" fmla="*/ 621507 h 969169"/>
                        <a:gd name="connsiteX60" fmla="*/ 831057 w 1521619"/>
                        <a:gd name="connsiteY60" fmla="*/ 673894 h 969169"/>
                        <a:gd name="connsiteX61" fmla="*/ 783432 w 1521619"/>
                        <a:gd name="connsiteY61" fmla="*/ 611982 h 969169"/>
                        <a:gd name="connsiteX62" fmla="*/ 738188 w 1521619"/>
                        <a:gd name="connsiteY62" fmla="*/ 597694 h 969169"/>
                        <a:gd name="connsiteX63" fmla="*/ 733425 w 1521619"/>
                        <a:gd name="connsiteY63" fmla="*/ 552450 h 969169"/>
                        <a:gd name="connsiteX64" fmla="*/ 697707 w 1521619"/>
                        <a:gd name="connsiteY64" fmla="*/ 533400 h 969169"/>
                        <a:gd name="connsiteX65" fmla="*/ 654844 w 1521619"/>
                        <a:gd name="connsiteY65" fmla="*/ 542925 h 969169"/>
                        <a:gd name="connsiteX66" fmla="*/ 642938 w 1521619"/>
                        <a:gd name="connsiteY66" fmla="*/ 564357 h 969169"/>
                        <a:gd name="connsiteX67" fmla="*/ 581025 w 1521619"/>
                        <a:gd name="connsiteY67" fmla="*/ 550069 h 969169"/>
                        <a:gd name="connsiteX68" fmla="*/ 471488 w 1521619"/>
                        <a:gd name="connsiteY68" fmla="*/ 626269 h 969169"/>
                        <a:gd name="connsiteX69" fmla="*/ 504825 w 1521619"/>
                        <a:gd name="connsiteY69" fmla="*/ 728663 h 969169"/>
                        <a:gd name="connsiteX70" fmla="*/ 526257 w 1521619"/>
                        <a:gd name="connsiteY70" fmla="*/ 797719 h 969169"/>
                        <a:gd name="connsiteX71" fmla="*/ 445294 w 1521619"/>
                        <a:gd name="connsiteY71" fmla="*/ 859632 h 969169"/>
                        <a:gd name="connsiteX72" fmla="*/ 316707 w 1521619"/>
                        <a:gd name="connsiteY72" fmla="*/ 964407 h 969169"/>
                        <a:gd name="connsiteX73" fmla="*/ 250032 w 1521619"/>
                        <a:gd name="connsiteY73" fmla="*/ 912019 h 969169"/>
                        <a:gd name="connsiteX74" fmla="*/ 207169 w 1521619"/>
                        <a:gd name="connsiteY74" fmla="*/ 969169 h 969169"/>
                        <a:gd name="connsiteX75" fmla="*/ 0 w 1521619"/>
                        <a:gd name="connsiteY75" fmla="*/ 962025 h 969169"/>
                        <a:gd name="connsiteX76" fmla="*/ 0 w 1521619"/>
                        <a:gd name="connsiteY76" fmla="*/ 766763 h 969169"/>
                        <a:gd name="connsiteX77" fmla="*/ 59532 w 1521619"/>
                        <a:gd name="connsiteY77" fmla="*/ 719138 h 969169"/>
                        <a:gd name="connsiteX78" fmla="*/ 35719 w 1521619"/>
                        <a:gd name="connsiteY78" fmla="*/ 678657 h 969169"/>
                        <a:gd name="connsiteX79" fmla="*/ 73819 w 1521619"/>
                        <a:gd name="connsiteY79" fmla="*/ 642938 h 969169"/>
                        <a:gd name="connsiteX80" fmla="*/ 40482 w 1521619"/>
                        <a:gd name="connsiteY80" fmla="*/ 592932 h 969169"/>
                        <a:gd name="connsiteX81" fmla="*/ 71438 w 1521619"/>
                        <a:gd name="connsiteY81" fmla="*/ 554832 h 969169"/>
                        <a:gd name="connsiteX82" fmla="*/ 14288 w 1521619"/>
                        <a:gd name="connsiteY82" fmla="*/ 481013 h 969169"/>
                        <a:gd name="connsiteX83" fmla="*/ 71438 w 1521619"/>
                        <a:gd name="connsiteY83" fmla="*/ 433388 h 969169"/>
                        <a:gd name="connsiteX84" fmla="*/ 66675 w 1521619"/>
                        <a:gd name="connsiteY84" fmla="*/ 395288 h 969169"/>
                        <a:gd name="connsiteX85" fmla="*/ 30957 w 1521619"/>
                        <a:gd name="connsiteY85" fmla="*/ 383382 h 969169"/>
                        <a:gd name="connsiteX86" fmla="*/ 66675 w 1521619"/>
                        <a:gd name="connsiteY86" fmla="*/ 340519 h 969169"/>
                        <a:gd name="connsiteX87" fmla="*/ 50007 w 1521619"/>
                        <a:gd name="connsiteY87" fmla="*/ 240507 h 969169"/>
                        <a:gd name="connsiteX0" fmla="*/ 50007 w 1521619"/>
                        <a:gd name="connsiteY0" fmla="*/ 240507 h 969169"/>
                        <a:gd name="connsiteX1" fmla="*/ 345282 w 1521619"/>
                        <a:gd name="connsiteY1" fmla="*/ 130969 h 969169"/>
                        <a:gd name="connsiteX2" fmla="*/ 397669 w 1521619"/>
                        <a:gd name="connsiteY2" fmla="*/ 142875 h 969169"/>
                        <a:gd name="connsiteX3" fmla="*/ 459582 w 1521619"/>
                        <a:gd name="connsiteY3" fmla="*/ 50007 h 969169"/>
                        <a:gd name="connsiteX4" fmla="*/ 552450 w 1521619"/>
                        <a:gd name="connsiteY4" fmla="*/ 0 h 969169"/>
                        <a:gd name="connsiteX5" fmla="*/ 647700 w 1521619"/>
                        <a:gd name="connsiteY5" fmla="*/ 4763 h 969169"/>
                        <a:gd name="connsiteX6" fmla="*/ 747713 w 1521619"/>
                        <a:gd name="connsiteY6" fmla="*/ 57150 h 969169"/>
                        <a:gd name="connsiteX7" fmla="*/ 781050 w 1521619"/>
                        <a:gd name="connsiteY7" fmla="*/ 73819 h 969169"/>
                        <a:gd name="connsiteX8" fmla="*/ 831057 w 1521619"/>
                        <a:gd name="connsiteY8" fmla="*/ 23813 h 969169"/>
                        <a:gd name="connsiteX9" fmla="*/ 876300 w 1521619"/>
                        <a:gd name="connsiteY9" fmla="*/ 11907 h 969169"/>
                        <a:gd name="connsiteX10" fmla="*/ 921544 w 1521619"/>
                        <a:gd name="connsiteY10" fmla="*/ 52388 h 969169"/>
                        <a:gd name="connsiteX11" fmla="*/ 938213 w 1521619"/>
                        <a:gd name="connsiteY11" fmla="*/ 102394 h 969169"/>
                        <a:gd name="connsiteX12" fmla="*/ 933450 w 1521619"/>
                        <a:gd name="connsiteY12" fmla="*/ 154782 h 969169"/>
                        <a:gd name="connsiteX13" fmla="*/ 981075 w 1521619"/>
                        <a:gd name="connsiteY13" fmla="*/ 209550 h 969169"/>
                        <a:gd name="connsiteX14" fmla="*/ 992982 w 1521619"/>
                        <a:gd name="connsiteY14" fmla="*/ 228600 h 969169"/>
                        <a:gd name="connsiteX15" fmla="*/ 973932 w 1521619"/>
                        <a:gd name="connsiteY15" fmla="*/ 288132 h 969169"/>
                        <a:gd name="connsiteX16" fmla="*/ 978694 w 1521619"/>
                        <a:gd name="connsiteY16" fmla="*/ 316707 h 969169"/>
                        <a:gd name="connsiteX17" fmla="*/ 947738 w 1521619"/>
                        <a:gd name="connsiteY17" fmla="*/ 345282 h 969169"/>
                        <a:gd name="connsiteX18" fmla="*/ 973932 w 1521619"/>
                        <a:gd name="connsiteY18" fmla="*/ 390525 h 969169"/>
                        <a:gd name="connsiteX19" fmla="*/ 995363 w 1521619"/>
                        <a:gd name="connsiteY19" fmla="*/ 397669 h 969169"/>
                        <a:gd name="connsiteX20" fmla="*/ 1023938 w 1521619"/>
                        <a:gd name="connsiteY20" fmla="*/ 366713 h 969169"/>
                        <a:gd name="connsiteX21" fmla="*/ 1064419 w 1521619"/>
                        <a:gd name="connsiteY21" fmla="*/ 404813 h 969169"/>
                        <a:gd name="connsiteX22" fmla="*/ 1116807 w 1521619"/>
                        <a:gd name="connsiteY22" fmla="*/ 345282 h 969169"/>
                        <a:gd name="connsiteX23" fmla="*/ 1166813 w 1521619"/>
                        <a:gd name="connsiteY23" fmla="*/ 321469 h 969169"/>
                        <a:gd name="connsiteX24" fmla="*/ 1209675 w 1521619"/>
                        <a:gd name="connsiteY24" fmla="*/ 357188 h 969169"/>
                        <a:gd name="connsiteX25" fmla="*/ 1228725 w 1521619"/>
                        <a:gd name="connsiteY25" fmla="*/ 388144 h 969169"/>
                        <a:gd name="connsiteX26" fmla="*/ 1231107 w 1521619"/>
                        <a:gd name="connsiteY26" fmla="*/ 435769 h 969169"/>
                        <a:gd name="connsiteX27" fmla="*/ 1271588 w 1521619"/>
                        <a:gd name="connsiteY27" fmla="*/ 445294 h 969169"/>
                        <a:gd name="connsiteX28" fmla="*/ 1281113 w 1521619"/>
                        <a:gd name="connsiteY28" fmla="*/ 383382 h 969169"/>
                        <a:gd name="connsiteX29" fmla="*/ 1316832 w 1521619"/>
                        <a:gd name="connsiteY29" fmla="*/ 366713 h 969169"/>
                        <a:gd name="connsiteX30" fmla="*/ 1388269 w 1521619"/>
                        <a:gd name="connsiteY30" fmla="*/ 414338 h 969169"/>
                        <a:gd name="connsiteX31" fmla="*/ 1416844 w 1521619"/>
                        <a:gd name="connsiteY31" fmla="*/ 421482 h 969169"/>
                        <a:gd name="connsiteX32" fmla="*/ 1464469 w 1521619"/>
                        <a:gd name="connsiteY32" fmla="*/ 376238 h 969169"/>
                        <a:gd name="connsiteX33" fmla="*/ 1507332 w 1521619"/>
                        <a:gd name="connsiteY33" fmla="*/ 421482 h 969169"/>
                        <a:gd name="connsiteX34" fmla="*/ 1493044 w 1521619"/>
                        <a:gd name="connsiteY34" fmla="*/ 447675 h 969169"/>
                        <a:gd name="connsiteX35" fmla="*/ 1454944 w 1521619"/>
                        <a:gd name="connsiteY35" fmla="*/ 466725 h 969169"/>
                        <a:gd name="connsiteX36" fmla="*/ 1421607 w 1521619"/>
                        <a:gd name="connsiteY36" fmla="*/ 507207 h 969169"/>
                        <a:gd name="connsiteX37" fmla="*/ 1388269 w 1521619"/>
                        <a:gd name="connsiteY37" fmla="*/ 547688 h 969169"/>
                        <a:gd name="connsiteX38" fmla="*/ 1388269 w 1521619"/>
                        <a:gd name="connsiteY38" fmla="*/ 547688 h 969169"/>
                        <a:gd name="connsiteX39" fmla="*/ 1416844 w 1521619"/>
                        <a:gd name="connsiteY39" fmla="*/ 588169 h 969169"/>
                        <a:gd name="connsiteX40" fmla="*/ 1426369 w 1521619"/>
                        <a:gd name="connsiteY40" fmla="*/ 635794 h 969169"/>
                        <a:gd name="connsiteX41" fmla="*/ 1478757 w 1521619"/>
                        <a:gd name="connsiteY41" fmla="*/ 619125 h 969169"/>
                        <a:gd name="connsiteX42" fmla="*/ 1464469 w 1521619"/>
                        <a:gd name="connsiteY42" fmla="*/ 657225 h 969169"/>
                        <a:gd name="connsiteX43" fmla="*/ 1438275 w 1521619"/>
                        <a:gd name="connsiteY43" fmla="*/ 683419 h 969169"/>
                        <a:gd name="connsiteX44" fmla="*/ 1485900 w 1521619"/>
                        <a:gd name="connsiteY44" fmla="*/ 719138 h 969169"/>
                        <a:gd name="connsiteX45" fmla="*/ 1521619 w 1521619"/>
                        <a:gd name="connsiteY45" fmla="*/ 738188 h 969169"/>
                        <a:gd name="connsiteX46" fmla="*/ 1502569 w 1521619"/>
                        <a:gd name="connsiteY46" fmla="*/ 764382 h 969169"/>
                        <a:gd name="connsiteX47" fmla="*/ 1473994 w 1521619"/>
                        <a:gd name="connsiteY47" fmla="*/ 759619 h 969169"/>
                        <a:gd name="connsiteX48" fmla="*/ 1512094 w 1521619"/>
                        <a:gd name="connsiteY48" fmla="*/ 814388 h 969169"/>
                        <a:gd name="connsiteX49" fmla="*/ 1473994 w 1521619"/>
                        <a:gd name="connsiteY49" fmla="*/ 816769 h 969169"/>
                        <a:gd name="connsiteX50" fmla="*/ 1438275 w 1521619"/>
                        <a:gd name="connsiteY50" fmla="*/ 812007 h 969169"/>
                        <a:gd name="connsiteX51" fmla="*/ 1362075 w 1521619"/>
                        <a:gd name="connsiteY51" fmla="*/ 795338 h 969169"/>
                        <a:gd name="connsiteX52" fmla="*/ 1328738 w 1521619"/>
                        <a:gd name="connsiteY52" fmla="*/ 790575 h 969169"/>
                        <a:gd name="connsiteX53" fmla="*/ 1309688 w 1521619"/>
                        <a:gd name="connsiteY53" fmla="*/ 723900 h 969169"/>
                        <a:gd name="connsiteX54" fmla="*/ 1171575 w 1521619"/>
                        <a:gd name="connsiteY54" fmla="*/ 757238 h 969169"/>
                        <a:gd name="connsiteX55" fmla="*/ 1135857 w 1521619"/>
                        <a:gd name="connsiteY55" fmla="*/ 738188 h 969169"/>
                        <a:gd name="connsiteX56" fmla="*/ 1052513 w 1521619"/>
                        <a:gd name="connsiteY56" fmla="*/ 645319 h 969169"/>
                        <a:gd name="connsiteX57" fmla="*/ 1019175 w 1521619"/>
                        <a:gd name="connsiteY57" fmla="*/ 654844 h 969169"/>
                        <a:gd name="connsiteX58" fmla="*/ 983457 w 1521619"/>
                        <a:gd name="connsiteY58" fmla="*/ 652463 h 969169"/>
                        <a:gd name="connsiteX59" fmla="*/ 888207 w 1521619"/>
                        <a:gd name="connsiteY59" fmla="*/ 621507 h 969169"/>
                        <a:gd name="connsiteX60" fmla="*/ 831057 w 1521619"/>
                        <a:gd name="connsiteY60" fmla="*/ 673894 h 969169"/>
                        <a:gd name="connsiteX61" fmla="*/ 783432 w 1521619"/>
                        <a:gd name="connsiteY61" fmla="*/ 611982 h 969169"/>
                        <a:gd name="connsiteX62" fmla="*/ 738188 w 1521619"/>
                        <a:gd name="connsiteY62" fmla="*/ 597694 h 969169"/>
                        <a:gd name="connsiteX63" fmla="*/ 733425 w 1521619"/>
                        <a:gd name="connsiteY63" fmla="*/ 552450 h 969169"/>
                        <a:gd name="connsiteX64" fmla="*/ 697707 w 1521619"/>
                        <a:gd name="connsiteY64" fmla="*/ 533400 h 969169"/>
                        <a:gd name="connsiteX65" fmla="*/ 654844 w 1521619"/>
                        <a:gd name="connsiteY65" fmla="*/ 542925 h 969169"/>
                        <a:gd name="connsiteX66" fmla="*/ 642938 w 1521619"/>
                        <a:gd name="connsiteY66" fmla="*/ 564357 h 969169"/>
                        <a:gd name="connsiteX67" fmla="*/ 581025 w 1521619"/>
                        <a:gd name="connsiteY67" fmla="*/ 550069 h 969169"/>
                        <a:gd name="connsiteX68" fmla="*/ 471488 w 1521619"/>
                        <a:gd name="connsiteY68" fmla="*/ 626269 h 969169"/>
                        <a:gd name="connsiteX69" fmla="*/ 504825 w 1521619"/>
                        <a:gd name="connsiteY69" fmla="*/ 728663 h 969169"/>
                        <a:gd name="connsiteX70" fmla="*/ 526257 w 1521619"/>
                        <a:gd name="connsiteY70" fmla="*/ 797719 h 969169"/>
                        <a:gd name="connsiteX71" fmla="*/ 445294 w 1521619"/>
                        <a:gd name="connsiteY71" fmla="*/ 859632 h 969169"/>
                        <a:gd name="connsiteX72" fmla="*/ 316707 w 1521619"/>
                        <a:gd name="connsiteY72" fmla="*/ 964407 h 969169"/>
                        <a:gd name="connsiteX73" fmla="*/ 250032 w 1521619"/>
                        <a:gd name="connsiteY73" fmla="*/ 912019 h 969169"/>
                        <a:gd name="connsiteX74" fmla="*/ 207169 w 1521619"/>
                        <a:gd name="connsiteY74" fmla="*/ 969169 h 969169"/>
                        <a:gd name="connsiteX75" fmla="*/ 0 w 1521619"/>
                        <a:gd name="connsiteY75" fmla="*/ 962025 h 969169"/>
                        <a:gd name="connsiteX76" fmla="*/ 0 w 1521619"/>
                        <a:gd name="connsiteY76" fmla="*/ 766763 h 969169"/>
                        <a:gd name="connsiteX77" fmla="*/ 59532 w 1521619"/>
                        <a:gd name="connsiteY77" fmla="*/ 719138 h 969169"/>
                        <a:gd name="connsiteX78" fmla="*/ 35719 w 1521619"/>
                        <a:gd name="connsiteY78" fmla="*/ 678657 h 969169"/>
                        <a:gd name="connsiteX79" fmla="*/ 73819 w 1521619"/>
                        <a:gd name="connsiteY79" fmla="*/ 642938 h 969169"/>
                        <a:gd name="connsiteX80" fmla="*/ 40482 w 1521619"/>
                        <a:gd name="connsiteY80" fmla="*/ 592932 h 969169"/>
                        <a:gd name="connsiteX81" fmla="*/ 71438 w 1521619"/>
                        <a:gd name="connsiteY81" fmla="*/ 554832 h 969169"/>
                        <a:gd name="connsiteX82" fmla="*/ 14288 w 1521619"/>
                        <a:gd name="connsiteY82" fmla="*/ 481013 h 969169"/>
                        <a:gd name="connsiteX83" fmla="*/ 71438 w 1521619"/>
                        <a:gd name="connsiteY83" fmla="*/ 433388 h 969169"/>
                        <a:gd name="connsiteX84" fmla="*/ 66675 w 1521619"/>
                        <a:gd name="connsiteY84" fmla="*/ 395288 h 969169"/>
                        <a:gd name="connsiteX85" fmla="*/ 30957 w 1521619"/>
                        <a:gd name="connsiteY85" fmla="*/ 383382 h 969169"/>
                        <a:gd name="connsiteX86" fmla="*/ 66675 w 1521619"/>
                        <a:gd name="connsiteY86" fmla="*/ 340519 h 969169"/>
                        <a:gd name="connsiteX87" fmla="*/ 57150 w 1521619"/>
                        <a:gd name="connsiteY87" fmla="*/ 280988 h 969169"/>
                        <a:gd name="connsiteX88" fmla="*/ 50007 w 1521619"/>
                        <a:gd name="connsiteY88" fmla="*/ 240507 h 969169"/>
                        <a:gd name="connsiteX0" fmla="*/ 50007 w 1521619"/>
                        <a:gd name="connsiteY0" fmla="*/ 240507 h 969169"/>
                        <a:gd name="connsiteX1" fmla="*/ 345282 w 1521619"/>
                        <a:gd name="connsiteY1" fmla="*/ 130969 h 969169"/>
                        <a:gd name="connsiteX2" fmla="*/ 397669 w 1521619"/>
                        <a:gd name="connsiteY2" fmla="*/ 142875 h 969169"/>
                        <a:gd name="connsiteX3" fmla="*/ 459582 w 1521619"/>
                        <a:gd name="connsiteY3" fmla="*/ 50007 h 969169"/>
                        <a:gd name="connsiteX4" fmla="*/ 552450 w 1521619"/>
                        <a:gd name="connsiteY4" fmla="*/ 0 h 969169"/>
                        <a:gd name="connsiteX5" fmla="*/ 647700 w 1521619"/>
                        <a:gd name="connsiteY5" fmla="*/ 4763 h 969169"/>
                        <a:gd name="connsiteX6" fmla="*/ 747713 w 1521619"/>
                        <a:gd name="connsiteY6" fmla="*/ 57150 h 969169"/>
                        <a:gd name="connsiteX7" fmla="*/ 781050 w 1521619"/>
                        <a:gd name="connsiteY7" fmla="*/ 73819 h 969169"/>
                        <a:gd name="connsiteX8" fmla="*/ 831057 w 1521619"/>
                        <a:gd name="connsiteY8" fmla="*/ 23813 h 969169"/>
                        <a:gd name="connsiteX9" fmla="*/ 876300 w 1521619"/>
                        <a:gd name="connsiteY9" fmla="*/ 11907 h 969169"/>
                        <a:gd name="connsiteX10" fmla="*/ 921544 w 1521619"/>
                        <a:gd name="connsiteY10" fmla="*/ 52388 h 969169"/>
                        <a:gd name="connsiteX11" fmla="*/ 938213 w 1521619"/>
                        <a:gd name="connsiteY11" fmla="*/ 102394 h 969169"/>
                        <a:gd name="connsiteX12" fmla="*/ 933450 w 1521619"/>
                        <a:gd name="connsiteY12" fmla="*/ 154782 h 969169"/>
                        <a:gd name="connsiteX13" fmla="*/ 981075 w 1521619"/>
                        <a:gd name="connsiteY13" fmla="*/ 209550 h 969169"/>
                        <a:gd name="connsiteX14" fmla="*/ 992982 w 1521619"/>
                        <a:gd name="connsiteY14" fmla="*/ 228600 h 969169"/>
                        <a:gd name="connsiteX15" fmla="*/ 973932 w 1521619"/>
                        <a:gd name="connsiteY15" fmla="*/ 288132 h 969169"/>
                        <a:gd name="connsiteX16" fmla="*/ 978694 w 1521619"/>
                        <a:gd name="connsiteY16" fmla="*/ 316707 h 969169"/>
                        <a:gd name="connsiteX17" fmla="*/ 947738 w 1521619"/>
                        <a:gd name="connsiteY17" fmla="*/ 345282 h 969169"/>
                        <a:gd name="connsiteX18" fmla="*/ 973932 w 1521619"/>
                        <a:gd name="connsiteY18" fmla="*/ 390525 h 969169"/>
                        <a:gd name="connsiteX19" fmla="*/ 995363 w 1521619"/>
                        <a:gd name="connsiteY19" fmla="*/ 397669 h 969169"/>
                        <a:gd name="connsiteX20" fmla="*/ 1023938 w 1521619"/>
                        <a:gd name="connsiteY20" fmla="*/ 366713 h 969169"/>
                        <a:gd name="connsiteX21" fmla="*/ 1064419 w 1521619"/>
                        <a:gd name="connsiteY21" fmla="*/ 404813 h 969169"/>
                        <a:gd name="connsiteX22" fmla="*/ 1116807 w 1521619"/>
                        <a:gd name="connsiteY22" fmla="*/ 345282 h 969169"/>
                        <a:gd name="connsiteX23" fmla="*/ 1166813 w 1521619"/>
                        <a:gd name="connsiteY23" fmla="*/ 321469 h 969169"/>
                        <a:gd name="connsiteX24" fmla="*/ 1209675 w 1521619"/>
                        <a:gd name="connsiteY24" fmla="*/ 357188 h 969169"/>
                        <a:gd name="connsiteX25" fmla="*/ 1228725 w 1521619"/>
                        <a:gd name="connsiteY25" fmla="*/ 388144 h 969169"/>
                        <a:gd name="connsiteX26" fmla="*/ 1231107 w 1521619"/>
                        <a:gd name="connsiteY26" fmla="*/ 435769 h 969169"/>
                        <a:gd name="connsiteX27" fmla="*/ 1271588 w 1521619"/>
                        <a:gd name="connsiteY27" fmla="*/ 445294 h 969169"/>
                        <a:gd name="connsiteX28" fmla="*/ 1281113 w 1521619"/>
                        <a:gd name="connsiteY28" fmla="*/ 383382 h 969169"/>
                        <a:gd name="connsiteX29" fmla="*/ 1316832 w 1521619"/>
                        <a:gd name="connsiteY29" fmla="*/ 366713 h 969169"/>
                        <a:gd name="connsiteX30" fmla="*/ 1388269 w 1521619"/>
                        <a:gd name="connsiteY30" fmla="*/ 414338 h 969169"/>
                        <a:gd name="connsiteX31" fmla="*/ 1416844 w 1521619"/>
                        <a:gd name="connsiteY31" fmla="*/ 421482 h 969169"/>
                        <a:gd name="connsiteX32" fmla="*/ 1464469 w 1521619"/>
                        <a:gd name="connsiteY32" fmla="*/ 376238 h 969169"/>
                        <a:gd name="connsiteX33" fmla="*/ 1507332 w 1521619"/>
                        <a:gd name="connsiteY33" fmla="*/ 421482 h 969169"/>
                        <a:gd name="connsiteX34" fmla="*/ 1493044 w 1521619"/>
                        <a:gd name="connsiteY34" fmla="*/ 447675 h 969169"/>
                        <a:gd name="connsiteX35" fmla="*/ 1454944 w 1521619"/>
                        <a:gd name="connsiteY35" fmla="*/ 466725 h 969169"/>
                        <a:gd name="connsiteX36" fmla="*/ 1421607 w 1521619"/>
                        <a:gd name="connsiteY36" fmla="*/ 507207 h 969169"/>
                        <a:gd name="connsiteX37" fmla="*/ 1388269 w 1521619"/>
                        <a:gd name="connsiteY37" fmla="*/ 547688 h 969169"/>
                        <a:gd name="connsiteX38" fmla="*/ 1388269 w 1521619"/>
                        <a:gd name="connsiteY38" fmla="*/ 547688 h 969169"/>
                        <a:gd name="connsiteX39" fmla="*/ 1416844 w 1521619"/>
                        <a:gd name="connsiteY39" fmla="*/ 588169 h 969169"/>
                        <a:gd name="connsiteX40" fmla="*/ 1426369 w 1521619"/>
                        <a:gd name="connsiteY40" fmla="*/ 635794 h 969169"/>
                        <a:gd name="connsiteX41" fmla="*/ 1478757 w 1521619"/>
                        <a:gd name="connsiteY41" fmla="*/ 619125 h 969169"/>
                        <a:gd name="connsiteX42" fmla="*/ 1464469 w 1521619"/>
                        <a:gd name="connsiteY42" fmla="*/ 657225 h 969169"/>
                        <a:gd name="connsiteX43" fmla="*/ 1438275 w 1521619"/>
                        <a:gd name="connsiteY43" fmla="*/ 683419 h 969169"/>
                        <a:gd name="connsiteX44" fmla="*/ 1485900 w 1521619"/>
                        <a:gd name="connsiteY44" fmla="*/ 719138 h 969169"/>
                        <a:gd name="connsiteX45" fmla="*/ 1521619 w 1521619"/>
                        <a:gd name="connsiteY45" fmla="*/ 738188 h 969169"/>
                        <a:gd name="connsiteX46" fmla="*/ 1502569 w 1521619"/>
                        <a:gd name="connsiteY46" fmla="*/ 764382 h 969169"/>
                        <a:gd name="connsiteX47" fmla="*/ 1473994 w 1521619"/>
                        <a:gd name="connsiteY47" fmla="*/ 759619 h 969169"/>
                        <a:gd name="connsiteX48" fmla="*/ 1512094 w 1521619"/>
                        <a:gd name="connsiteY48" fmla="*/ 814388 h 969169"/>
                        <a:gd name="connsiteX49" fmla="*/ 1473994 w 1521619"/>
                        <a:gd name="connsiteY49" fmla="*/ 816769 h 969169"/>
                        <a:gd name="connsiteX50" fmla="*/ 1438275 w 1521619"/>
                        <a:gd name="connsiteY50" fmla="*/ 812007 h 969169"/>
                        <a:gd name="connsiteX51" fmla="*/ 1362075 w 1521619"/>
                        <a:gd name="connsiteY51" fmla="*/ 795338 h 969169"/>
                        <a:gd name="connsiteX52" fmla="*/ 1328738 w 1521619"/>
                        <a:gd name="connsiteY52" fmla="*/ 790575 h 969169"/>
                        <a:gd name="connsiteX53" fmla="*/ 1309688 w 1521619"/>
                        <a:gd name="connsiteY53" fmla="*/ 723900 h 969169"/>
                        <a:gd name="connsiteX54" fmla="*/ 1171575 w 1521619"/>
                        <a:gd name="connsiteY54" fmla="*/ 757238 h 969169"/>
                        <a:gd name="connsiteX55" fmla="*/ 1135857 w 1521619"/>
                        <a:gd name="connsiteY55" fmla="*/ 738188 h 969169"/>
                        <a:gd name="connsiteX56" fmla="*/ 1052513 w 1521619"/>
                        <a:gd name="connsiteY56" fmla="*/ 645319 h 969169"/>
                        <a:gd name="connsiteX57" fmla="*/ 1019175 w 1521619"/>
                        <a:gd name="connsiteY57" fmla="*/ 654844 h 969169"/>
                        <a:gd name="connsiteX58" fmla="*/ 983457 w 1521619"/>
                        <a:gd name="connsiteY58" fmla="*/ 652463 h 969169"/>
                        <a:gd name="connsiteX59" fmla="*/ 888207 w 1521619"/>
                        <a:gd name="connsiteY59" fmla="*/ 621507 h 969169"/>
                        <a:gd name="connsiteX60" fmla="*/ 831057 w 1521619"/>
                        <a:gd name="connsiteY60" fmla="*/ 673894 h 969169"/>
                        <a:gd name="connsiteX61" fmla="*/ 783432 w 1521619"/>
                        <a:gd name="connsiteY61" fmla="*/ 611982 h 969169"/>
                        <a:gd name="connsiteX62" fmla="*/ 738188 w 1521619"/>
                        <a:gd name="connsiteY62" fmla="*/ 597694 h 969169"/>
                        <a:gd name="connsiteX63" fmla="*/ 733425 w 1521619"/>
                        <a:gd name="connsiteY63" fmla="*/ 552450 h 969169"/>
                        <a:gd name="connsiteX64" fmla="*/ 697707 w 1521619"/>
                        <a:gd name="connsiteY64" fmla="*/ 533400 h 969169"/>
                        <a:gd name="connsiteX65" fmla="*/ 654844 w 1521619"/>
                        <a:gd name="connsiteY65" fmla="*/ 542925 h 969169"/>
                        <a:gd name="connsiteX66" fmla="*/ 642938 w 1521619"/>
                        <a:gd name="connsiteY66" fmla="*/ 564357 h 969169"/>
                        <a:gd name="connsiteX67" fmla="*/ 581025 w 1521619"/>
                        <a:gd name="connsiteY67" fmla="*/ 550069 h 969169"/>
                        <a:gd name="connsiteX68" fmla="*/ 471488 w 1521619"/>
                        <a:gd name="connsiteY68" fmla="*/ 626269 h 969169"/>
                        <a:gd name="connsiteX69" fmla="*/ 504825 w 1521619"/>
                        <a:gd name="connsiteY69" fmla="*/ 728663 h 969169"/>
                        <a:gd name="connsiteX70" fmla="*/ 526257 w 1521619"/>
                        <a:gd name="connsiteY70" fmla="*/ 797719 h 969169"/>
                        <a:gd name="connsiteX71" fmla="*/ 445294 w 1521619"/>
                        <a:gd name="connsiteY71" fmla="*/ 859632 h 969169"/>
                        <a:gd name="connsiteX72" fmla="*/ 316707 w 1521619"/>
                        <a:gd name="connsiteY72" fmla="*/ 964407 h 969169"/>
                        <a:gd name="connsiteX73" fmla="*/ 250032 w 1521619"/>
                        <a:gd name="connsiteY73" fmla="*/ 912019 h 969169"/>
                        <a:gd name="connsiteX74" fmla="*/ 207169 w 1521619"/>
                        <a:gd name="connsiteY74" fmla="*/ 969169 h 969169"/>
                        <a:gd name="connsiteX75" fmla="*/ 0 w 1521619"/>
                        <a:gd name="connsiteY75" fmla="*/ 962025 h 969169"/>
                        <a:gd name="connsiteX76" fmla="*/ 0 w 1521619"/>
                        <a:gd name="connsiteY76" fmla="*/ 766763 h 969169"/>
                        <a:gd name="connsiteX77" fmla="*/ 59532 w 1521619"/>
                        <a:gd name="connsiteY77" fmla="*/ 719138 h 969169"/>
                        <a:gd name="connsiteX78" fmla="*/ 35719 w 1521619"/>
                        <a:gd name="connsiteY78" fmla="*/ 678657 h 969169"/>
                        <a:gd name="connsiteX79" fmla="*/ 73819 w 1521619"/>
                        <a:gd name="connsiteY79" fmla="*/ 642938 h 969169"/>
                        <a:gd name="connsiteX80" fmla="*/ 40482 w 1521619"/>
                        <a:gd name="connsiteY80" fmla="*/ 592932 h 969169"/>
                        <a:gd name="connsiteX81" fmla="*/ 71438 w 1521619"/>
                        <a:gd name="connsiteY81" fmla="*/ 554832 h 969169"/>
                        <a:gd name="connsiteX82" fmla="*/ 14288 w 1521619"/>
                        <a:gd name="connsiteY82" fmla="*/ 481013 h 969169"/>
                        <a:gd name="connsiteX83" fmla="*/ 71438 w 1521619"/>
                        <a:gd name="connsiteY83" fmla="*/ 433388 h 969169"/>
                        <a:gd name="connsiteX84" fmla="*/ 66675 w 1521619"/>
                        <a:gd name="connsiteY84" fmla="*/ 395288 h 969169"/>
                        <a:gd name="connsiteX85" fmla="*/ 30957 w 1521619"/>
                        <a:gd name="connsiteY85" fmla="*/ 383382 h 969169"/>
                        <a:gd name="connsiteX86" fmla="*/ 66675 w 1521619"/>
                        <a:gd name="connsiteY86" fmla="*/ 340519 h 969169"/>
                        <a:gd name="connsiteX87" fmla="*/ 30956 w 1521619"/>
                        <a:gd name="connsiteY87" fmla="*/ 280988 h 969169"/>
                        <a:gd name="connsiteX88" fmla="*/ 50007 w 1521619"/>
                        <a:gd name="connsiteY88" fmla="*/ 240507 h 969169"/>
                        <a:gd name="connsiteX0" fmla="*/ 50007 w 1521619"/>
                        <a:gd name="connsiteY0" fmla="*/ 240507 h 969169"/>
                        <a:gd name="connsiteX1" fmla="*/ 345282 w 1521619"/>
                        <a:gd name="connsiteY1" fmla="*/ 130969 h 969169"/>
                        <a:gd name="connsiteX2" fmla="*/ 397669 w 1521619"/>
                        <a:gd name="connsiteY2" fmla="*/ 142875 h 969169"/>
                        <a:gd name="connsiteX3" fmla="*/ 459582 w 1521619"/>
                        <a:gd name="connsiteY3" fmla="*/ 50007 h 969169"/>
                        <a:gd name="connsiteX4" fmla="*/ 552450 w 1521619"/>
                        <a:gd name="connsiteY4" fmla="*/ 0 h 969169"/>
                        <a:gd name="connsiteX5" fmla="*/ 647700 w 1521619"/>
                        <a:gd name="connsiteY5" fmla="*/ 4763 h 969169"/>
                        <a:gd name="connsiteX6" fmla="*/ 747713 w 1521619"/>
                        <a:gd name="connsiteY6" fmla="*/ 57150 h 969169"/>
                        <a:gd name="connsiteX7" fmla="*/ 781050 w 1521619"/>
                        <a:gd name="connsiteY7" fmla="*/ 73819 h 969169"/>
                        <a:gd name="connsiteX8" fmla="*/ 831057 w 1521619"/>
                        <a:gd name="connsiteY8" fmla="*/ 23813 h 969169"/>
                        <a:gd name="connsiteX9" fmla="*/ 876300 w 1521619"/>
                        <a:gd name="connsiteY9" fmla="*/ 11907 h 969169"/>
                        <a:gd name="connsiteX10" fmla="*/ 921544 w 1521619"/>
                        <a:gd name="connsiteY10" fmla="*/ 52388 h 969169"/>
                        <a:gd name="connsiteX11" fmla="*/ 938213 w 1521619"/>
                        <a:gd name="connsiteY11" fmla="*/ 102394 h 969169"/>
                        <a:gd name="connsiteX12" fmla="*/ 933450 w 1521619"/>
                        <a:gd name="connsiteY12" fmla="*/ 154782 h 969169"/>
                        <a:gd name="connsiteX13" fmla="*/ 981075 w 1521619"/>
                        <a:gd name="connsiteY13" fmla="*/ 209550 h 969169"/>
                        <a:gd name="connsiteX14" fmla="*/ 992982 w 1521619"/>
                        <a:gd name="connsiteY14" fmla="*/ 228600 h 969169"/>
                        <a:gd name="connsiteX15" fmla="*/ 973932 w 1521619"/>
                        <a:gd name="connsiteY15" fmla="*/ 288132 h 969169"/>
                        <a:gd name="connsiteX16" fmla="*/ 978694 w 1521619"/>
                        <a:gd name="connsiteY16" fmla="*/ 316707 h 969169"/>
                        <a:gd name="connsiteX17" fmla="*/ 947738 w 1521619"/>
                        <a:gd name="connsiteY17" fmla="*/ 345282 h 969169"/>
                        <a:gd name="connsiteX18" fmla="*/ 973932 w 1521619"/>
                        <a:gd name="connsiteY18" fmla="*/ 390525 h 969169"/>
                        <a:gd name="connsiteX19" fmla="*/ 995363 w 1521619"/>
                        <a:gd name="connsiteY19" fmla="*/ 397669 h 969169"/>
                        <a:gd name="connsiteX20" fmla="*/ 1023938 w 1521619"/>
                        <a:gd name="connsiteY20" fmla="*/ 366713 h 969169"/>
                        <a:gd name="connsiteX21" fmla="*/ 1064419 w 1521619"/>
                        <a:gd name="connsiteY21" fmla="*/ 404813 h 969169"/>
                        <a:gd name="connsiteX22" fmla="*/ 1116807 w 1521619"/>
                        <a:gd name="connsiteY22" fmla="*/ 345282 h 969169"/>
                        <a:gd name="connsiteX23" fmla="*/ 1166813 w 1521619"/>
                        <a:gd name="connsiteY23" fmla="*/ 321469 h 969169"/>
                        <a:gd name="connsiteX24" fmla="*/ 1209675 w 1521619"/>
                        <a:gd name="connsiteY24" fmla="*/ 357188 h 969169"/>
                        <a:gd name="connsiteX25" fmla="*/ 1228725 w 1521619"/>
                        <a:gd name="connsiteY25" fmla="*/ 388144 h 969169"/>
                        <a:gd name="connsiteX26" fmla="*/ 1231107 w 1521619"/>
                        <a:gd name="connsiteY26" fmla="*/ 435769 h 969169"/>
                        <a:gd name="connsiteX27" fmla="*/ 1271588 w 1521619"/>
                        <a:gd name="connsiteY27" fmla="*/ 445294 h 969169"/>
                        <a:gd name="connsiteX28" fmla="*/ 1281113 w 1521619"/>
                        <a:gd name="connsiteY28" fmla="*/ 383382 h 969169"/>
                        <a:gd name="connsiteX29" fmla="*/ 1316832 w 1521619"/>
                        <a:gd name="connsiteY29" fmla="*/ 366713 h 969169"/>
                        <a:gd name="connsiteX30" fmla="*/ 1388269 w 1521619"/>
                        <a:gd name="connsiteY30" fmla="*/ 414338 h 969169"/>
                        <a:gd name="connsiteX31" fmla="*/ 1416844 w 1521619"/>
                        <a:gd name="connsiteY31" fmla="*/ 421482 h 969169"/>
                        <a:gd name="connsiteX32" fmla="*/ 1464469 w 1521619"/>
                        <a:gd name="connsiteY32" fmla="*/ 376238 h 969169"/>
                        <a:gd name="connsiteX33" fmla="*/ 1507332 w 1521619"/>
                        <a:gd name="connsiteY33" fmla="*/ 421482 h 969169"/>
                        <a:gd name="connsiteX34" fmla="*/ 1493044 w 1521619"/>
                        <a:gd name="connsiteY34" fmla="*/ 447675 h 969169"/>
                        <a:gd name="connsiteX35" fmla="*/ 1454944 w 1521619"/>
                        <a:gd name="connsiteY35" fmla="*/ 466725 h 969169"/>
                        <a:gd name="connsiteX36" fmla="*/ 1421607 w 1521619"/>
                        <a:gd name="connsiteY36" fmla="*/ 507207 h 969169"/>
                        <a:gd name="connsiteX37" fmla="*/ 1388269 w 1521619"/>
                        <a:gd name="connsiteY37" fmla="*/ 547688 h 969169"/>
                        <a:gd name="connsiteX38" fmla="*/ 1388269 w 1521619"/>
                        <a:gd name="connsiteY38" fmla="*/ 547688 h 969169"/>
                        <a:gd name="connsiteX39" fmla="*/ 1416844 w 1521619"/>
                        <a:gd name="connsiteY39" fmla="*/ 588169 h 969169"/>
                        <a:gd name="connsiteX40" fmla="*/ 1426369 w 1521619"/>
                        <a:gd name="connsiteY40" fmla="*/ 635794 h 969169"/>
                        <a:gd name="connsiteX41" fmla="*/ 1478757 w 1521619"/>
                        <a:gd name="connsiteY41" fmla="*/ 619125 h 969169"/>
                        <a:gd name="connsiteX42" fmla="*/ 1464469 w 1521619"/>
                        <a:gd name="connsiteY42" fmla="*/ 657225 h 969169"/>
                        <a:gd name="connsiteX43" fmla="*/ 1438275 w 1521619"/>
                        <a:gd name="connsiteY43" fmla="*/ 683419 h 969169"/>
                        <a:gd name="connsiteX44" fmla="*/ 1485900 w 1521619"/>
                        <a:gd name="connsiteY44" fmla="*/ 719138 h 969169"/>
                        <a:gd name="connsiteX45" fmla="*/ 1521619 w 1521619"/>
                        <a:gd name="connsiteY45" fmla="*/ 738188 h 969169"/>
                        <a:gd name="connsiteX46" fmla="*/ 1502569 w 1521619"/>
                        <a:gd name="connsiteY46" fmla="*/ 764382 h 969169"/>
                        <a:gd name="connsiteX47" fmla="*/ 1473994 w 1521619"/>
                        <a:gd name="connsiteY47" fmla="*/ 759619 h 969169"/>
                        <a:gd name="connsiteX48" fmla="*/ 1512094 w 1521619"/>
                        <a:gd name="connsiteY48" fmla="*/ 814388 h 969169"/>
                        <a:gd name="connsiteX49" fmla="*/ 1473994 w 1521619"/>
                        <a:gd name="connsiteY49" fmla="*/ 816769 h 969169"/>
                        <a:gd name="connsiteX50" fmla="*/ 1438275 w 1521619"/>
                        <a:gd name="connsiteY50" fmla="*/ 812007 h 969169"/>
                        <a:gd name="connsiteX51" fmla="*/ 1362075 w 1521619"/>
                        <a:gd name="connsiteY51" fmla="*/ 795338 h 969169"/>
                        <a:gd name="connsiteX52" fmla="*/ 1328738 w 1521619"/>
                        <a:gd name="connsiteY52" fmla="*/ 790575 h 969169"/>
                        <a:gd name="connsiteX53" fmla="*/ 1309688 w 1521619"/>
                        <a:gd name="connsiteY53" fmla="*/ 723900 h 969169"/>
                        <a:gd name="connsiteX54" fmla="*/ 1171575 w 1521619"/>
                        <a:gd name="connsiteY54" fmla="*/ 757238 h 969169"/>
                        <a:gd name="connsiteX55" fmla="*/ 1135857 w 1521619"/>
                        <a:gd name="connsiteY55" fmla="*/ 738188 h 969169"/>
                        <a:gd name="connsiteX56" fmla="*/ 1052513 w 1521619"/>
                        <a:gd name="connsiteY56" fmla="*/ 645319 h 969169"/>
                        <a:gd name="connsiteX57" fmla="*/ 1019175 w 1521619"/>
                        <a:gd name="connsiteY57" fmla="*/ 654844 h 969169"/>
                        <a:gd name="connsiteX58" fmla="*/ 983457 w 1521619"/>
                        <a:gd name="connsiteY58" fmla="*/ 652463 h 969169"/>
                        <a:gd name="connsiteX59" fmla="*/ 888207 w 1521619"/>
                        <a:gd name="connsiteY59" fmla="*/ 621507 h 969169"/>
                        <a:gd name="connsiteX60" fmla="*/ 831057 w 1521619"/>
                        <a:gd name="connsiteY60" fmla="*/ 673894 h 969169"/>
                        <a:gd name="connsiteX61" fmla="*/ 783432 w 1521619"/>
                        <a:gd name="connsiteY61" fmla="*/ 611982 h 969169"/>
                        <a:gd name="connsiteX62" fmla="*/ 738188 w 1521619"/>
                        <a:gd name="connsiteY62" fmla="*/ 597694 h 969169"/>
                        <a:gd name="connsiteX63" fmla="*/ 733425 w 1521619"/>
                        <a:gd name="connsiteY63" fmla="*/ 552450 h 969169"/>
                        <a:gd name="connsiteX64" fmla="*/ 697707 w 1521619"/>
                        <a:gd name="connsiteY64" fmla="*/ 533400 h 969169"/>
                        <a:gd name="connsiteX65" fmla="*/ 654844 w 1521619"/>
                        <a:gd name="connsiteY65" fmla="*/ 542925 h 969169"/>
                        <a:gd name="connsiteX66" fmla="*/ 642938 w 1521619"/>
                        <a:gd name="connsiteY66" fmla="*/ 564357 h 969169"/>
                        <a:gd name="connsiteX67" fmla="*/ 581025 w 1521619"/>
                        <a:gd name="connsiteY67" fmla="*/ 550069 h 969169"/>
                        <a:gd name="connsiteX68" fmla="*/ 471488 w 1521619"/>
                        <a:gd name="connsiteY68" fmla="*/ 626269 h 969169"/>
                        <a:gd name="connsiteX69" fmla="*/ 504825 w 1521619"/>
                        <a:gd name="connsiteY69" fmla="*/ 728663 h 969169"/>
                        <a:gd name="connsiteX70" fmla="*/ 526257 w 1521619"/>
                        <a:gd name="connsiteY70" fmla="*/ 797719 h 969169"/>
                        <a:gd name="connsiteX71" fmla="*/ 445294 w 1521619"/>
                        <a:gd name="connsiteY71" fmla="*/ 859632 h 969169"/>
                        <a:gd name="connsiteX72" fmla="*/ 316707 w 1521619"/>
                        <a:gd name="connsiteY72" fmla="*/ 964407 h 969169"/>
                        <a:gd name="connsiteX73" fmla="*/ 250032 w 1521619"/>
                        <a:gd name="connsiteY73" fmla="*/ 912019 h 969169"/>
                        <a:gd name="connsiteX74" fmla="*/ 207169 w 1521619"/>
                        <a:gd name="connsiteY74" fmla="*/ 969169 h 969169"/>
                        <a:gd name="connsiteX75" fmla="*/ 0 w 1521619"/>
                        <a:gd name="connsiteY75" fmla="*/ 962025 h 969169"/>
                        <a:gd name="connsiteX76" fmla="*/ 0 w 1521619"/>
                        <a:gd name="connsiteY76" fmla="*/ 766763 h 969169"/>
                        <a:gd name="connsiteX77" fmla="*/ 59532 w 1521619"/>
                        <a:gd name="connsiteY77" fmla="*/ 719138 h 969169"/>
                        <a:gd name="connsiteX78" fmla="*/ 35719 w 1521619"/>
                        <a:gd name="connsiteY78" fmla="*/ 678657 h 969169"/>
                        <a:gd name="connsiteX79" fmla="*/ 73819 w 1521619"/>
                        <a:gd name="connsiteY79" fmla="*/ 642938 h 969169"/>
                        <a:gd name="connsiteX80" fmla="*/ 40482 w 1521619"/>
                        <a:gd name="connsiteY80" fmla="*/ 592932 h 969169"/>
                        <a:gd name="connsiteX81" fmla="*/ 71438 w 1521619"/>
                        <a:gd name="connsiteY81" fmla="*/ 554832 h 969169"/>
                        <a:gd name="connsiteX82" fmla="*/ 14288 w 1521619"/>
                        <a:gd name="connsiteY82" fmla="*/ 481013 h 969169"/>
                        <a:gd name="connsiteX83" fmla="*/ 71438 w 1521619"/>
                        <a:gd name="connsiteY83" fmla="*/ 433388 h 969169"/>
                        <a:gd name="connsiteX84" fmla="*/ 66675 w 1521619"/>
                        <a:gd name="connsiteY84" fmla="*/ 395288 h 969169"/>
                        <a:gd name="connsiteX85" fmla="*/ 30957 w 1521619"/>
                        <a:gd name="connsiteY85" fmla="*/ 383382 h 969169"/>
                        <a:gd name="connsiteX86" fmla="*/ 66675 w 1521619"/>
                        <a:gd name="connsiteY86" fmla="*/ 340519 h 969169"/>
                        <a:gd name="connsiteX87" fmla="*/ 28575 w 1521619"/>
                        <a:gd name="connsiteY87" fmla="*/ 273845 h 969169"/>
                        <a:gd name="connsiteX88" fmla="*/ 50007 w 1521619"/>
                        <a:gd name="connsiteY88" fmla="*/ 240507 h 969169"/>
                        <a:gd name="connsiteX0" fmla="*/ 54769 w 1526381"/>
                        <a:gd name="connsiteY0" fmla="*/ 240507 h 969169"/>
                        <a:gd name="connsiteX1" fmla="*/ 350044 w 1526381"/>
                        <a:gd name="connsiteY1" fmla="*/ 130969 h 969169"/>
                        <a:gd name="connsiteX2" fmla="*/ 402431 w 1526381"/>
                        <a:gd name="connsiteY2" fmla="*/ 142875 h 969169"/>
                        <a:gd name="connsiteX3" fmla="*/ 464344 w 1526381"/>
                        <a:gd name="connsiteY3" fmla="*/ 50007 h 969169"/>
                        <a:gd name="connsiteX4" fmla="*/ 557212 w 1526381"/>
                        <a:gd name="connsiteY4" fmla="*/ 0 h 969169"/>
                        <a:gd name="connsiteX5" fmla="*/ 652462 w 1526381"/>
                        <a:gd name="connsiteY5" fmla="*/ 4763 h 969169"/>
                        <a:gd name="connsiteX6" fmla="*/ 752475 w 1526381"/>
                        <a:gd name="connsiteY6" fmla="*/ 57150 h 969169"/>
                        <a:gd name="connsiteX7" fmla="*/ 785812 w 1526381"/>
                        <a:gd name="connsiteY7" fmla="*/ 73819 h 969169"/>
                        <a:gd name="connsiteX8" fmla="*/ 835819 w 1526381"/>
                        <a:gd name="connsiteY8" fmla="*/ 23813 h 969169"/>
                        <a:gd name="connsiteX9" fmla="*/ 881062 w 1526381"/>
                        <a:gd name="connsiteY9" fmla="*/ 11907 h 969169"/>
                        <a:gd name="connsiteX10" fmla="*/ 926306 w 1526381"/>
                        <a:gd name="connsiteY10" fmla="*/ 52388 h 969169"/>
                        <a:gd name="connsiteX11" fmla="*/ 942975 w 1526381"/>
                        <a:gd name="connsiteY11" fmla="*/ 102394 h 969169"/>
                        <a:gd name="connsiteX12" fmla="*/ 938212 w 1526381"/>
                        <a:gd name="connsiteY12" fmla="*/ 154782 h 969169"/>
                        <a:gd name="connsiteX13" fmla="*/ 985837 w 1526381"/>
                        <a:gd name="connsiteY13" fmla="*/ 209550 h 969169"/>
                        <a:gd name="connsiteX14" fmla="*/ 997744 w 1526381"/>
                        <a:gd name="connsiteY14" fmla="*/ 228600 h 969169"/>
                        <a:gd name="connsiteX15" fmla="*/ 978694 w 1526381"/>
                        <a:gd name="connsiteY15" fmla="*/ 288132 h 969169"/>
                        <a:gd name="connsiteX16" fmla="*/ 983456 w 1526381"/>
                        <a:gd name="connsiteY16" fmla="*/ 316707 h 969169"/>
                        <a:gd name="connsiteX17" fmla="*/ 952500 w 1526381"/>
                        <a:gd name="connsiteY17" fmla="*/ 345282 h 969169"/>
                        <a:gd name="connsiteX18" fmla="*/ 978694 w 1526381"/>
                        <a:gd name="connsiteY18" fmla="*/ 390525 h 969169"/>
                        <a:gd name="connsiteX19" fmla="*/ 1000125 w 1526381"/>
                        <a:gd name="connsiteY19" fmla="*/ 397669 h 969169"/>
                        <a:gd name="connsiteX20" fmla="*/ 1028700 w 1526381"/>
                        <a:gd name="connsiteY20" fmla="*/ 366713 h 969169"/>
                        <a:gd name="connsiteX21" fmla="*/ 1069181 w 1526381"/>
                        <a:gd name="connsiteY21" fmla="*/ 404813 h 969169"/>
                        <a:gd name="connsiteX22" fmla="*/ 1121569 w 1526381"/>
                        <a:gd name="connsiteY22" fmla="*/ 345282 h 969169"/>
                        <a:gd name="connsiteX23" fmla="*/ 1171575 w 1526381"/>
                        <a:gd name="connsiteY23" fmla="*/ 321469 h 969169"/>
                        <a:gd name="connsiteX24" fmla="*/ 1214437 w 1526381"/>
                        <a:gd name="connsiteY24" fmla="*/ 357188 h 969169"/>
                        <a:gd name="connsiteX25" fmla="*/ 1233487 w 1526381"/>
                        <a:gd name="connsiteY25" fmla="*/ 388144 h 969169"/>
                        <a:gd name="connsiteX26" fmla="*/ 1235869 w 1526381"/>
                        <a:gd name="connsiteY26" fmla="*/ 435769 h 969169"/>
                        <a:gd name="connsiteX27" fmla="*/ 1276350 w 1526381"/>
                        <a:gd name="connsiteY27" fmla="*/ 445294 h 969169"/>
                        <a:gd name="connsiteX28" fmla="*/ 1285875 w 1526381"/>
                        <a:gd name="connsiteY28" fmla="*/ 383382 h 969169"/>
                        <a:gd name="connsiteX29" fmla="*/ 1321594 w 1526381"/>
                        <a:gd name="connsiteY29" fmla="*/ 366713 h 969169"/>
                        <a:gd name="connsiteX30" fmla="*/ 1393031 w 1526381"/>
                        <a:gd name="connsiteY30" fmla="*/ 414338 h 969169"/>
                        <a:gd name="connsiteX31" fmla="*/ 1421606 w 1526381"/>
                        <a:gd name="connsiteY31" fmla="*/ 421482 h 969169"/>
                        <a:gd name="connsiteX32" fmla="*/ 1469231 w 1526381"/>
                        <a:gd name="connsiteY32" fmla="*/ 376238 h 969169"/>
                        <a:gd name="connsiteX33" fmla="*/ 1512094 w 1526381"/>
                        <a:gd name="connsiteY33" fmla="*/ 421482 h 969169"/>
                        <a:gd name="connsiteX34" fmla="*/ 1497806 w 1526381"/>
                        <a:gd name="connsiteY34" fmla="*/ 447675 h 969169"/>
                        <a:gd name="connsiteX35" fmla="*/ 1459706 w 1526381"/>
                        <a:gd name="connsiteY35" fmla="*/ 466725 h 969169"/>
                        <a:gd name="connsiteX36" fmla="*/ 1426369 w 1526381"/>
                        <a:gd name="connsiteY36" fmla="*/ 507207 h 969169"/>
                        <a:gd name="connsiteX37" fmla="*/ 1393031 w 1526381"/>
                        <a:gd name="connsiteY37" fmla="*/ 547688 h 969169"/>
                        <a:gd name="connsiteX38" fmla="*/ 1393031 w 1526381"/>
                        <a:gd name="connsiteY38" fmla="*/ 547688 h 969169"/>
                        <a:gd name="connsiteX39" fmla="*/ 1421606 w 1526381"/>
                        <a:gd name="connsiteY39" fmla="*/ 588169 h 969169"/>
                        <a:gd name="connsiteX40" fmla="*/ 1431131 w 1526381"/>
                        <a:gd name="connsiteY40" fmla="*/ 635794 h 969169"/>
                        <a:gd name="connsiteX41" fmla="*/ 1483519 w 1526381"/>
                        <a:gd name="connsiteY41" fmla="*/ 619125 h 969169"/>
                        <a:gd name="connsiteX42" fmla="*/ 1469231 w 1526381"/>
                        <a:gd name="connsiteY42" fmla="*/ 657225 h 969169"/>
                        <a:gd name="connsiteX43" fmla="*/ 1443037 w 1526381"/>
                        <a:gd name="connsiteY43" fmla="*/ 683419 h 969169"/>
                        <a:gd name="connsiteX44" fmla="*/ 1490662 w 1526381"/>
                        <a:gd name="connsiteY44" fmla="*/ 719138 h 969169"/>
                        <a:gd name="connsiteX45" fmla="*/ 1526381 w 1526381"/>
                        <a:gd name="connsiteY45" fmla="*/ 738188 h 969169"/>
                        <a:gd name="connsiteX46" fmla="*/ 1507331 w 1526381"/>
                        <a:gd name="connsiteY46" fmla="*/ 764382 h 969169"/>
                        <a:gd name="connsiteX47" fmla="*/ 1478756 w 1526381"/>
                        <a:gd name="connsiteY47" fmla="*/ 759619 h 969169"/>
                        <a:gd name="connsiteX48" fmla="*/ 1516856 w 1526381"/>
                        <a:gd name="connsiteY48" fmla="*/ 814388 h 969169"/>
                        <a:gd name="connsiteX49" fmla="*/ 1478756 w 1526381"/>
                        <a:gd name="connsiteY49" fmla="*/ 816769 h 969169"/>
                        <a:gd name="connsiteX50" fmla="*/ 1443037 w 1526381"/>
                        <a:gd name="connsiteY50" fmla="*/ 812007 h 969169"/>
                        <a:gd name="connsiteX51" fmla="*/ 1366837 w 1526381"/>
                        <a:gd name="connsiteY51" fmla="*/ 795338 h 969169"/>
                        <a:gd name="connsiteX52" fmla="*/ 1333500 w 1526381"/>
                        <a:gd name="connsiteY52" fmla="*/ 790575 h 969169"/>
                        <a:gd name="connsiteX53" fmla="*/ 1314450 w 1526381"/>
                        <a:gd name="connsiteY53" fmla="*/ 723900 h 969169"/>
                        <a:gd name="connsiteX54" fmla="*/ 1176337 w 1526381"/>
                        <a:gd name="connsiteY54" fmla="*/ 757238 h 969169"/>
                        <a:gd name="connsiteX55" fmla="*/ 1140619 w 1526381"/>
                        <a:gd name="connsiteY55" fmla="*/ 738188 h 969169"/>
                        <a:gd name="connsiteX56" fmla="*/ 1057275 w 1526381"/>
                        <a:gd name="connsiteY56" fmla="*/ 645319 h 969169"/>
                        <a:gd name="connsiteX57" fmla="*/ 1023937 w 1526381"/>
                        <a:gd name="connsiteY57" fmla="*/ 654844 h 969169"/>
                        <a:gd name="connsiteX58" fmla="*/ 988219 w 1526381"/>
                        <a:gd name="connsiteY58" fmla="*/ 652463 h 969169"/>
                        <a:gd name="connsiteX59" fmla="*/ 892969 w 1526381"/>
                        <a:gd name="connsiteY59" fmla="*/ 621507 h 969169"/>
                        <a:gd name="connsiteX60" fmla="*/ 835819 w 1526381"/>
                        <a:gd name="connsiteY60" fmla="*/ 673894 h 969169"/>
                        <a:gd name="connsiteX61" fmla="*/ 788194 w 1526381"/>
                        <a:gd name="connsiteY61" fmla="*/ 611982 h 969169"/>
                        <a:gd name="connsiteX62" fmla="*/ 742950 w 1526381"/>
                        <a:gd name="connsiteY62" fmla="*/ 597694 h 969169"/>
                        <a:gd name="connsiteX63" fmla="*/ 738187 w 1526381"/>
                        <a:gd name="connsiteY63" fmla="*/ 552450 h 969169"/>
                        <a:gd name="connsiteX64" fmla="*/ 702469 w 1526381"/>
                        <a:gd name="connsiteY64" fmla="*/ 533400 h 969169"/>
                        <a:gd name="connsiteX65" fmla="*/ 659606 w 1526381"/>
                        <a:gd name="connsiteY65" fmla="*/ 542925 h 969169"/>
                        <a:gd name="connsiteX66" fmla="*/ 647700 w 1526381"/>
                        <a:gd name="connsiteY66" fmla="*/ 564357 h 969169"/>
                        <a:gd name="connsiteX67" fmla="*/ 585787 w 1526381"/>
                        <a:gd name="connsiteY67" fmla="*/ 550069 h 969169"/>
                        <a:gd name="connsiteX68" fmla="*/ 476250 w 1526381"/>
                        <a:gd name="connsiteY68" fmla="*/ 626269 h 969169"/>
                        <a:gd name="connsiteX69" fmla="*/ 509587 w 1526381"/>
                        <a:gd name="connsiteY69" fmla="*/ 728663 h 969169"/>
                        <a:gd name="connsiteX70" fmla="*/ 531019 w 1526381"/>
                        <a:gd name="connsiteY70" fmla="*/ 797719 h 969169"/>
                        <a:gd name="connsiteX71" fmla="*/ 450056 w 1526381"/>
                        <a:gd name="connsiteY71" fmla="*/ 859632 h 969169"/>
                        <a:gd name="connsiteX72" fmla="*/ 321469 w 1526381"/>
                        <a:gd name="connsiteY72" fmla="*/ 964407 h 969169"/>
                        <a:gd name="connsiteX73" fmla="*/ 254794 w 1526381"/>
                        <a:gd name="connsiteY73" fmla="*/ 912019 h 969169"/>
                        <a:gd name="connsiteX74" fmla="*/ 211931 w 1526381"/>
                        <a:gd name="connsiteY74" fmla="*/ 969169 h 969169"/>
                        <a:gd name="connsiteX75" fmla="*/ 0 w 1526381"/>
                        <a:gd name="connsiteY75" fmla="*/ 966787 h 969169"/>
                        <a:gd name="connsiteX76" fmla="*/ 4762 w 1526381"/>
                        <a:gd name="connsiteY76" fmla="*/ 766763 h 969169"/>
                        <a:gd name="connsiteX77" fmla="*/ 64294 w 1526381"/>
                        <a:gd name="connsiteY77" fmla="*/ 719138 h 969169"/>
                        <a:gd name="connsiteX78" fmla="*/ 40481 w 1526381"/>
                        <a:gd name="connsiteY78" fmla="*/ 678657 h 969169"/>
                        <a:gd name="connsiteX79" fmla="*/ 78581 w 1526381"/>
                        <a:gd name="connsiteY79" fmla="*/ 642938 h 969169"/>
                        <a:gd name="connsiteX80" fmla="*/ 45244 w 1526381"/>
                        <a:gd name="connsiteY80" fmla="*/ 592932 h 969169"/>
                        <a:gd name="connsiteX81" fmla="*/ 76200 w 1526381"/>
                        <a:gd name="connsiteY81" fmla="*/ 554832 h 969169"/>
                        <a:gd name="connsiteX82" fmla="*/ 19050 w 1526381"/>
                        <a:gd name="connsiteY82" fmla="*/ 481013 h 969169"/>
                        <a:gd name="connsiteX83" fmla="*/ 76200 w 1526381"/>
                        <a:gd name="connsiteY83" fmla="*/ 433388 h 969169"/>
                        <a:gd name="connsiteX84" fmla="*/ 71437 w 1526381"/>
                        <a:gd name="connsiteY84" fmla="*/ 395288 h 969169"/>
                        <a:gd name="connsiteX85" fmla="*/ 35719 w 1526381"/>
                        <a:gd name="connsiteY85" fmla="*/ 383382 h 969169"/>
                        <a:gd name="connsiteX86" fmla="*/ 71437 w 1526381"/>
                        <a:gd name="connsiteY86" fmla="*/ 340519 h 969169"/>
                        <a:gd name="connsiteX87" fmla="*/ 33337 w 1526381"/>
                        <a:gd name="connsiteY87" fmla="*/ 273845 h 969169"/>
                        <a:gd name="connsiteX88" fmla="*/ 54769 w 1526381"/>
                        <a:gd name="connsiteY88" fmla="*/ 240507 h 969169"/>
                        <a:gd name="connsiteX0" fmla="*/ 59532 w 1531144"/>
                        <a:gd name="connsiteY0" fmla="*/ 240507 h 969169"/>
                        <a:gd name="connsiteX1" fmla="*/ 354807 w 1531144"/>
                        <a:gd name="connsiteY1" fmla="*/ 130969 h 969169"/>
                        <a:gd name="connsiteX2" fmla="*/ 407194 w 1531144"/>
                        <a:gd name="connsiteY2" fmla="*/ 142875 h 969169"/>
                        <a:gd name="connsiteX3" fmla="*/ 469107 w 1531144"/>
                        <a:gd name="connsiteY3" fmla="*/ 50007 h 969169"/>
                        <a:gd name="connsiteX4" fmla="*/ 561975 w 1531144"/>
                        <a:gd name="connsiteY4" fmla="*/ 0 h 969169"/>
                        <a:gd name="connsiteX5" fmla="*/ 657225 w 1531144"/>
                        <a:gd name="connsiteY5" fmla="*/ 4763 h 969169"/>
                        <a:gd name="connsiteX6" fmla="*/ 757238 w 1531144"/>
                        <a:gd name="connsiteY6" fmla="*/ 57150 h 969169"/>
                        <a:gd name="connsiteX7" fmla="*/ 790575 w 1531144"/>
                        <a:gd name="connsiteY7" fmla="*/ 73819 h 969169"/>
                        <a:gd name="connsiteX8" fmla="*/ 840582 w 1531144"/>
                        <a:gd name="connsiteY8" fmla="*/ 23813 h 969169"/>
                        <a:gd name="connsiteX9" fmla="*/ 885825 w 1531144"/>
                        <a:gd name="connsiteY9" fmla="*/ 11907 h 969169"/>
                        <a:gd name="connsiteX10" fmla="*/ 931069 w 1531144"/>
                        <a:gd name="connsiteY10" fmla="*/ 52388 h 969169"/>
                        <a:gd name="connsiteX11" fmla="*/ 947738 w 1531144"/>
                        <a:gd name="connsiteY11" fmla="*/ 102394 h 969169"/>
                        <a:gd name="connsiteX12" fmla="*/ 942975 w 1531144"/>
                        <a:gd name="connsiteY12" fmla="*/ 154782 h 969169"/>
                        <a:gd name="connsiteX13" fmla="*/ 990600 w 1531144"/>
                        <a:gd name="connsiteY13" fmla="*/ 209550 h 969169"/>
                        <a:gd name="connsiteX14" fmla="*/ 1002507 w 1531144"/>
                        <a:gd name="connsiteY14" fmla="*/ 228600 h 969169"/>
                        <a:gd name="connsiteX15" fmla="*/ 983457 w 1531144"/>
                        <a:gd name="connsiteY15" fmla="*/ 288132 h 969169"/>
                        <a:gd name="connsiteX16" fmla="*/ 988219 w 1531144"/>
                        <a:gd name="connsiteY16" fmla="*/ 316707 h 969169"/>
                        <a:gd name="connsiteX17" fmla="*/ 957263 w 1531144"/>
                        <a:gd name="connsiteY17" fmla="*/ 345282 h 969169"/>
                        <a:gd name="connsiteX18" fmla="*/ 983457 w 1531144"/>
                        <a:gd name="connsiteY18" fmla="*/ 390525 h 969169"/>
                        <a:gd name="connsiteX19" fmla="*/ 1004888 w 1531144"/>
                        <a:gd name="connsiteY19" fmla="*/ 397669 h 969169"/>
                        <a:gd name="connsiteX20" fmla="*/ 1033463 w 1531144"/>
                        <a:gd name="connsiteY20" fmla="*/ 366713 h 969169"/>
                        <a:gd name="connsiteX21" fmla="*/ 1073944 w 1531144"/>
                        <a:gd name="connsiteY21" fmla="*/ 404813 h 969169"/>
                        <a:gd name="connsiteX22" fmla="*/ 1126332 w 1531144"/>
                        <a:gd name="connsiteY22" fmla="*/ 345282 h 969169"/>
                        <a:gd name="connsiteX23" fmla="*/ 1176338 w 1531144"/>
                        <a:gd name="connsiteY23" fmla="*/ 321469 h 969169"/>
                        <a:gd name="connsiteX24" fmla="*/ 1219200 w 1531144"/>
                        <a:gd name="connsiteY24" fmla="*/ 357188 h 969169"/>
                        <a:gd name="connsiteX25" fmla="*/ 1238250 w 1531144"/>
                        <a:gd name="connsiteY25" fmla="*/ 388144 h 969169"/>
                        <a:gd name="connsiteX26" fmla="*/ 1240632 w 1531144"/>
                        <a:gd name="connsiteY26" fmla="*/ 435769 h 969169"/>
                        <a:gd name="connsiteX27" fmla="*/ 1281113 w 1531144"/>
                        <a:gd name="connsiteY27" fmla="*/ 445294 h 969169"/>
                        <a:gd name="connsiteX28" fmla="*/ 1290638 w 1531144"/>
                        <a:gd name="connsiteY28" fmla="*/ 383382 h 969169"/>
                        <a:gd name="connsiteX29" fmla="*/ 1326357 w 1531144"/>
                        <a:gd name="connsiteY29" fmla="*/ 366713 h 969169"/>
                        <a:gd name="connsiteX30" fmla="*/ 1397794 w 1531144"/>
                        <a:gd name="connsiteY30" fmla="*/ 414338 h 969169"/>
                        <a:gd name="connsiteX31" fmla="*/ 1426369 w 1531144"/>
                        <a:gd name="connsiteY31" fmla="*/ 421482 h 969169"/>
                        <a:gd name="connsiteX32" fmla="*/ 1473994 w 1531144"/>
                        <a:gd name="connsiteY32" fmla="*/ 376238 h 969169"/>
                        <a:gd name="connsiteX33" fmla="*/ 1516857 w 1531144"/>
                        <a:gd name="connsiteY33" fmla="*/ 421482 h 969169"/>
                        <a:gd name="connsiteX34" fmla="*/ 1502569 w 1531144"/>
                        <a:gd name="connsiteY34" fmla="*/ 447675 h 969169"/>
                        <a:gd name="connsiteX35" fmla="*/ 1464469 w 1531144"/>
                        <a:gd name="connsiteY35" fmla="*/ 466725 h 969169"/>
                        <a:gd name="connsiteX36" fmla="*/ 1431132 w 1531144"/>
                        <a:gd name="connsiteY36" fmla="*/ 507207 h 969169"/>
                        <a:gd name="connsiteX37" fmla="*/ 1397794 w 1531144"/>
                        <a:gd name="connsiteY37" fmla="*/ 547688 h 969169"/>
                        <a:gd name="connsiteX38" fmla="*/ 1397794 w 1531144"/>
                        <a:gd name="connsiteY38" fmla="*/ 547688 h 969169"/>
                        <a:gd name="connsiteX39" fmla="*/ 1426369 w 1531144"/>
                        <a:gd name="connsiteY39" fmla="*/ 588169 h 969169"/>
                        <a:gd name="connsiteX40" fmla="*/ 1435894 w 1531144"/>
                        <a:gd name="connsiteY40" fmla="*/ 635794 h 969169"/>
                        <a:gd name="connsiteX41" fmla="*/ 1488282 w 1531144"/>
                        <a:gd name="connsiteY41" fmla="*/ 619125 h 969169"/>
                        <a:gd name="connsiteX42" fmla="*/ 1473994 w 1531144"/>
                        <a:gd name="connsiteY42" fmla="*/ 657225 h 969169"/>
                        <a:gd name="connsiteX43" fmla="*/ 1447800 w 1531144"/>
                        <a:gd name="connsiteY43" fmla="*/ 683419 h 969169"/>
                        <a:gd name="connsiteX44" fmla="*/ 1495425 w 1531144"/>
                        <a:gd name="connsiteY44" fmla="*/ 719138 h 969169"/>
                        <a:gd name="connsiteX45" fmla="*/ 1531144 w 1531144"/>
                        <a:gd name="connsiteY45" fmla="*/ 738188 h 969169"/>
                        <a:gd name="connsiteX46" fmla="*/ 1512094 w 1531144"/>
                        <a:gd name="connsiteY46" fmla="*/ 764382 h 969169"/>
                        <a:gd name="connsiteX47" fmla="*/ 1483519 w 1531144"/>
                        <a:gd name="connsiteY47" fmla="*/ 759619 h 969169"/>
                        <a:gd name="connsiteX48" fmla="*/ 1521619 w 1531144"/>
                        <a:gd name="connsiteY48" fmla="*/ 814388 h 969169"/>
                        <a:gd name="connsiteX49" fmla="*/ 1483519 w 1531144"/>
                        <a:gd name="connsiteY49" fmla="*/ 816769 h 969169"/>
                        <a:gd name="connsiteX50" fmla="*/ 1447800 w 1531144"/>
                        <a:gd name="connsiteY50" fmla="*/ 812007 h 969169"/>
                        <a:gd name="connsiteX51" fmla="*/ 1371600 w 1531144"/>
                        <a:gd name="connsiteY51" fmla="*/ 795338 h 969169"/>
                        <a:gd name="connsiteX52" fmla="*/ 1338263 w 1531144"/>
                        <a:gd name="connsiteY52" fmla="*/ 790575 h 969169"/>
                        <a:gd name="connsiteX53" fmla="*/ 1319213 w 1531144"/>
                        <a:gd name="connsiteY53" fmla="*/ 723900 h 969169"/>
                        <a:gd name="connsiteX54" fmla="*/ 1181100 w 1531144"/>
                        <a:gd name="connsiteY54" fmla="*/ 757238 h 969169"/>
                        <a:gd name="connsiteX55" fmla="*/ 1145382 w 1531144"/>
                        <a:gd name="connsiteY55" fmla="*/ 738188 h 969169"/>
                        <a:gd name="connsiteX56" fmla="*/ 1062038 w 1531144"/>
                        <a:gd name="connsiteY56" fmla="*/ 645319 h 969169"/>
                        <a:gd name="connsiteX57" fmla="*/ 1028700 w 1531144"/>
                        <a:gd name="connsiteY57" fmla="*/ 654844 h 969169"/>
                        <a:gd name="connsiteX58" fmla="*/ 992982 w 1531144"/>
                        <a:gd name="connsiteY58" fmla="*/ 652463 h 969169"/>
                        <a:gd name="connsiteX59" fmla="*/ 897732 w 1531144"/>
                        <a:gd name="connsiteY59" fmla="*/ 621507 h 969169"/>
                        <a:gd name="connsiteX60" fmla="*/ 840582 w 1531144"/>
                        <a:gd name="connsiteY60" fmla="*/ 673894 h 969169"/>
                        <a:gd name="connsiteX61" fmla="*/ 792957 w 1531144"/>
                        <a:gd name="connsiteY61" fmla="*/ 611982 h 969169"/>
                        <a:gd name="connsiteX62" fmla="*/ 747713 w 1531144"/>
                        <a:gd name="connsiteY62" fmla="*/ 597694 h 969169"/>
                        <a:gd name="connsiteX63" fmla="*/ 742950 w 1531144"/>
                        <a:gd name="connsiteY63" fmla="*/ 552450 h 969169"/>
                        <a:gd name="connsiteX64" fmla="*/ 707232 w 1531144"/>
                        <a:gd name="connsiteY64" fmla="*/ 533400 h 969169"/>
                        <a:gd name="connsiteX65" fmla="*/ 664369 w 1531144"/>
                        <a:gd name="connsiteY65" fmla="*/ 542925 h 969169"/>
                        <a:gd name="connsiteX66" fmla="*/ 652463 w 1531144"/>
                        <a:gd name="connsiteY66" fmla="*/ 564357 h 969169"/>
                        <a:gd name="connsiteX67" fmla="*/ 590550 w 1531144"/>
                        <a:gd name="connsiteY67" fmla="*/ 550069 h 969169"/>
                        <a:gd name="connsiteX68" fmla="*/ 481013 w 1531144"/>
                        <a:gd name="connsiteY68" fmla="*/ 626269 h 969169"/>
                        <a:gd name="connsiteX69" fmla="*/ 514350 w 1531144"/>
                        <a:gd name="connsiteY69" fmla="*/ 728663 h 969169"/>
                        <a:gd name="connsiteX70" fmla="*/ 535782 w 1531144"/>
                        <a:gd name="connsiteY70" fmla="*/ 797719 h 969169"/>
                        <a:gd name="connsiteX71" fmla="*/ 454819 w 1531144"/>
                        <a:gd name="connsiteY71" fmla="*/ 859632 h 969169"/>
                        <a:gd name="connsiteX72" fmla="*/ 326232 w 1531144"/>
                        <a:gd name="connsiteY72" fmla="*/ 964407 h 969169"/>
                        <a:gd name="connsiteX73" fmla="*/ 259557 w 1531144"/>
                        <a:gd name="connsiteY73" fmla="*/ 912019 h 969169"/>
                        <a:gd name="connsiteX74" fmla="*/ 216694 w 1531144"/>
                        <a:gd name="connsiteY74" fmla="*/ 969169 h 969169"/>
                        <a:gd name="connsiteX75" fmla="*/ 4763 w 1531144"/>
                        <a:gd name="connsiteY75" fmla="*/ 966787 h 969169"/>
                        <a:gd name="connsiteX76" fmla="*/ 0 w 1531144"/>
                        <a:gd name="connsiteY76" fmla="*/ 766763 h 969169"/>
                        <a:gd name="connsiteX77" fmla="*/ 69057 w 1531144"/>
                        <a:gd name="connsiteY77" fmla="*/ 719138 h 969169"/>
                        <a:gd name="connsiteX78" fmla="*/ 45244 w 1531144"/>
                        <a:gd name="connsiteY78" fmla="*/ 678657 h 969169"/>
                        <a:gd name="connsiteX79" fmla="*/ 83344 w 1531144"/>
                        <a:gd name="connsiteY79" fmla="*/ 642938 h 969169"/>
                        <a:gd name="connsiteX80" fmla="*/ 50007 w 1531144"/>
                        <a:gd name="connsiteY80" fmla="*/ 592932 h 969169"/>
                        <a:gd name="connsiteX81" fmla="*/ 80963 w 1531144"/>
                        <a:gd name="connsiteY81" fmla="*/ 554832 h 969169"/>
                        <a:gd name="connsiteX82" fmla="*/ 23813 w 1531144"/>
                        <a:gd name="connsiteY82" fmla="*/ 481013 h 969169"/>
                        <a:gd name="connsiteX83" fmla="*/ 80963 w 1531144"/>
                        <a:gd name="connsiteY83" fmla="*/ 433388 h 969169"/>
                        <a:gd name="connsiteX84" fmla="*/ 76200 w 1531144"/>
                        <a:gd name="connsiteY84" fmla="*/ 395288 h 969169"/>
                        <a:gd name="connsiteX85" fmla="*/ 40482 w 1531144"/>
                        <a:gd name="connsiteY85" fmla="*/ 383382 h 969169"/>
                        <a:gd name="connsiteX86" fmla="*/ 76200 w 1531144"/>
                        <a:gd name="connsiteY86" fmla="*/ 340519 h 969169"/>
                        <a:gd name="connsiteX87" fmla="*/ 38100 w 1531144"/>
                        <a:gd name="connsiteY87" fmla="*/ 273845 h 969169"/>
                        <a:gd name="connsiteX88" fmla="*/ 59532 w 1531144"/>
                        <a:gd name="connsiteY88" fmla="*/ 240507 h 969169"/>
                        <a:gd name="connsiteX0" fmla="*/ 59532 w 1531144"/>
                        <a:gd name="connsiteY0" fmla="*/ 240507 h 969169"/>
                        <a:gd name="connsiteX1" fmla="*/ 354807 w 1531144"/>
                        <a:gd name="connsiteY1" fmla="*/ 130969 h 969169"/>
                        <a:gd name="connsiteX2" fmla="*/ 407194 w 1531144"/>
                        <a:gd name="connsiteY2" fmla="*/ 142875 h 969169"/>
                        <a:gd name="connsiteX3" fmla="*/ 469107 w 1531144"/>
                        <a:gd name="connsiteY3" fmla="*/ 50007 h 969169"/>
                        <a:gd name="connsiteX4" fmla="*/ 561975 w 1531144"/>
                        <a:gd name="connsiteY4" fmla="*/ 0 h 969169"/>
                        <a:gd name="connsiteX5" fmla="*/ 657225 w 1531144"/>
                        <a:gd name="connsiteY5" fmla="*/ 4763 h 969169"/>
                        <a:gd name="connsiteX6" fmla="*/ 757238 w 1531144"/>
                        <a:gd name="connsiteY6" fmla="*/ 57150 h 969169"/>
                        <a:gd name="connsiteX7" fmla="*/ 790575 w 1531144"/>
                        <a:gd name="connsiteY7" fmla="*/ 73819 h 969169"/>
                        <a:gd name="connsiteX8" fmla="*/ 840582 w 1531144"/>
                        <a:gd name="connsiteY8" fmla="*/ 23813 h 969169"/>
                        <a:gd name="connsiteX9" fmla="*/ 885825 w 1531144"/>
                        <a:gd name="connsiteY9" fmla="*/ 11907 h 969169"/>
                        <a:gd name="connsiteX10" fmla="*/ 931069 w 1531144"/>
                        <a:gd name="connsiteY10" fmla="*/ 52388 h 969169"/>
                        <a:gd name="connsiteX11" fmla="*/ 947738 w 1531144"/>
                        <a:gd name="connsiteY11" fmla="*/ 102394 h 969169"/>
                        <a:gd name="connsiteX12" fmla="*/ 942975 w 1531144"/>
                        <a:gd name="connsiteY12" fmla="*/ 154782 h 969169"/>
                        <a:gd name="connsiteX13" fmla="*/ 990600 w 1531144"/>
                        <a:gd name="connsiteY13" fmla="*/ 209550 h 969169"/>
                        <a:gd name="connsiteX14" fmla="*/ 1002507 w 1531144"/>
                        <a:gd name="connsiteY14" fmla="*/ 228600 h 969169"/>
                        <a:gd name="connsiteX15" fmla="*/ 983457 w 1531144"/>
                        <a:gd name="connsiteY15" fmla="*/ 288132 h 969169"/>
                        <a:gd name="connsiteX16" fmla="*/ 988219 w 1531144"/>
                        <a:gd name="connsiteY16" fmla="*/ 316707 h 969169"/>
                        <a:gd name="connsiteX17" fmla="*/ 957263 w 1531144"/>
                        <a:gd name="connsiteY17" fmla="*/ 345282 h 969169"/>
                        <a:gd name="connsiteX18" fmla="*/ 983457 w 1531144"/>
                        <a:gd name="connsiteY18" fmla="*/ 390525 h 969169"/>
                        <a:gd name="connsiteX19" fmla="*/ 1004888 w 1531144"/>
                        <a:gd name="connsiteY19" fmla="*/ 397669 h 969169"/>
                        <a:gd name="connsiteX20" fmla="*/ 1033463 w 1531144"/>
                        <a:gd name="connsiteY20" fmla="*/ 366713 h 969169"/>
                        <a:gd name="connsiteX21" fmla="*/ 1073944 w 1531144"/>
                        <a:gd name="connsiteY21" fmla="*/ 404813 h 969169"/>
                        <a:gd name="connsiteX22" fmla="*/ 1126332 w 1531144"/>
                        <a:gd name="connsiteY22" fmla="*/ 345282 h 969169"/>
                        <a:gd name="connsiteX23" fmla="*/ 1176338 w 1531144"/>
                        <a:gd name="connsiteY23" fmla="*/ 321469 h 969169"/>
                        <a:gd name="connsiteX24" fmla="*/ 1219200 w 1531144"/>
                        <a:gd name="connsiteY24" fmla="*/ 357188 h 969169"/>
                        <a:gd name="connsiteX25" fmla="*/ 1238250 w 1531144"/>
                        <a:gd name="connsiteY25" fmla="*/ 388144 h 969169"/>
                        <a:gd name="connsiteX26" fmla="*/ 1240632 w 1531144"/>
                        <a:gd name="connsiteY26" fmla="*/ 435769 h 969169"/>
                        <a:gd name="connsiteX27" fmla="*/ 1281113 w 1531144"/>
                        <a:gd name="connsiteY27" fmla="*/ 445294 h 969169"/>
                        <a:gd name="connsiteX28" fmla="*/ 1290638 w 1531144"/>
                        <a:gd name="connsiteY28" fmla="*/ 383382 h 969169"/>
                        <a:gd name="connsiteX29" fmla="*/ 1326357 w 1531144"/>
                        <a:gd name="connsiteY29" fmla="*/ 366713 h 969169"/>
                        <a:gd name="connsiteX30" fmla="*/ 1397794 w 1531144"/>
                        <a:gd name="connsiteY30" fmla="*/ 414338 h 969169"/>
                        <a:gd name="connsiteX31" fmla="*/ 1426369 w 1531144"/>
                        <a:gd name="connsiteY31" fmla="*/ 421482 h 969169"/>
                        <a:gd name="connsiteX32" fmla="*/ 1473994 w 1531144"/>
                        <a:gd name="connsiteY32" fmla="*/ 376238 h 969169"/>
                        <a:gd name="connsiteX33" fmla="*/ 1516857 w 1531144"/>
                        <a:gd name="connsiteY33" fmla="*/ 421482 h 969169"/>
                        <a:gd name="connsiteX34" fmla="*/ 1502569 w 1531144"/>
                        <a:gd name="connsiteY34" fmla="*/ 447675 h 969169"/>
                        <a:gd name="connsiteX35" fmla="*/ 1464469 w 1531144"/>
                        <a:gd name="connsiteY35" fmla="*/ 466725 h 969169"/>
                        <a:gd name="connsiteX36" fmla="*/ 1431132 w 1531144"/>
                        <a:gd name="connsiteY36" fmla="*/ 507207 h 969169"/>
                        <a:gd name="connsiteX37" fmla="*/ 1397794 w 1531144"/>
                        <a:gd name="connsiteY37" fmla="*/ 547688 h 969169"/>
                        <a:gd name="connsiteX38" fmla="*/ 1397794 w 1531144"/>
                        <a:gd name="connsiteY38" fmla="*/ 547688 h 969169"/>
                        <a:gd name="connsiteX39" fmla="*/ 1426369 w 1531144"/>
                        <a:gd name="connsiteY39" fmla="*/ 588169 h 969169"/>
                        <a:gd name="connsiteX40" fmla="*/ 1435894 w 1531144"/>
                        <a:gd name="connsiteY40" fmla="*/ 635794 h 969169"/>
                        <a:gd name="connsiteX41" fmla="*/ 1488282 w 1531144"/>
                        <a:gd name="connsiteY41" fmla="*/ 619125 h 969169"/>
                        <a:gd name="connsiteX42" fmla="*/ 1473994 w 1531144"/>
                        <a:gd name="connsiteY42" fmla="*/ 657225 h 969169"/>
                        <a:gd name="connsiteX43" fmla="*/ 1447800 w 1531144"/>
                        <a:gd name="connsiteY43" fmla="*/ 683419 h 969169"/>
                        <a:gd name="connsiteX44" fmla="*/ 1495425 w 1531144"/>
                        <a:gd name="connsiteY44" fmla="*/ 719138 h 969169"/>
                        <a:gd name="connsiteX45" fmla="*/ 1531144 w 1531144"/>
                        <a:gd name="connsiteY45" fmla="*/ 738188 h 969169"/>
                        <a:gd name="connsiteX46" fmla="*/ 1512094 w 1531144"/>
                        <a:gd name="connsiteY46" fmla="*/ 764382 h 969169"/>
                        <a:gd name="connsiteX47" fmla="*/ 1483519 w 1531144"/>
                        <a:gd name="connsiteY47" fmla="*/ 759619 h 969169"/>
                        <a:gd name="connsiteX48" fmla="*/ 1521619 w 1531144"/>
                        <a:gd name="connsiteY48" fmla="*/ 814388 h 969169"/>
                        <a:gd name="connsiteX49" fmla="*/ 1483519 w 1531144"/>
                        <a:gd name="connsiteY49" fmla="*/ 816769 h 969169"/>
                        <a:gd name="connsiteX50" fmla="*/ 1447800 w 1531144"/>
                        <a:gd name="connsiteY50" fmla="*/ 812007 h 969169"/>
                        <a:gd name="connsiteX51" fmla="*/ 1371600 w 1531144"/>
                        <a:gd name="connsiteY51" fmla="*/ 795338 h 969169"/>
                        <a:gd name="connsiteX52" fmla="*/ 1338263 w 1531144"/>
                        <a:gd name="connsiteY52" fmla="*/ 790575 h 969169"/>
                        <a:gd name="connsiteX53" fmla="*/ 1319213 w 1531144"/>
                        <a:gd name="connsiteY53" fmla="*/ 723900 h 969169"/>
                        <a:gd name="connsiteX54" fmla="*/ 1181100 w 1531144"/>
                        <a:gd name="connsiteY54" fmla="*/ 757238 h 969169"/>
                        <a:gd name="connsiteX55" fmla="*/ 1145382 w 1531144"/>
                        <a:gd name="connsiteY55" fmla="*/ 738188 h 969169"/>
                        <a:gd name="connsiteX56" fmla="*/ 1062038 w 1531144"/>
                        <a:gd name="connsiteY56" fmla="*/ 645319 h 969169"/>
                        <a:gd name="connsiteX57" fmla="*/ 1028700 w 1531144"/>
                        <a:gd name="connsiteY57" fmla="*/ 654844 h 969169"/>
                        <a:gd name="connsiteX58" fmla="*/ 992982 w 1531144"/>
                        <a:gd name="connsiteY58" fmla="*/ 652463 h 969169"/>
                        <a:gd name="connsiteX59" fmla="*/ 897732 w 1531144"/>
                        <a:gd name="connsiteY59" fmla="*/ 621507 h 969169"/>
                        <a:gd name="connsiteX60" fmla="*/ 840582 w 1531144"/>
                        <a:gd name="connsiteY60" fmla="*/ 673894 h 969169"/>
                        <a:gd name="connsiteX61" fmla="*/ 792957 w 1531144"/>
                        <a:gd name="connsiteY61" fmla="*/ 611982 h 969169"/>
                        <a:gd name="connsiteX62" fmla="*/ 747713 w 1531144"/>
                        <a:gd name="connsiteY62" fmla="*/ 597694 h 969169"/>
                        <a:gd name="connsiteX63" fmla="*/ 742950 w 1531144"/>
                        <a:gd name="connsiteY63" fmla="*/ 552450 h 969169"/>
                        <a:gd name="connsiteX64" fmla="*/ 707232 w 1531144"/>
                        <a:gd name="connsiteY64" fmla="*/ 533400 h 969169"/>
                        <a:gd name="connsiteX65" fmla="*/ 664369 w 1531144"/>
                        <a:gd name="connsiteY65" fmla="*/ 542925 h 969169"/>
                        <a:gd name="connsiteX66" fmla="*/ 652463 w 1531144"/>
                        <a:gd name="connsiteY66" fmla="*/ 564357 h 969169"/>
                        <a:gd name="connsiteX67" fmla="*/ 590550 w 1531144"/>
                        <a:gd name="connsiteY67" fmla="*/ 550069 h 969169"/>
                        <a:gd name="connsiteX68" fmla="*/ 481013 w 1531144"/>
                        <a:gd name="connsiteY68" fmla="*/ 626269 h 969169"/>
                        <a:gd name="connsiteX69" fmla="*/ 514350 w 1531144"/>
                        <a:gd name="connsiteY69" fmla="*/ 728663 h 969169"/>
                        <a:gd name="connsiteX70" fmla="*/ 535782 w 1531144"/>
                        <a:gd name="connsiteY70" fmla="*/ 797719 h 969169"/>
                        <a:gd name="connsiteX71" fmla="*/ 454819 w 1531144"/>
                        <a:gd name="connsiteY71" fmla="*/ 859632 h 969169"/>
                        <a:gd name="connsiteX72" fmla="*/ 326232 w 1531144"/>
                        <a:gd name="connsiteY72" fmla="*/ 964407 h 969169"/>
                        <a:gd name="connsiteX73" fmla="*/ 259557 w 1531144"/>
                        <a:gd name="connsiteY73" fmla="*/ 912019 h 969169"/>
                        <a:gd name="connsiteX74" fmla="*/ 216694 w 1531144"/>
                        <a:gd name="connsiteY74" fmla="*/ 969169 h 969169"/>
                        <a:gd name="connsiteX75" fmla="*/ 4763 w 1531144"/>
                        <a:gd name="connsiteY75" fmla="*/ 966787 h 969169"/>
                        <a:gd name="connsiteX76" fmla="*/ 0 w 1531144"/>
                        <a:gd name="connsiteY76" fmla="*/ 766763 h 969169"/>
                        <a:gd name="connsiteX77" fmla="*/ 61914 w 1531144"/>
                        <a:gd name="connsiteY77" fmla="*/ 721519 h 969169"/>
                        <a:gd name="connsiteX78" fmla="*/ 45244 w 1531144"/>
                        <a:gd name="connsiteY78" fmla="*/ 678657 h 969169"/>
                        <a:gd name="connsiteX79" fmla="*/ 83344 w 1531144"/>
                        <a:gd name="connsiteY79" fmla="*/ 642938 h 969169"/>
                        <a:gd name="connsiteX80" fmla="*/ 50007 w 1531144"/>
                        <a:gd name="connsiteY80" fmla="*/ 592932 h 969169"/>
                        <a:gd name="connsiteX81" fmla="*/ 80963 w 1531144"/>
                        <a:gd name="connsiteY81" fmla="*/ 554832 h 969169"/>
                        <a:gd name="connsiteX82" fmla="*/ 23813 w 1531144"/>
                        <a:gd name="connsiteY82" fmla="*/ 481013 h 969169"/>
                        <a:gd name="connsiteX83" fmla="*/ 80963 w 1531144"/>
                        <a:gd name="connsiteY83" fmla="*/ 433388 h 969169"/>
                        <a:gd name="connsiteX84" fmla="*/ 76200 w 1531144"/>
                        <a:gd name="connsiteY84" fmla="*/ 395288 h 969169"/>
                        <a:gd name="connsiteX85" fmla="*/ 40482 w 1531144"/>
                        <a:gd name="connsiteY85" fmla="*/ 383382 h 969169"/>
                        <a:gd name="connsiteX86" fmla="*/ 76200 w 1531144"/>
                        <a:gd name="connsiteY86" fmla="*/ 340519 h 969169"/>
                        <a:gd name="connsiteX87" fmla="*/ 38100 w 1531144"/>
                        <a:gd name="connsiteY87" fmla="*/ 273845 h 969169"/>
                        <a:gd name="connsiteX88" fmla="*/ 59532 w 1531144"/>
                        <a:gd name="connsiteY88" fmla="*/ 240507 h 969169"/>
                        <a:gd name="connsiteX0" fmla="*/ 59532 w 1531144"/>
                        <a:gd name="connsiteY0" fmla="*/ 240507 h 969169"/>
                        <a:gd name="connsiteX1" fmla="*/ 354807 w 1531144"/>
                        <a:gd name="connsiteY1" fmla="*/ 130969 h 969169"/>
                        <a:gd name="connsiteX2" fmla="*/ 407194 w 1531144"/>
                        <a:gd name="connsiteY2" fmla="*/ 142875 h 969169"/>
                        <a:gd name="connsiteX3" fmla="*/ 469107 w 1531144"/>
                        <a:gd name="connsiteY3" fmla="*/ 50007 h 969169"/>
                        <a:gd name="connsiteX4" fmla="*/ 561975 w 1531144"/>
                        <a:gd name="connsiteY4" fmla="*/ 0 h 969169"/>
                        <a:gd name="connsiteX5" fmla="*/ 657225 w 1531144"/>
                        <a:gd name="connsiteY5" fmla="*/ 4763 h 969169"/>
                        <a:gd name="connsiteX6" fmla="*/ 757238 w 1531144"/>
                        <a:gd name="connsiteY6" fmla="*/ 57150 h 969169"/>
                        <a:gd name="connsiteX7" fmla="*/ 790575 w 1531144"/>
                        <a:gd name="connsiteY7" fmla="*/ 73819 h 969169"/>
                        <a:gd name="connsiteX8" fmla="*/ 840582 w 1531144"/>
                        <a:gd name="connsiteY8" fmla="*/ 23813 h 969169"/>
                        <a:gd name="connsiteX9" fmla="*/ 885825 w 1531144"/>
                        <a:gd name="connsiteY9" fmla="*/ 11907 h 969169"/>
                        <a:gd name="connsiteX10" fmla="*/ 931069 w 1531144"/>
                        <a:gd name="connsiteY10" fmla="*/ 52388 h 969169"/>
                        <a:gd name="connsiteX11" fmla="*/ 947738 w 1531144"/>
                        <a:gd name="connsiteY11" fmla="*/ 102394 h 969169"/>
                        <a:gd name="connsiteX12" fmla="*/ 942975 w 1531144"/>
                        <a:gd name="connsiteY12" fmla="*/ 154782 h 969169"/>
                        <a:gd name="connsiteX13" fmla="*/ 990600 w 1531144"/>
                        <a:gd name="connsiteY13" fmla="*/ 209550 h 969169"/>
                        <a:gd name="connsiteX14" fmla="*/ 1002507 w 1531144"/>
                        <a:gd name="connsiteY14" fmla="*/ 228600 h 969169"/>
                        <a:gd name="connsiteX15" fmla="*/ 983457 w 1531144"/>
                        <a:gd name="connsiteY15" fmla="*/ 288132 h 969169"/>
                        <a:gd name="connsiteX16" fmla="*/ 988219 w 1531144"/>
                        <a:gd name="connsiteY16" fmla="*/ 316707 h 969169"/>
                        <a:gd name="connsiteX17" fmla="*/ 957263 w 1531144"/>
                        <a:gd name="connsiteY17" fmla="*/ 345282 h 969169"/>
                        <a:gd name="connsiteX18" fmla="*/ 983457 w 1531144"/>
                        <a:gd name="connsiteY18" fmla="*/ 390525 h 969169"/>
                        <a:gd name="connsiteX19" fmla="*/ 1004888 w 1531144"/>
                        <a:gd name="connsiteY19" fmla="*/ 397669 h 969169"/>
                        <a:gd name="connsiteX20" fmla="*/ 1033463 w 1531144"/>
                        <a:gd name="connsiteY20" fmla="*/ 366713 h 969169"/>
                        <a:gd name="connsiteX21" fmla="*/ 1073944 w 1531144"/>
                        <a:gd name="connsiteY21" fmla="*/ 404813 h 969169"/>
                        <a:gd name="connsiteX22" fmla="*/ 1126332 w 1531144"/>
                        <a:gd name="connsiteY22" fmla="*/ 345282 h 969169"/>
                        <a:gd name="connsiteX23" fmla="*/ 1176338 w 1531144"/>
                        <a:gd name="connsiteY23" fmla="*/ 321469 h 969169"/>
                        <a:gd name="connsiteX24" fmla="*/ 1219200 w 1531144"/>
                        <a:gd name="connsiteY24" fmla="*/ 357188 h 969169"/>
                        <a:gd name="connsiteX25" fmla="*/ 1238250 w 1531144"/>
                        <a:gd name="connsiteY25" fmla="*/ 388144 h 969169"/>
                        <a:gd name="connsiteX26" fmla="*/ 1240632 w 1531144"/>
                        <a:gd name="connsiteY26" fmla="*/ 435769 h 969169"/>
                        <a:gd name="connsiteX27" fmla="*/ 1281113 w 1531144"/>
                        <a:gd name="connsiteY27" fmla="*/ 445294 h 969169"/>
                        <a:gd name="connsiteX28" fmla="*/ 1290638 w 1531144"/>
                        <a:gd name="connsiteY28" fmla="*/ 383382 h 969169"/>
                        <a:gd name="connsiteX29" fmla="*/ 1326357 w 1531144"/>
                        <a:gd name="connsiteY29" fmla="*/ 366713 h 969169"/>
                        <a:gd name="connsiteX30" fmla="*/ 1397794 w 1531144"/>
                        <a:gd name="connsiteY30" fmla="*/ 414338 h 969169"/>
                        <a:gd name="connsiteX31" fmla="*/ 1426369 w 1531144"/>
                        <a:gd name="connsiteY31" fmla="*/ 421482 h 969169"/>
                        <a:gd name="connsiteX32" fmla="*/ 1473994 w 1531144"/>
                        <a:gd name="connsiteY32" fmla="*/ 376238 h 969169"/>
                        <a:gd name="connsiteX33" fmla="*/ 1516857 w 1531144"/>
                        <a:gd name="connsiteY33" fmla="*/ 421482 h 969169"/>
                        <a:gd name="connsiteX34" fmla="*/ 1502569 w 1531144"/>
                        <a:gd name="connsiteY34" fmla="*/ 447675 h 969169"/>
                        <a:gd name="connsiteX35" fmla="*/ 1464469 w 1531144"/>
                        <a:gd name="connsiteY35" fmla="*/ 466725 h 969169"/>
                        <a:gd name="connsiteX36" fmla="*/ 1431132 w 1531144"/>
                        <a:gd name="connsiteY36" fmla="*/ 507207 h 969169"/>
                        <a:gd name="connsiteX37" fmla="*/ 1397794 w 1531144"/>
                        <a:gd name="connsiteY37" fmla="*/ 547688 h 969169"/>
                        <a:gd name="connsiteX38" fmla="*/ 1397794 w 1531144"/>
                        <a:gd name="connsiteY38" fmla="*/ 547688 h 969169"/>
                        <a:gd name="connsiteX39" fmla="*/ 1426369 w 1531144"/>
                        <a:gd name="connsiteY39" fmla="*/ 588169 h 969169"/>
                        <a:gd name="connsiteX40" fmla="*/ 1435894 w 1531144"/>
                        <a:gd name="connsiteY40" fmla="*/ 635794 h 969169"/>
                        <a:gd name="connsiteX41" fmla="*/ 1488282 w 1531144"/>
                        <a:gd name="connsiteY41" fmla="*/ 619125 h 969169"/>
                        <a:gd name="connsiteX42" fmla="*/ 1473994 w 1531144"/>
                        <a:gd name="connsiteY42" fmla="*/ 657225 h 969169"/>
                        <a:gd name="connsiteX43" fmla="*/ 1447800 w 1531144"/>
                        <a:gd name="connsiteY43" fmla="*/ 683419 h 969169"/>
                        <a:gd name="connsiteX44" fmla="*/ 1495425 w 1531144"/>
                        <a:gd name="connsiteY44" fmla="*/ 719138 h 969169"/>
                        <a:gd name="connsiteX45" fmla="*/ 1531144 w 1531144"/>
                        <a:gd name="connsiteY45" fmla="*/ 738188 h 969169"/>
                        <a:gd name="connsiteX46" fmla="*/ 1512094 w 1531144"/>
                        <a:gd name="connsiteY46" fmla="*/ 764382 h 969169"/>
                        <a:gd name="connsiteX47" fmla="*/ 1483519 w 1531144"/>
                        <a:gd name="connsiteY47" fmla="*/ 759619 h 969169"/>
                        <a:gd name="connsiteX48" fmla="*/ 1521619 w 1531144"/>
                        <a:gd name="connsiteY48" fmla="*/ 814388 h 969169"/>
                        <a:gd name="connsiteX49" fmla="*/ 1483519 w 1531144"/>
                        <a:gd name="connsiteY49" fmla="*/ 816769 h 969169"/>
                        <a:gd name="connsiteX50" fmla="*/ 1447800 w 1531144"/>
                        <a:gd name="connsiteY50" fmla="*/ 812007 h 969169"/>
                        <a:gd name="connsiteX51" fmla="*/ 1371600 w 1531144"/>
                        <a:gd name="connsiteY51" fmla="*/ 795338 h 969169"/>
                        <a:gd name="connsiteX52" fmla="*/ 1338263 w 1531144"/>
                        <a:gd name="connsiteY52" fmla="*/ 790575 h 969169"/>
                        <a:gd name="connsiteX53" fmla="*/ 1319213 w 1531144"/>
                        <a:gd name="connsiteY53" fmla="*/ 723900 h 969169"/>
                        <a:gd name="connsiteX54" fmla="*/ 1181100 w 1531144"/>
                        <a:gd name="connsiteY54" fmla="*/ 757238 h 969169"/>
                        <a:gd name="connsiteX55" fmla="*/ 1145382 w 1531144"/>
                        <a:gd name="connsiteY55" fmla="*/ 738188 h 969169"/>
                        <a:gd name="connsiteX56" fmla="*/ 1062038 w 1531144"/>
                        <a:gd name="connsiteY56" fmla="*/ 645319 h 969169"/>
                        <a:gd name="connsiteX57" fmla="*/ 1028700 w 1531144"/>
                        <a:gd name="connsiteY57" fmla="*/ 654844 h 969169"/>
                        <a:gd name="connsiteX58" fmla="*/ 992982 w 1531144"/>
                        <a:gd name="connsiteY58" fmla="*/ 652463 h 969169"/>
                        <a:gd name="connsiteX59" fmla="*/ 897732 w 1531144"/>
                        <a:gd name="connsiteY59" fmla="*/ 621507 h 969169"/>
                        <a:gd name="connsiteX60" fmla="*/ 840582 w 1531144"/>
                        <a:gd name="connsiteY60" fmla="*/ 673894 h 969169"/>
                        <a:gd name="connsiteX61" fmla="*/ 792957 w 1531144"/>
                        <a:gd name="connsiteY61" fmla="*/ 611982 h 969169"/>
                        <a:gd name="connsiteX62" fmla="*/ 747713 w 1531144"/>
                        <a:gd name="connsiteY62" fmla="*/ 597694 h 969169"/>
                        <a:gd name="connsiteX63" fmla="*/ 742950 w 1531144"/>
                        <a:gd name="connsiteY63" fmla="*/ 552450 h 969169"/>
                        <a:gd name="connsiteX64" fmla="*/ 707232 w 1531144"/>
                        <a:gd name="connsiteY64" fmla="*/ 533400 h 969169"/>
                        <a:gd name="connsiteX65" fmla="*/ 664369 w 1531144"/>
                        <a:gd name="connsiteY65" fmla="*/ 542925 h 969169"/>
                        <a:gd name="connsiteX66" fmla="*/ 652463 w 1531144"/>
                        <a:gd name="connsiteY66" fmla="*/ 564357 h 969169"/>
                        <a:gd name="connsiteX67" fmla="*/ 590550 w 1531144"/>
                        <a:gd name="connsiteY67" fmla="*/ 550069 h 969169"/>
                        <a:gd name="connsiteX68" fmla="*/ 481013 w 1531144"/>
                        <a:gd name="connsiteY68" fmla="*/ 626269 h 969169"/>
                        <a:gd name="connsiteX69" fmla="*/ 514350 w 1531144"/>
                        <a:gd name="connsiteY69" fmla="*/ 728663 h 969169"/>
                        <a:gd name="connsiteX70" fmla="*/ 535782 w 1531144"/>
                        <a:gd name="connsiteY70" fmla="*/ 797719 h 969169"/>
                        <a:gd name="connsiteX71" fmla="*/ 454819 w 1531144"/>
                        <a:gd name="connsiteY71" fmla="*/ 859632 h 969169"/>
                        <a:gd name="connsiteX72" fmla="*/ 326232 w 1531144"/>
                        <a:gd name="connsiteY72" fmla="*/ 964407 h 969169"/>
                        <a:gd name="connsiteX73" fmla="*/ 259557 w 1531144"/>
                        <a:gd name="connsiteY73" fmla="*/ 912019 h 969169"/>
                        <a:gd name="connsiteX74" fmla="*/ 216694 w 1531144"/>
                        <a:gd name="connsiteY74" fmla="*/ 969169 h 969169"/>
                        <a:gd name="connsiteX75" fmla="*/ 4763 w 1531144"/>
                        <a:gd name="connsiteY75" fmla="*/ 966787 h 969169"/>
                        <a:gd name="connsiteX76" fmla="*/ 0 w 1531144"/>
                        <a:gd name="connsiteY76" fmla="*/ 766763 h 969169"/>
                        <a:gd name="connsiteX77" fmla="*/ 61914 w 1531144"/>
                        <a:gd name="connsiteY77" fmla="*/ 721519 h 969169"/>
                        <a:gd name="connsiteX78" fmla="*/ 45244 w 1531144"/>
                        <a:gd name="connsiteY78" fmla="*/ 678657 h 969169"/>
                        <a:gd name="connsiteX79" fmla="*/ 80963 w 1531144"/>
                        <a:gd name="connsiteY79" fmla="*/ 640557 h 969169"/>
                        <a:gd name="connsiteX80" fmla="*/ 50007 w 1531144"/>
                        <a:gd name="connsiteY80" fmla="*/ 592932 h 969169"/>
                        <a:gd name="connsiteX81" fmla="*/ 80963 w 1531144"/>
                        <a:gd name="connsiteY81" fmla="*/ 554832 h 969169"/>
                        <a:gd name="connsiteX82" fmla="*/ 23813 w 1531144"/>
                        <a:gd name="connsiteY82" fmla="*/ 481013 h 969169"/>
                        <a:gd name="connsiteX83" fmla="*/ 80963 w 1531144"/>
                        <a:gd name="connsiteY83" fmla="*/ 433388 h 969169"/>
                        <a:gd name="connsiteX84" fmla="*/ 76200 w 1531144"/>
                        <a:gd name="connsiteY84" fmla="*/ 395288 h 969169"/>
                        <a:gd name="connsiteX85" fmla="*/ 40482 w 1531144"/>
                        <a:gd name="connsiteY85" fmla="*/ 383382 h 969169"/>
                        <a:gd name="connsiteX86" fmla="*/ 76200 w 1531144"/>
                        <a:gd name="connsiteY86" fmla="*/ 340519 h 969169"/>
                        <a:gd name="connsiteX87" fmla="*/ 38100 w 1531144"/>
                        <a:gd name="connsiteY87" fmla="*/ 273845 h 969169"/>
                        <a:gd name="connsiteX88" fmla="*/ 59532 w 1531144"/>
                        <a:gd name="connsiteY88" fmla="*/ 240507 h 969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</a:cxnLst>
                      <a:rect l="l" t="t" r="r" b="b"/>
                      <a:pathLst>
                        <a:path w="1531144" h="969169">
                          <a:moveTo>
                            <a:pt x="59532" y="240507"/>
                          </a:moveTo>
                          <a:lnTo>
                            <a:pt x="354807" y="130969"/>
                          </a:lnTo>
                          <a:lnTo>
                            <a:pt x="407194" y="142875"/>
                          </a:lnTo>
                          <a:lnTo>
                            <a:pt x="469107" y="50007"/>
                          </a:lnTo>
                          <a:lnTo>
                            <a:pt x="561975" y="0"/>
                          </a:lnTo>
                          <a:lnTo>
                            <a:pt x="657225" y="4763"/>
                          </a:lnTo>
                          <a:lnTo>
                            <a:pt x="757238" y="57150"/>
                          </a:lnTo>
                          <a:lnTo>
                            <a:pt x="790575" y="73819"/>
                          </a:lnTo>
                          <a:lnTo>
                            <a:pt x="840582" y="23813"/>
                          </a:lnTo>
                          <a:lnTo>
                            <a:pt x="885825" y="11907"/>
                          </a:lnTo>
                          <a:lnTo>
                            <a:pt x="931069" y="52388"/>
                          </a:lnTo>
                          <a:lnTo>
                            <a:pt x="947738" y="102394"/>
                          </a:lnTo>
                          <a:lnTo>
                            <a:pt x="942975" y="154782"/>
                          </a:lnTo>
                          <a:lnTo>
                            <a:pt x="990600" y="209550"/>
                          </a:lnTo>
                          <a:lnTo>
                            <a:pt x="1002507" y="228600"/>
                          </a:lnTo>
                          <a:lnTo>
                            <a:pt x="983457" y="288132"/>
                          </a:lnTo>
                          <a:lnTo>
                            <a:pt x="988219" y="316707"/>
                          </a:lnTo>
                          <a:lnTo>
                            <a:pt x="957263" y="345282"/>
                          </a:lnTo>
                          <a:lnTo>
                            <a:pt x="983457" y="390525"/>
                          </a:lnTo>
                          <a:lnTo>
                            <a:pt x="1004888" y="397669"/>
                          </a:lnTo>
                          <a:lnTo>
                            <a:pt x="1033463" y="366713"/>
                          </a:lnTo>
                          <a:lnTo>
                            <a:pt x="1073944" y="404813"/>
                          </a:lnTo>
                          <a:lnTo>
                            <a:pt x="1126332" y="345282"/>
                          </a:lnTo>
                          <a:lnTo>
                            <a:pt x="1176338" y="321469"/>
                          </a:lnTo>
                          <a:lnTo>
                            <a:pt x="1219200" y="357188"/>
                          </a:lnTo>
                          <a:lnTo>
                            <a:pt x="1238250" y="388144"/>
                          </a:lnTo>
                          <a:lnTo>
                            <a:pt x="1240632" y="435769"/>
                          </a:lnTo>
                          <a:lnTo>
                            <a:pt x="1281113" y="445294"/>
                          </a:lnTo>
                          <a:lnTo>
                            <a:pt x="1290638" y="383382"/>
                          </a:lnTo>
                          <a:lnTo>
                            <a:pt x="1326357" y="366713"/>
                          </a:lnTo>
                          <a:lnTo>
                            <a:pt x="1397794" y="414338"/>
                          </a:lnTo>
                          <a:lnTo>
                            <a:pt x="1426369" y="421482"/>
                          </a:lnTo>
                          <a:lnTo>
                            <a:pt x="1473994" y="376238"/>
                          </a:lnTo>
                          <a:lnTo>
                            <a:pt x="1516857" y="421482"/>
                          </a:lnTo>
                          <a:lnTo>
                            <a:pt x="1502569" y="447675"/>
                          </a:lnTo>
                          <a:lnTo>
                            <a:pt x="1464469" y="466725"/>
                          </a:lnTo>
                          <a:lnTo>
                            <a:pt x="1431132" y="507207"/>
                          </a:lnTo>
                          <a:lnTo>
                            <a:pt x="1397794" y="547688"/>
                          </a:lnTo>
                          <a:lnTo>
                            <a:pt x="1397794" y="547688"/>
                          </a:lnTo>
                          <a:lnTo>
                            <a:pt x="1426369" y="588169"/>
                          </a:lnTo>
                          <a:lnTo>
                            <a:pt x="1435894" y="635794"/>
                          </a:lnTo>
                          <a:lnTo>
                            <a:pt x="1488282" y="619125"/>
                          </a:lnTo>
                          <a:lnTo>
                            <a:pt x="1473994" y="657225"/>
                          </a:lnTo>
                          <a:lnTo>
                            <a:pt x="1447800" y="683419"/>
                          </a:lnTo>
                          <a:lnTo>
                            <a:pt x="1495425" y="719138"/>
                          </a:lnTo>
                          <a:lnTo>
                            <a:pt x="1531144" y="738188"/>
                          </a:lnTo>
                          <a:lnTo>
                            <a:pt x="1512094" y="764382"/>
                          </a:lnTo>
                          <a:lnTo>
                            <a:pt x="1483519" y="759619"/>
                          </a:lnTo>
                          <a:lnTo>
                            <a:pt x="1521619" y="814388"/>
                          </a:lnTo>
                          <a:lnTo>
                            <a:pt x="1483519" y="816769"/>
                          </a:lnTo>
                          <a:cubicBezTo>
                            <a:pt x="1457439" y="810974"/>
                            <a:pt x="1469406" y="812007"/>
                            <a:pt x="1447800" y="812007"/>
                          </a:cubicBezTo>
                          <a:lnTo>
                            <a:pt x="1371600" y="795338"/>
                          </a:lnTo>
                          <a:lnTo>
                            <a:pt x="1338263" y="790575"/>
                          </a:lnTo>
                          <a:lnTo>
                            <a:pt x="1319213" y="723900"/>
                          </a:lnTo>
                          <a:lnTo>
                            <a:pt x="1181100" y="757238"/>
                          </a:lnTo>
                          <a:lnTo>
                            <a:pt x="1145382" y="738188"/>
                          </a:lnTo>
                          <a:lnTo>
                            <a:pt x="1062038" y="645319"/>
                          </a:lnTo>
                          <a:lnTo>
                            <a:pt x="1028700" y="654844"/>
                          </a:lnTo>
                          <a:lnTo>
                            <a:pt x="992982" y="652463"/>
                          </a:lnTo>
                          <a:lnTo>
                            <a:pt x="897732" y="621507"/>
                          </a:lnTo>
                          <a:lnTo>
                            <a:pt x="840582" y="673894"/>
                          </a:lnTo>
                          <a:lnTo>
                            <a:pt x="792957" y="611982"/>
                          </a:lnTo>
                          <a:lnTo>
                            <a:pt x="747713" y="597694"/>
                          </a:lnTo>
                          <a:lnTo>
                            <a:pt x="742950" y="552450"/>
                          </a:lnTo>
                          <a:lnTo>
                            <a:pt x="707232" y="533400"/>
                          </a:lnTo>
                          <a:lnTo>
                            <a:pt x="664369" y="542925"/>
                          </a:lnTo>
                          <a:lnTo>
                            <a:pt x="652463" y="564357"/>
                          </a:lnTo>
                          <a:lnTo>
                            <a:pt x="590550" y="550069"/>
                          </a:lnTo>
                          <a:lnTo>
                            <a:pt x="481013" y="626269"/>
                          </a:lnTo>
                          <a:lnTo>
                            <a:pt x="514350" y="728663"/>
                          </a:lnTo>
                          <a:lnTo>
                            <a:pt x="535782" y="797719"/>
                          </a:lnTo>
                          <a:lnTo>
                            <a:pt x="454819" y="859632"/>
                          </a:lnTo>
                          <a:lnTo>
                            <a:pt x="326232" y="964407"/>
                          </a:lnTo>
                          <a:lnTo>
                            <a:pt x="259557" y="912019"/>
                          </a:lnTo>
                          <a:lnTo>
                            <a:pt x="216694" y="969169"/>
                          </a:lnTo>
                          <a:lnTo>
                            <a:pt x="4763" y="966787"/>
                          </a:lnTo>
                          <a:lnTo>
                            <a:pt x="0" y="766763"/>
                          </a:lnTo>
                          <a:lnTo>
                            <a:pt x="61914" y="721519"/>
                          </a:lnTo>
                          <a:lnTo>
                            <a:pt x="45244" y="678657"/>
                          </a:lnTo>
                          <a:lnTo>
                            <a:pt x="80963" y="640557"/>
                          </a:lnTo>
                          <a:lnTo>
                            <a:pt x="50007" y="592932"/>
                          </a:lnTo>
                          <a:lnTo>
                            <a:pt x="80963" y="554832"/>
                          </a:lnTo>
                          <a:lnTo>
                            <a:pt x="23813" y="481013"/>
                          </a:lnTo>
                          <a:lnTo>
                            <a:pt x="80963" y="433388"/>
                          </a:lnTo>
                          <a:lnTo>
                            <a:pt x="76200" y="395288"/>
                          </a:lnTo>
                          <a:lnTo>
                            <a:pt x="40482" y="383382"/>
                          </a:lnTo>
                          <a:lnTo>
                            <a:pt x="76200" y="340519"/>
                          </a:lnTo>
                          <a:lnTo>
                            <a:pt x="38100" y="273845"/>
                          </a:lnTo>
                          <a:lnTo>
                            <a:pt x="59532" y="240507"/>
                          </a:lnTo>
                          <a:close/>
                        </a:path>
                      </a:pathLst>
                    </a:custGeom>
                    <a:solidFill>
                      <a:schemeClr val="accent6">
                        <a:lumMod val="60000"/>
                        <a:lumOff val="40000"/>
                        <a:alpha val="50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/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22" name="Freeform 20"/>
                    <p:cNvSpPr/>
                    <p:nvPr/>
                  </p:nvSpPr>
                  <p:spPr>
                    <a:xfrm>
                      <a:off x="5026552" y="1055687"/>
                      <a:ext cx="854190" cy="955112"/>
                    </a:xfrm>
                    <a:custGeom>
                      <a:avLst/>
                      <a:gdLst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107156 w 1216819"/>
                        <a:gd name="connsiteY31" fmla="*/ 540543 h 1466850"/>
                        <a:gd name="connsiteX32" fmla="*/ 92869 w 1216819"/>
                        <a:gd name="connsiteY32" fmla="*/ 573881 h 1466850"/>
                        <a:gd name="connsiteX33" fmla="*/ 61913 w 1216819"/>
                        <a:gd name="connsiteY33" fmla="*/ 566737 h 1466850"/>
                        <a:gd name="connsiteX34" fmla="*/ 128588 w 1216819"/>
                        <a:gd name="connsiteY34" fmla="*/ 657225 h 1466850"/>
                        <a:gd name="connsiteX35" fmla="*/ 133350 w 1216819"/>
                        <a:gd name="connsiteY35" fmla="*/ 685800 h 1466850"/>
                        <a:gd name="connsiteX36" fmla="*/ 145256 w 1216819"/>
                        <a:gd name="connsiteY36" fmla="*/ 795337 h 1466850"/>
                        <a:gd name="connsiteX37" fmla="*/ 140494 w 1216819"/>
                        <a:gd name="connsiteY37" fmla="*/ 833437 h 1466850"/>
                        <a:gd name="connsiteX38" fmla="*/ 121444 w 1216819"/>
                        <a:gd name="connsiteY38" fmla="*/ 928687 h 1466850"/>
                        <a:gd name="connsiteX39" fmla="*/ 142875 w 1216819"/>
                        <a:gd name="connsiteY39" fmla="*/ 995362 h 1466850"/>
                        <a:gd name="connsiteX40" fmla="*/ 102394 w 1216819"/>
                        <a:gd name="connsiteY40" fmla="*/ 1059656 h 1466850"/>
                        <a:gd name="connsiteX41" fmla="*/ 138113 w 1216819"/>
                        <a:gd name="connsiteY41" fmla="*/ 1090612 h 1466850"/>
                        <a:gd name="connsiteX42" fmla="*/ 138113 w 1216819"/>
                        <a:gd name="connsiteY42" fmla="*/ 1090612 h 1466850"/>
                        <a:gd name="connsiteX43" fmla="*/ 200025 w 1216819"/>
                        <a:gd name="connsiteY43" fmla="*/ 1183481 h 1466850"/>
                        <a:gd name="connsiteX44" fmla="*/ 180975 w 1216819"/>
                        <a:gd name="connsiteY44" fmla="*/ 1216818 h 1466850"/>
                        <a:gd name="connsiteX45" fmla="*/ 171450 w 1216819"/>
                        <a:gd name="connsiteY45" fmla="*/ 1243012 h 1466850"/>
                        <a:gd name="connsiteX46" fmla="*/ 214313 w 1216819"/>
                        <a:gd name="connsiteY46" fmla="*/ 1278731 h 1466850"/>
                        <a:gd name="connsiteX47" fmla="*/ 290513 w 1216819"/>
                        <a:gd name="connsiteY47" fmla="*/ 1285875 h 1466850"/>
                        <a:gd name="connsiteX48" fmla="*/ 350044 w 1216819"/>
                        <a:gd name="connsiteY48" fmla="*/ 1309687 h 1466850"/>
                        <a:gd name="connsiteX49" fmla="*/ 428625 w 1216819"/>
                        <a:gd name="connsiteY49" fmla="*/ 1350168 h 1466850"/>
                        <a:gd name="connsiteX50" fmla="*/ 426244 w 1216819"/>
                        <a:gd name="connsiteY50" fmla="*/ 1383506 h 1466850"/>
                        <a:gd name="connsiteX51" fmla="*/ 438150 w 1216819"/>
                        <a:gd name="connsiteY51" fmla="*/ 1404937 h 1466850"/>
                        <a:gd name="connsiteX52" fmla="*/ 421481 w 1216819"/>
                        <a:gd name="connsiteY52" fmla="*/ 1450181 h 1466850"/>
                        <a:gd name="connsiteX53" fmla="*/ 459581 w 1216819"/>
                        <a:gd name="connsiteY53" fmla="*/ 1466850 h 1466850"/>
                        <a:gd name="connsiteX54" fmla="*/ 495300 w 1216819"/>
                        <a:gd name="connsiteY54" fmla="*/ 1409700 h 1466850"/>
                        <a:gd name="connsiteX55" fmla="*/ 554831 w 1216819"/>
                        <a:gd name="connsiteY55" fmla="*/ 1393031 h 1466850"/>
                        <a:gd name="connsiteX56" fmla="*/ 600075 w 1216819"/>
                        <a:gd name="connsiteY56" fmla="*/ 1357312 h 1466850"/>
                        <a:gd name="connsiteX57" fmla="*/ 654844 w 1216819"/>
                        <a:gd name="connsiteY57" fmla="*/ 1366837 h 1466850"/>
                        <a:gd name="connsiteX58" fmla="*/ 731044 w 1216819"/>
                        <a:gd name="connsiteY58" fmla="*/ 1331118 h 1466850"/>
                        <a:gd name="connsiteX59" fmla="*/ 771525 w 1216819"/>
                        <a:gd name="connsiteY59" fmla="*/ 1254918 h 1466850"/>
                        <a:gd name="connsiteX60" fmla="*/ 792956 w 1216819"/>
                        <a:gd name="connsiteY60" fmla="*/ 1238250 h 1466850"/>
                        <a:gd name="connsiteX61" fmla="*/ 802481 w 1216819"/>
                        <a:gd name="connsiteY61" fmla="*/ 1204912 h 1466850"/>
                        <a:gd name="connsiteX62" fmla="*/ 821531 w 1216819"/>
                        <a:gd name="connsiteY62" fmla="*/ 1200150 h 1466850"/>
                        <a:gd name="connsiteX63" fmla="*/ 969169 w 1216819"/>
                        <a:gd name="connsiteY63" fmla="*/ 1231106 h 1466850"/>
                        <a:gd name="connsiteX64" fmla="*/ 981075 w 1216819"/>
                        <a:gd name="connsiteY64" fmla="*/ 1297781 h 1466850"/>
                        <a:gd name="connsiteX65" fmla="*/ 1002506 w 1216819"/>
                        <a:gd name="connsiteY65" fmla="*/ 1331118 h 1466850"/>
                        <a:gd name="connsiteX66" fmla="*/ 1016794 w 1216819"/>
                        <a:gd name="connsiteY66" fmla="*/ 1371600 h 1466850"/>
                        <a:gd name="connsiteX67" fmla="*/ 1054894 w 1216819"/>
                        <a:gd name="connsiteY67" fmla="*/ 1381125 h 1466850"/>
                        <a:gd name="connsiteX68" fmla="*/ 1107281 w 1216819"/>
                        <a:gd name="connsiteY68" fmla="*/ 1366837 h 1466850"/>
                        <a:gd name="connsiteX69" fmla="*/ 1133475 w 1216819"/>
                        <a:gd name="connsiteY69" fmla="*/ 1362075 h 1466850"/>
                        <a:gd name="connsiteX70" fmla="*/ 1188244 w 1216819"/>
                        <a:gd name="connsiteY70" fmla="*/ 1288256 h 1466850"/>
                        <a:gd name="connsiteX71" fmla="*/ 1178719 w 1216819"/>
                        <a:gd name="connsiteY71" fmla="*/ 1233487 h 1466850"/>
                        <a:gd name="connsiteX72" fmla="*/ 1171575 w 1216819"/>
                        <a:gd name="connsiteY72" fmla="*/ 1183481 h 1466850"/>
                        <a:gd name="connsiteX73" fmla="*/ 1050131 w 1216819"/>
                        <a:gd name="connsiteY73" fmla="*/ 1054893 h 1466850"/>
                        <a:gd name="connsiteX74" fmla="*/ 1052513 w 1216819"/>
                        <a:gd name="connsiteY74" fmla="*/ 1002506 h 1466850"/>
                        <a:gd name="connsiteX75" fmla="*/ 1090613 w 1216819"/>
                        <a:gd name="connsiteY75" fmla="*/ 971550 h 1466850"/>
                        <a:gd name="connsiteX76" fmla="*/ 1119188 w 1216819"/>
                        <a:gd name="connsiteY76" fmla="*/ 919162 h 1466850"/>
                        <a:gd name="connsiteX77" fmla="*/ 1195388 w 1216819"/>
                        <a:gd name="connsiteY77" fmla="*/ 850106 h 1466850"/>
                        <a:gd name="connsiteX78" fmla="*/ 1216819 w 1216819"/>
                        <a:gd name="connsiteY78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107156 w 1216819"/>
                        <a:gd name="connsiteY31" fmla="*/ 540543 h 1466850"/>
                        <a:gd name="connsiteX32" fmla="*/ 92869 w 1216819"/>
                        <a:gd name="connsiteY32" fmla="*/ 573881 h 1466850"/>
                        <a:gd name="connsiteX33" fmla="*/ 61913 w 1216819"/>
                        <a:gd name="connsiteY33" fmla="*/ 566737 h 1466850"/>
                        <a:gd name="connsiteX34" fmla="*/ 90488 w 1216819"/>
                        <a:gd name="connsiteY34" fmla="*/ 600075 h 1466850"/>
                        <a:gd name="connsiteX35" fmla="*/ 128588 w 1216819"/>
                        <a:gd name="connsiteY35" fmla="*/ 657225 h 1466850"/>
                        <a:gd name="connsiteX36" fmla="*/ 133350 w 1216819"/>
                        <a:gd name="connsiteY36" fmla="*/ 685800 h 1466850"/>
                        <a:gd name="connsiteX37" fmla="*/ 145256 w 1216819"/>
                        <a:gd name="connsiteY37" fmla="*/ 795337 h 1466850"/>
                        <a:gd name="connsiteX38" fmla="*/ 140494 w 1216819"/>
                        <a:gd name="connsiteY38" fmla="*/ 833437 h 1466850"/>
                        <a:gd name="connsiteX39" fmla="*/ 121444 w 1216819"/>
                        <a:gd name="connsiteY39" fmla="*/ 928687 h 1466850"/>
                        <a:gd name="connsiteX40" fmla="*/ 142875 w 1216819"/>
                        <a:gd name="connsiteY40" fmla="*/ 995362 h 1466850"/>
                        <a:gd name="connsiteX41" fmla="*/ 102394 w 1216819"/>
                        <a:gd name="connsiteY41" fmla="*/ 1059656 h 1466850"/>
                        <a:gd name="connsiteX42" fmla="*/ 138113 w 1216819"/>
                        <a:gd name="connsiteY42" fmla="*/ 1090612 h 1466850"/>
                        <a:gd name="connsiteX43" fmla="*/ 138113 w 1216819"/>
                        <a:gd name="connsiteY43" fmla="*/ 1090612 h 1466850"/>
                        <a:gd name="connsiteX44" fmla="*/ 200025 w 1216819"/>
                        <a:gd name="connsiteY44" fmla="*/ 1183481 h 1466850"/>
                        <a:gd name="connsiteX45" fmla="*/ 180975 w 1216819"/>
                        <a:gd name="connsiteY45" fmla="*/ 1216818 h 1466850"/>
                        <a:gd name="connsiteX46" fmla="*/ 171450 w 1216819"/>
                        <a:gd name="connsiteY46" fmla="*/ 1243012 h 1466850"/>
                        <a:gd name="connsiteX47" fmla="*/ 214313 w 1216819"/>
                        <a:gd name="connsiteY47" fmla="*/ 1278731 h 1466850"/>
                        <a:gd name="connsiteX48" fmla="*/ 290513 w 1216819"/>
                        <a:gd name="connsiteY48" fmla="*/ 1285875 h 1466850"/>
                        <a:gd name="connsiteX49" fmla="*/ 350044 w 1216819"/>
                        <a:gd name="connsiteY49" fmla="*/ 1309687 h 1466850"/>
                        <a:gd name="connsiteX50" fmla="*/ 428625 w 1216819"/>
                        <a:gd name="connsiteY50" fmla="*/ 1350168 h 1466850"/>
                        <a:gd name="connsiteX51" fmla="*/ 426244 w 1216819"/>
                        <a:gd name="connsiteY51" fmla="*/ 1383506 h 1466850"/>
                        <a:gd name="connsiteX52" fmla="*/ 438150 w 1216819"/>
                        <a:gd name="connsiteY52" fmla="*/ 1404937 h 1466850"/>
                        <a:gd name="connsiteX53" fmla="*/ 421481 w 1216819"/>
                        <a:gd name="connsiteY53" fmla="*/ 1450181 h 1466850"/>
                        <a:gd name="connsiteX54" fmla="*/ 459581 w 1216819"/>
                        <a:gd name="connsiteY54" fmla="*/ 1466850 h 1466850"/>
                        <a:gd name="connsiteX55" fmla="*/ 495300 w 1216819"/>
                        <a:gd name="connsiteY55" fmla="*/ 1409700 h 1466850"/>
                        <a:gd name="connsiteX56" fmla="*/ 554831 w 1216819"/>
                        <a:gd name="connsiteY56" fmla="*/ 1393031 h 1466850"/>
                        <a:gd name="connsiteX57" fmla="*/ 600075 w 1216819"/>
                        <a:gd name="connsiteY57" fmla="*/ 1357312 h 1466850"/>
                        <a:gd name="connsiteX58" fmla="*/ 654844 w 1216819"/>
                        <a:gd name="connsiteY58" fmla="*/ 1366837 h 1466850"/>
                        <a:gd name="connsiteX59" fmla="*/ 731044 w 1216819"/>
                        <a:gd name="connsiteY59" fmla="*/ 1331118 h 1466850"/>
                        <a:gd name="connsiteX60" fmla="*/ 771525 w 1216819"/>
                        <a:gd name="connsiteY60" fmla="*/ 1254918 h 1466850"/>
                        <a:gd name="connsiteX61" fmla="*/ 792956 w 1216819"/>
                        <a:gd name="connsiteY61" fmla="*/ 1238250 h 1466850"/>
                        <a:gd name="connsiteX62" fmla="*/ 802481 w 1216819"/>
                        <a:gd name="connsiteY62" fmla="*/ 1204912 h 1466850"/>
                        <a:gd name="connsiteX63" fmla="*/ 821531 w 1216819"/>
                        <a:gd name="connsiteY63" fmla="*/ 1200150 h 1466850"/>
                        <a:gd name="connsiteX64" fmla="*/ 969169 w 1216819"/>
                        <a:gd name="connsiteY64" fmla="*/ 1231106 h 1466850"/>
                        <a:gd name="connsiteX65" fmla="*/ 981075 w 1216819"/>
                        <a:gd name="connsiteY65" fmla="*/ 1297781 h 1466850"/>
                        <a:gd name="connsiteX66" fmla="*/ 1002506 w 1216819"/>
                        <a:gd name="connsiteY66" fmla="*/ 1331118 h 1466850"/>
                        <a:gd name="connsiteX67" fmla="*/ 1016794 w 1216819"/>
                        <a:gd name="connsiteY67" fmla="*/ 1371600 h 1466850"/>
                        <a:gd name="connsiteX68" fmla="*/ 1054894 w 1216819"/>
                        <a:gd name="connsiteY68" fmla="*/ 1381125 h 1466850"/>
                        <a:gd name="connsiteX69" fmla="*/ 1107281 w 1216819"/>
                        <a:gd name="connsiteY69" fmla="*/ 1366837 h 1466850"/>
                        <a:gd name="connsiteX70" fmla="*/ 1133475 w 1216819"/>
                        <a:gd name="connsiteY70" fmla="*/ 1362075 h 1466850"/>
                        <a:gd name="connsiteX71" fmla="*/ 1188244 w 1216819"/>
                        <a:gd name="connsiteY71" fmla="*/ 1288256 h 1466850"/>
                        <a:gd name="connsiteX72" fmla="*/ 1178719 w 1216819"/>
                        <a:gd name="connsiteY72" fmla="*/ 1233487 h 1466850"/>
                        <a:gd name="connsiteX73" fmla="*/ 1171575 w 1216819"/>
                        <a:gd name="connsiteY73" fmla="*/ 1183481 h 1466850"/>
                        <a:gd name="connsiteX74" fmla="*/ 1050131 w 1216819"/>
                        <a:gd name="connsiteY74" fmla="*/ 1054893 h 1466850"/>
                        <a:gd name="connsiteX75" fmla="*/ 1052513 w 1216819"/>
                        <a:gd name="connsiteY75" fmla="*/ 1002506 h 1466850"/>
                        <a:gd name="connsiteX76" fmla="*/ 1090613 w 1216819"/>
                        <a:gd name="connsiteY76" fmla="*/ 971550 h 1466850"/>
                        <a:gd name="connsiteX77" fmla="*/ 1119188 w 1216819"/>
                        <a:gd name="connsiteY77" fmla="*/ 919162 h 1466850"/>
                        <a:gd name="connsiteX78" fmla="*/ 1195388 w 1216819"/>
                        <a:gd name="connsiteY78" fmla="*/ 850106 h 1466850"/>
                        <a:gd name="connsiteX79" fmla="*/ 1216819 w 1216819"/>
                        <a:gd name="connsiteY79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107156 w 1216819"/>
                        <a:gd name="connsiteY31" fmla="*/ 540543 h 1466850"/>
                        <a:gd name="connsiteX32" fmla="*/ 92869 w 1216819"/>
                        <a:gd name="connsiteY32" fmla="*/ 573881 h 1466850"/>
                        <a:gd name="connsiteX33" fmla="*/ 61913 w 1216819"/>
                        <a:gd name="connsiteY33" fmla="*/ 566737 h 1466850"/>
                        <a:gd name="connsiteX34" fmla="*/ 78581 w 1216819"/>
                        <a:gd name="connsiteY34" fmla="*/ 607218 h 1466850"/>
                        <a:gd name="connsiteX35" fmla="*/ 128588 w 1216819"/>
                        <a:gd name="connsiteY35" fmla="*/ 657225 h 1466850"/>
                        <a:gd name="connsiteX36" fmla="*/ 133350 w 1216819"/>
                        <a:gd name="connsiteY36" fmla="*/ 685800 h 1466850"/>
                        <a:gd name="connsiteX37" fmla="*/ 145256 w 1216819"/>
                        <a:gd name="connsiteY37" fmla="*/ 795337 h 1466850"/>
                        <a:gd name="connsiteX38" fmla="*/ 140494 w 1216819"/>
                        <a:gd name="connsiteY38" fmla="*/ 833437 h 1466850"/>
                        <a:gd name="connsiteX39" fmla="*/ 121444 w 1216819"/>
                        <a:gd name="connsiteY39" fmla="*/ 928687 h 1466850"/>
                        <a:gd name="connsiteX40" fmla="*/ 142875 w 1216819"/>
                        <a:gd name="connsiteY40" fmla="*/ 995362 h 1466850"/>
                        <a:gd name="connsiteX41" fmla="*/ 102394 w 1216819"/>
                        <a:gd name="connsiteY41" fmla="*/ 1059656 h 1466850"/>
                        <a:gd name="connsiteX42" fmla="*/ 138113 w 1216819"/>
                        <a:gd name="connsiteY42" fmla="*/ 1090612 h 1466850"/>
                        <a:gd name="connsiteX43" fmla="*/ 138113 w 1216819"/>
                        <a:gd name="connsiteY43" fmla="*/ 1090612 h 1466850"/>
                        <a:gd name="connsiteX44" fmla="*/ 200025 w 1216819"/>
                        <a:gd name="connsiteY44" fmla="*/ 1183481 h 1466850"/>
                        <a:gd name="connsiteX45" fmla="*/ 180975 w 1216819"/>
                        <a:gd name="connsiteY45" fmla="*/ 1216818 h 1466850"/>
                        <a:gd name="connsiteX46" fmla="*/ 171450 w 1216819"/>
                        <a:gd name="connsiteY46" fmla="*/ 1243012 h 1466850"/>
                        <a:gd name="connsiteX47" fmla="*/ 214313 w 1216819"/>
                        <a:gd name="connsiteY47" fmla="*/ 1278731 h 1466850"/>
                        <a:gd name="connsiteX48" fmla="*/ 290513 w 1216819"/>
                        <a:gd name="connsiteY48" fmla="*/ 1285875 h 1466850"/>
                        <a:gd name="connsiteX49" fmla="*/ 350044 w 1216819"/>
                        <a:gd name="connsiteY49" fmla="*/ 1309687 h 1466850"/>
                        <a:gd name="connsiteX50" fmla="*/ 428625 w 1216819"/>
                        <a:gd name="connsiteY50" fmla="*/ 1350168 h 1466850"/>
                        <a:gd name="connsiteX51" fmla="*/ 426244 w 1216819"/>
                        <a:gd name="connsiteY51" fmla="*/ 1383506 h 1466850"/>
                        <a:gd name="connsiteX52" fmla="*/ 438150 w 1216819"/>
                        <a:gd name="connsiteY52" fmla="*/ 1404937 h 1466850"/>
                        <a:gd name="connsiteX53" fmla="*/ 421481 w 1216819"/>
                        <a:gd name="connsiteY53" fmla="*/ 1450181 h 1466850"/>
                        <a:gd name="connsiteX54" fmla="*/ 459581 w 1216819"/>
                        <a:gd name="connsiteY54" fmla="*/ 1466850 h 1466850"/>
                        <a:gd name="connsiteX55" fmla="*/ 495300 w 1216819"/>
                        <a:gd name="connsiteY55" fmla="*/ 1409700 h 1466850"/>
                        <a:gd name="connsiteX56" fmla="*/ 554831 w 1216819"/>
                        <a:gd name="connsiteY56" fmla="*/ 1393031 h 1466850"/>
                        <a:gd name="connsiteX57" fmla="*/ 600075 w 1216819"/>
                        <a:gd name="connsiteY57" fmla="*/ 1357312 h 1466850"/>
                        <a:gd name="connsiteX58" fmla="*/ 654844 w 1216819"/>
                        <a:gd name="connsiteY58" fmla="*/ 1366837 h 1466850"/>
                        <a:gd name="connsiteX59" fmla="*/ 731044 w 1216819"/>
                        <a:gd name="connsiteY59" fmla="*/ 1331118 h 1466850"/>
                        <a:gd name="connsiteX60" fmla="*/ 771525 w 1216819"/>
                        <a:gd name="connsiteY60" fmla="*/ 1254918 h 1466850"/>
                        <a:gd name="connsiteX61" fmla="*/ 792956 w 1216819"/>
                        <a:gd name="connsiteY61" fmla="*/ 1238250 h 1466850"/>
                        <a:gd name="connsiteX62" fmla="*/ 802481 w 1216819"/>
                        <a:gd name="connsiteY62" fmla="*/ 1204912 h 1466850"/>
                        <a:gd name="connsiteX63" fmla="*/ 821531 w 1216819"/>
                        <a:gd name="connsiteY63" fmla="*/ 1200150 h 1466850"/>
                        <a:gd name="connsiteX64" fmla="*/ 969169 w 1216819"/>
                        <a:gd name="connsiteY64" fmla="*/ 1231106 h 1466850"/>
                        <a:gd name="connsiteX65" fmla="*/ 981075 w 1216819"/>
                        <a:gd name="connsiteY65" fmla="*/ 1297781 h 1466850"/>
                        <a:gd name="connsiteX66" fmla="*/ 1002506 w 1216819"/>
                        <a:gd name="connsiteY66" fmla="*/ 1331118 h 1466850"/>
                        <a:gd name="connsiteX67" fmla="*/ 1016794 w 1216819"/>
                        <a:gd name="connsiteY67" fmla="*/ 1371600 h 1466850"/>
                        <a:gd name="connsiteX68" fmla="*/ 1054894 w 1216819"/>
                        <a:gd name="connsiteY68" fmla="*/ 1381125 h 1466850"/>
                        <a:gd name="connsiteX69" fmla="*/ 1107281 w 1216819"/>
                        <a:gd name="connsiteY69" fmla="*/ 1366837 h 1466850"/>
                        <a:gd name="connsiteX70" fmla="*/ 1133475 w 1216819"/>
                        <a:gd name="connsiteY70" fmla="*/ 1362075 h 1466850"/>
                        <a:gd name="connsiteX71" fmla="*/ 1188244 w 1216819"/>
                        <a:gd name="connsiteY71" fmla="*/ 1288256 h 1466850"/>
                        <a:gd name="connsiteX72" fmla="*/ 1178719 w 1216819"/>
                        <a:gd name="connsiteY72" fmla="*/ 1233487 h 1466850"/>
                        <a:gd name="connsiteX73" fmla="*/ 1171575 w 1216819"/>
                        <a:gd name="connsiteY73" fmla="*/ 1183481 h 1466850"/>
                        <a:gd name="connsiteX74" fmla="*/ 1050131 w 1216819"/>
                        <a:gd name="connsiteY74" fmla="*/ 1054893 h 1466850"/>
                        <a:gd name="connsiteX75" fmla="*/ 1052513 w 1216819"/>
                        <a:gd name="connsiteY75" fmla="*/ 1002506 h 1466850"/>
                        <a:gd name="connsiteX76" fmla="*/ 1090613 w 1216819"/>
                        <a:gd name="connsiteY76" fmla="*/ 971550 h 1466850"/>
                        <a:gd name="connsiteX77" fmla="*/ 1119188 w 1216819"/>
                        <a:gd name="connsiteY77" fmla="*/ 919162 h 1466850"/>
                        <a:gd name="connsiteX78" fmla="*/ 1195388 w 1216819"/>
                        <a:gd name="connsiteY78" fmla="*/ 850106 h 1466850"/>
                        <a:gd name="connsiteX79" fmla="*/ 1216819 w 1216819"/>
                        <a:gd name="connsiteY79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100012 w 1216819"/>
                        <a:gd name="connsiteY31" fmla="*/ 542924 h 1466850"/>
                        <a:gd name="connsiteX32" fmla="*/ 92869 w 1216819"/>
                        <a:gd name="connsiteY32" fmla="*/ 573881 h 1466850"/>
                        <a:gd name="connsiteX33" fmla="*/ 61913 w 1216819"/>
                        <a:gd name="connsiteY33" fmla="*/ 566737 h 1466850"/>
                        <a:gd name="connsiteX34" fmla="*/ 78581 w 1216819"/>
                        <a:gd name="connsiteY34" fmla="*/ 607218 h 1466850"/>
                        <a:gd name="connsiteX35" fmla="*/ 128588 w 1216819"/>
                        <a:gd name="connsiteY35" fmla="*/ 657225 h 1466850"/>
                        <a:gd name="connsiteX36" fmla="*/ 133350 w 1216819"/>
                        <a:gd name="connsiteY36" fmla="*/ 685800 h 1466850"/>
                        <a:gd name="connsiteX37" fmla="*/ 145256 w 1216819"/>
                        <a:gd name="connsiteY37" fmla="*/ 795337 h 1466850"/>
                        <a:gd name="connsiteX38" fmla="*/ 140494 w 1216819"/>
                        <a:gd name="connsiteY38" fmla="*/ 833437 h 1466850"/>
                        <a:gd name="connsiteX39" fmla="*/ 121444 w 1216819"/>
                        <a:gd name="connsiteY39" fmla="*/ 928687 h 1466850"/>
                        <a:gd name="connsiteX40" fmla="*/ 142875 w 1216819"/>
                        <a:gd name="connsiteY40" fmla="*/ 995362 h 1466850"/>
                        <a:gd name="connsiteX41" fmla="*/ 102394 w 1216819"/>
                        <a:gd name="connsiteY41" fmla="*/ 1059656 h 1466850"/>
                        <a:gd name="connsiteX42" fmla="*/ 138113 w 1216819"/>
                        <a:gd name="connsiteY42" fmla="*/ 1090612 h 1466850"/>
                        <a:gd name="connsiteX43" fmla="*/ 138113 w 1216819"/>
                        <a:gd name="connsiteY43" fmla="*/ 1090612 h 1466850"/>
                        <a:gd name="connsiteX44" fmla="*/ 200025 w 1216819"/>
                        <a:gd name="connsiteY44" fmla="*/ 1183481 h 1466850"/>
                        <a:gd name="connsiteX45" fmla="*/ 180975 w 1216819"/>
                        <a:gd name="connsiteY45" fmla="*/ 1216818 h 1466850"/>
                        <a:gd name="connsiteX46" fmla="*/ 171450 w 1216819"/>
                        <a:gd name="connsiteY46" fmla="*/ 1243012 h 1466850"/>
                        <a:gd name="connsiteX47" fmla="*/ 214313 w 1216819"/>
                        <a:gd name="connsiteY47" fmla="*/ 1278731 h 1466850"/>
                        <a:gd name="connsiteX48" fmla="*/ 290513 w 1216819"/>
                        <a:gd name="connsiteY48" fmla="*/ 1285875 h 1466850"/>
                        <a:gd name="connsiteX49" fmla="*/ 350044 w 1216819"/>
                        <a:gd name="connsiteY49" fmla="*/ 1309687 h 1466850"/>
                        <a:gd name="connsiteX50" fmla="*/ 428625 w 1216819"/>
                        <a:gd name="connsiteY50" fmla="*/ 1350168 h 1466850"/>
                        <a:gd name="connsiteX51" fmla="*/ 426244 w 1216819"/>
                        <a:gd name="connsiteY51" fmla="*/ 1383506 h 1466850"/>
                        <a:gd name="connsiteX52" fmla="*/ 438150 w 1216819"/>
                        <a:gd name="connsiteY52" fmla="*/ 1404937 h 1466850"/>
                        <a:gd name="connsiteX53" fmla="*/ 421481 w 1216819"/>
                        <a:gd name="connsiteY53" fmla="*/ 1450181 h 1466850"/>
                        <a:gd name="connsiteX54" fmla="*/ 459581 w 1216819"/>
                        <a:gd name="connsiteY54" fmla="*/ 1466850 h 1466850"/>
                        <a:gd name="connsiteX55" fmla="*/ 495300 w 1216819"/>
                        <a:gd name="connsiteY55" fmla="*/ 1409700 h 1466850"/>
                        <a:gd name="connsiteX56" fmla="*/ 554831 w 1216819"/>
                        <a:gd name="connsiteY56" fmla="*/ 1393031 h 1466850"/>
                        <a:gd name="connsiteX57" fmla="*/ 600075 w 1216819"/>
                        <a:gd name="connsiteY57" fmla="*/ 1357312 h 1466850"/>
                        <a:gd name="connsiteX58" fmla="*/ 654844 w 1216819"/>
                        <a:gd name="connsiteY58" fmla="*/ 1366837 h 1466850"/>
                        <a:gd name="connsiteX59" fmla="*/ 731044 w 1216819"/>
                        <a:gd name="connsiteY59" fmla="*/ 1331118 h 1466850"/>
                        <a:gd name="connsiteX60" fmla="*/ 771525 w 1216819"/>
                        <a:gd name="connsiteY60" fmla="*/ 1254918 h 1466850"/>
                        <a:gd name="connsiteX61" fmla="*/ 792956 w 1216819"/>
                        <a:gd name="connsiteY61" fmla="*/ 1238250 h 1466850"/>
                        <a:gd name="connsiteX62" fmla="*/ 802481 w 1216819"/>
                        <a:gd name="connsiteY62" fmla="*/ 1204912 h 1466850"/>
                        <a:gd name="connsiteX63" fmla="*/ 821531 w 1216819"/>
                        <a:gd name="connsiteY63" fmla="*/ 1200150 h 1466850"/>
                        <a:gd name="connsiteX64" fmla="*/ 969169 w 1216819"/>
                        <a:gd name="connsiteY64" fmla="*/ 1231106 h 1466850"/>
                        <a:gd name="connsiteX65" fmla="*/ 981075 w 1216819"/>
                        <a:gd name="connsiteY65" fmla="*/ 1297781 h 1466850"/>
                        <a:gd name="connsiteX66" fmla="*/ 1002506 w 1216819"/>
                        <a:gd name="connsiteY66" fmla="*/ 1331118 h 1466850"/>
                        <a:gd name="connsiteX67" fmla="*/ 1016794 w 1216819"/>
                        <a:gd name="connsiteY67" fmla="*/ 1371600 h 1466850"/>
                        <a:gd name="connsiteX68" fmla="*/ 1054894 w 1216819"/>
                        <a:gd name="connsiteY68" fmla="*/ 1381125 h 1466850"/>
                        <a:gd name="connsiteX69" fmla="*/ 1107281 w 1216819"/>
                        <a:gd name="connsiteY69" fmla="*/ 1366837 h 1466850"/>
                        <a:gd name="connsiteX70" fmla="*/ 1133475 w 1216819"/>
                        <a:gd name="connsiteY70" fmla="*/ 1362075 h 1466850"/>
                        <a:gd name="connsiteX71" fmla="*/ 1188244 w 1216819"/>
                        <a:gd name="connsiteY71" fmla="*/ 1288256 h 1466850"/>
                        <a:gd name="connsiteX72" fmla="*/ 1178719 w 1216819"/>
                        <a:gd name="connsiteY72" fmla="*/ 1233487 h 1466850"/>
                        <a:gd name="connsiteX73" fmla="*/ 1171575 w 1216819"/>
                        <a:gd name="connsiteY73" fmla="*/ 1183481 h 1466850"/>
                        <a:gd name="connsiteX74" fmla="*/ 1050131 w 1216819"/>
                        <a:gd name="connsiteY74" fmla="*/ 1054893 h 1466850"/>
                        <a:gd name="connsiteX75" fmla="*/ 1052513 w 1216819"/>
                        <a:gd name="connsiteY75" fmla="*/ 1002506 h 1466850"/>
                        <a:gd name="connsiteX76" fmla="*/ 1090613 w 1216819"/>
                        <a:gd name="connsiteY76" fmla="*/ 971550 h 1466850"/>
                        <a:gd name="connsiteX77" fmla="*/ 1119188 w 1216819"/>
                        <a:gd name="connsiteY77" fmla="*/ 919162 h 1466850"/>
                        <a:gd name="connsiteX78" fmla="*/ 1195388 w 1216819"/>
                        <a:gd name="connsiteY78" fmla="*/ 850106 h 1466850"/>
                        <a:gd name="connsiteX79" fmla="*/ 1216819 w 1216819"/>
                        <a:gd name="connsiteY79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7625 w 1216819"/>
                        <a:gd name="connsiteY31" fmla="*/ 500062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38113 w 1216819"/>
                        <a:gd name="connsiteY44" fmla="*/ 1090612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57312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9169 w 1216819"/>
                        <a:gd name="connsiteY65" fmla="*/ 1231106 h 1466850"/>
                        <a:gd name="connsiteX66" fmla="*/ 981075 w 1216819"/>
                        <a:gd name="connsiteY66" fmla="*/ 1297781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38113 w 1216819"/>
                        <a:gd name="connsiteY44" fmla="*/ 1090612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57312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9169 w 1216819"/>
                        <a:gd name="connsiteY65" fmla="*/ 1231106 h 1466850"/>
                        <a:gd name="connsiteX66" fmla="*/ 981075 w 1216819"/>
                        <a:gd name="connsiteY66" fmla="*/ 1297781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57312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9169 w 1216819"/>
                        <a:gd name="connsiteY65" fmla="*/ 1231106 h 1466850"/>
                        <a:gd name="connsiteX66" fmla="*/ 981075 w 1216819"/>
                        <a:gd name="connsiteY66" fmla="*/ 1297781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66837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9169 w 1216819"/>
                        <a:gd name="connsiteY65" fmla="*/ 1231106 h 1466850"/>
                        <a:gd name="connsiteX66" fmla="*/ 981075 w 1216819"/>
                        <a:gd name="connsiteY66" fmla="*/ 1297781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66837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2025 w 1216819"/>
                        <a:gd name="connsiteY65" fmla="*/ 1240631 h 1466850"/>
                        <a:gd name="connsiteX66" fmla="*/ 981075 w 1216819"/>
                        <a:gd name="connsiteY66" fmla="*/ 1297781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66837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2025 w 1216819"/>
                        <a:gd name="connsiteY65" fmla="*/ 1240631 h 1466850"/>
                        <a:gd name="connsiteX66" fmla="*/ 971550 w 1216819"/>
                        <a:gd name="connsiteY66" fmla="*/ 1293018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66837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2025 w 1216819"/>
                        <a:gd name="connsiteY65" fmla="*/ 1240631 h 1466850"/>
                        <a:gd name="connsiteX66" fmla="*/ 971550 w 1216819"/>
                        <a:gd name="connsiteY66" fmla="*/ 1293018 h 1466850"/>
                        <a:gd name="connsiteX67" fmla="*/ 992981 w 1216819"/>
                        <a:gd name="connsiteY67" fmla="*/ 1333500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66837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2025 w 1216819"/>
                        <a:gd name="connsiteY65" fmla="*/ 1240631 h 1466850"/>
                        <a:gd name="connsiteX66" fmla="*/ 971550 w 1216819"/>
                        <a:gd name="connsiteY66" fmla="*/ 1293018 h 1466850"/>
                        <a:gd name="connsiteX67" fmla="*/ 992981 w 1216819"/>
                        <a:gd name="connsiteY67" fmla="*/ 1333500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090612 w 1216819"/>
                        <a:gd name="connsiteY70" fmla="*/ 1376362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</a:cxnLst>
                      <a:rect l="l" t="t" r="r" b="b"/>
                      <a:pathLst>
                        <a:path w="1216819" h="1466850">
                          <a:moveTo>
                            <a:pt x="1216819" y="771525"/>
                          </a:moveTo>
                          <a:lnTo>
                            <a:pt x="1021556" y="523875"/>
                          </a:lnTo>
                          <a:lnTo>
                            <a:pt x="871538" y="345281"/>
                          </a:lnTo>
                          <a:lnTo>
                            <a:pt x="759619" y="245268"/>
                          </a:lnTo>
                          <a:lnTo>
                            <a:pt x="633413" y="190500"/>
                          </a:lnTo>
                          <a:lnTo>
                            <a:pt x="614363" y="178593"/>
                          </a:lnTo>
                          <a:lnTo>
                            <a:pt x="581025" y="138112"/>
                          </a:lnTo>
                          <a:lnTo>
                            <a:pt x="564356" y="102393"/>
                          </a:lnTo>
                          <a:lnTo>
                            <a:pt x="602456" y="100012"/>
                          </a:lnTo>
                          <a:lnTo>
                            <a:pt x="628650" y="104775"/>
                          </a:lnTo>
                          <a:lnTo>
                            <a:pt x="661988" y="42862"/>
                          </a:lnTo>
                          <a:lnTo>
                            <a:pt x="652463" y="0"/>
                          </a:lnTo>
                          <a:lnTo>
                            <a:pt x="621506" y="16668"/>
                          </a:lnTo>
                          <a:lnTo>
                            <a:pt x="566738" y="50006"/>
                          </a:lnTo>
                          <a:lnTo>
                            <a:pt x="533400" y="50006"/>
                          </a:lnTo>
                          <a:lnTo>
                            <a:pt x="519113" y="78581"/>
                          </a:lnTo>
                          <a:lnTo>
                            <a:pt x="509588" y="97631"/>
                          </a:lnTo>
                          <a:lnTo>
                            <a:pt x="447675" y="142875"/>
                          </a:lnTo>
                          <a:lnTo>
                            <a:pt x="390525" y="140493"/>
                          </a:lnTo>
                          <a:lnTo>
                            <a:pt x="350044" y="226218"/>
                          </a:lnTo>
                          <a:lnTo>
                            <a:pt x="252413" y="264318"/>
                          </a:lnTo>
                          <a:lnTo>
                            <a:pt x="207169" y="297656"/>
                          </a:lnTo>
                          <a:lnTo>
                            <a:pt x="195263" y="357187"/>
                          </a:lnTo>
                          <a:lnTo>
                            <a:pt x="147638" y="333375"/>
                          </a:lnTo>
                          <a:lnTo>
                            <a:pt x="119063" y="319087"/>
                          </a:lnTo>
                          <a:lnTo>
                            <a:pt x="45244" y="357187"/>
                          </a:lnTo>
                          <a:lnTo>
                            <a:pt x="0" y="388143"/>
                          </a:lnTo>
                          <a:lnTo>
                            <a:pt x="9525" y="445293"/>
                          </a:lnTo>
                          <a:lnTo>
                            <a:pt x="61913" y="423862"/>
                          </a:lnTo>
                          <a:lnTo>
                            <a:pt x="52388" y="464343"/>
                          </a:lnTo>
                          <a:lnTo>
                            <a:pt x="23813" y="483393"/>
                          </a:lnTo>
                          <a:lnTo>
                            <a:pt x="40481" y="507206"/>
                          </a:lnTo>
                          <a:lnTo>
                            <a:pt x="100012" y="542924"/>
                          </a:lnTo>
                          <a:lnTo>
                            <a:pt x="92869" y="573881"/>
                          </a:lnTo>
                          <a:lnTo>
                            <a:pt x="61913" y="566737"/>
                          </a:lnTo>
                          <a:lnTo>
                            <a:pt x="78581" y="607218"/>
                          </a:lnTo>
                          <a:lnTo>
                            <a:pt x="128588" y="657225"/>
                          </a:lnTo>
                          <a:lnTo>
                            <a:pt x="133350" y="685800"/>
                          </a:lnTo>
                          <a:lnTo>
                            <a:pt x="145256" y="795337"/>
                          </a:lnTo>
                          <a:lnTo>
                            <a:pt x="140494" y="833437"/>
                          </a:lnTo>
                          <a:lnTo>
                            <a:pt x="121444" y="928687"/>
                          </a:lnTo>
                          <a:lnTo>
                            <a:pt x="142875" y="995362"/>
                          </a:lnTo>
                          <a:lnTo>
                            <a:pt x="102394" y="1059656"/>
                          </a:lnTo>
                          <a:cubicBezTo>
                            <a:pt x="114300" y="1069975"/>
                            <a:pt x="131763" y="1080690"/>
                            <a:pt x="138113" y="1090612"/>
                          </a:cubicBezTo>
                          <a:cubicBezTo>
                            <a:pt x="144463" y="1100534"/>
                            <a:pt x="139701" y="1109662"/>
                            <a:pt x="140495" y="1119187"/>
                          </a:cubicBezTo>
                          <a:lnTo>
                            <a:pt x="200025" y="1183481"/>
                          </a:lnTo>
                          <a:lnTo>
                            <a:pt x="180975" y="1216818"/>
                          </a:lnTo>
                          <a:lnTo>
                            <a:pt x="171450" y="1243012"/>
                          </a:lnTo>
                          <a:lnTo>
                            <a:pt x="214313" y="1278731"/>
                          </a:lnTo>
                          <a:lnTo>
                            <a:pt x="290513" y="1285875"/>
                          </a:lnTo>
                          <a:lnTo>
                            <a:pt x="350044" y="1309687"/>
                          </a:lnTo>
                          <a:lnTo>
                            <a:pt x="428625" y="1350168"/>
                          </a:lnTo>
                          <a:lnTo>
                            <a:pt x="426244" y="1383506"/>
                          </a:lnTo>
                          <a:lnTo>
                            <a:pt x="438150" y="1404937"/>
                          </a:lnTo>
                          <a:lnTo>
                            <a:pt x="421481" y="1450181"/>
                          </a:lnTo>
                          <a:lnTo>
                            <a:pt x="459581" y="1466850"/>
                          </a:lnTo>
                          <a:lnTo>
                            <a:pt x="495300" y="1409700"/>
                          </a:lnTo>
                          <a:lnTo>
                            <a:pt x="554831" y="1393031"/>
                          </a:lnTo>
                          <a:lnTo>
                            <a:pt x="600075" y="1366837"/>
                          </a:lnTo>
                          <a:lnTo>
                            <a:pt x="654844" y="1366837"/>
                          </a:lnTo>
                          <a:lnTo>
                            <a:pt x="731044" y="1331118"/>
                          </a:lnTo>
                          <a:lnTo>
                            <a:pt x="771525" y="1254918"/>
                          </a:lnTo>
                          <a:lnTo>
                            <a:pt x="792956" y="1238250"/>
                          </a:lnTo>
                          <a:lnTo>
                            <a:pt x="802481" y="1204912"/>
                          </a:lnTo>
                          <a:lnTo>
                            <a:pt x="821531" y="1200150"/>
                          </a:lnTo>
                          <a:lnTo>
                            <a:pt x="962025" y="1240631"/>
                          </a:lnTo>
                          <a:lnTo>
                            <a:pt x="971550" y="1293018"/>
                          </a:lnTo>
                          <a:lnTo>
                            <a:pt x="992981" y="1333500"/>
                          </a:lnTo>
                          <a:lnTo>
                            <a:pt x="1016794" y="1371600"/>
                          </a:lnTo>
                          <a:lnTo>
                            <a:pt x="1054894" y="1381125"/>
                          </a:lnTo>
                          <a:lnTo>
                            <a:pt x="1090612" y="1376362"/>
                          </a:lnTo>
                          <a:lnTo>
                            <a:pt x="1133475" y="1362075"/>
                          </a:lnTo>
                          <a:lnTo>
                            <a:pt x="1188244" y="1288256"/>
                          </a:lnTo>
                          <a:lnTo>
                            <a:pt x="1178719" y="1233487"/>
                          </a:lnTo>
                          <a:lnTo>
                            <a:pt x="1171575" y="1183481"/>
                          </a:lnTo>
                          <a:lnTo>
                            <a:pt x="1050131" y="1054893"/>
                          </a:lnTo>
                          <a:lnTo>
                            <a:pt x="1052513" y="1002506"/>
                          </a:lnTo>
                          <a:lnTo>
                            <a:pt x="1090613" y="971550"/>
                          </a:lnTo>
                          <a:lnTo>
                            <a:pt x="1119188" y="919162"/>
                          </a:lnTo>
                          <a:lnTo>
                            <a:pt x="1195388" y="850106"/>
                          </a:lnTo>
                          <a:lnTo>
                            <a:pt x="1216819" y="771525"/>
                          </a:lnTo>
                          <a:close/>
                        </a:path>
                      </a:pathLst>
                    </a:custGeom>
                    <a:solidFill>
                      <a:schemeClr val="accent6">
                        <a:lumMod val="60000"/>
                        <a:lumOff val="40000"/>
                        <a:alpha val="50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/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23" name="Freeform 7"/>
                    <p:cNvSpPr/>
                    <p:nvPr/>
                  </p:nvSpPr>
                  <p:spPr>
                    <a:xfrm>
                      <a:off x="1052945" y="1485993"/>
                      <a:ext cx="1299306" cy="718865"/>
                    </a:xfrm>
                    <a:custGeom>
                      <a:avLst/>
                      <a:gdLst>
                        <a:gd name="connsiteX0" fmla="*/ 114300 w 1847850"/>
                        <a:gd name="connsiteY0" fmla="*/ 981075 h 1101725"/>
                        <a:gd name="connsiteX1" fmla="*/ 79375 w 1847850"/>
                        <a:gd name="connsiteY1" fmla="*/ 882650 h 1101725"/>
                        <a:gd name="connsiteX2" fmla="*/ 0 w 1847850"/>
                        <a:gd name="connsiteY2" fmla="*/ 825500 h 1101725"/>
                        <a:gd name="connsiteX3" fmla="*/ 114300 w 1847850"/>
                        <a:gd name="connsiteY3" fmla="*/ 688975 h 1101725"/>
                        <a:gd name="connsiteX4" fmla="*/ 146050 w 1847850"/>
                        <a:gd name="connsiteY4" fmla="*/ 688975 h 1101725"/>
                        <a:gd name="connsiteX5" fmla="*/ 174625 w 1847850"/>
                        <a:gd name="connsiteY5" fmla="*/ 666750 h 1101725"/>
                        <a:gd name="connsiteX6" fmla="*/ 196850 w 1847850"/>
                        <a:gd name="connsiteY6" fmla="*/ 619125 h 1101725"/>
                        <a:gd name="connsiteX7" fmla="*/ 149225 w 1847850"/>
                        <a:gd name="connsiteY7" fmla="*/ 561975 h 1101725"/>
                        <a:gd name="connsiteX8" fmla="*/ 209550 w 1847850"/>
                        <a:gd name="connsiteY8" fmla="*/ 406400 h 1101725"/>
                        <a:gd name="connsiteX9" fmla="*/ 279400 w 1847850"/>
                        <a:gd name="connsiteY9" fmla="*/ 406400 h 1101725"/>
                        <a:gd name="connsiteX10" fmla="*/ 317500 w 1847850"/>
                        <a:gd name="connsiteY10" fmla="*/ 368300 h 1101725"/>
                        <a:gd name="connsiteX11" fmla="*/ 323850 w 1847850"/>
                        <a:gd name="connsiteY11" fmla="*/ 307975 h 1101725"/>
                        <a:gd name="connsiteX12" fmla="*/ 381000 w 1847850"/>
                        <a:gd name="connsiteY12" fmla="*/ 257175 h 1101725"/>
                        <a:gd name="connsiteX13" fmla="*/ 438150 w 1847850"/>
                        <a:gd name="connsiteY13" fmla="*/ 301625 h 1101725"/>
                        <a:gd name="connsiteX14" fmla="*/ 466725 w 1847850"/>
                        <a:gd name="connsiteY14" fmla="*/ 400050 h 1101725"/>
                        <a:gd name="connsiteX15" fmla="*/ 488950 w 1847850"/>
                        <a:gd name="connsiteY15" fmla="*/ 447675 h 1101725"/>
                        <a:gd name="connsiteX16" fmla="*/ 498475 w 1847850"/>
                        <a:gd name="connsiteY16" fmla="*/ 482600 h 1101725"/>
                        <a:gd name="connsiteX17" fmla="*/ 533400 w 1847850"/>
                        <a:gd name="connsiteY17" fmla="*/ 498475 h 1101725"/>
                        <a:gd name="connsiteX18" fmla="*/ 565150 w 1847850"/>
                        <a:gd name="connsiteY18" fmla="*/ 498475 h 1101725"/>
                        <a:gd name="connsiteX19" fmla="*/ 619125 w 1847850"/>
                        <a:gd name="connsiteY19" fmla="*/ 479425 h 1101725"/>
                        <a:gd name="connsiteX20" fmla="*/ 654050 w 1847850"/>
                        <a:gd name="connsiteY20" fmla="*/ 473075 h 1101725"/>
                        <a:gd name="connsiteX21" fmla="*/ 657225 w 1847850"/>
                        <a:gd name="connsiteY21" fmla="*/ 444500 h 1101725"/>
                        <a:gd name="connsiteX22" fmla="*/ 660400 w 1847850"/>
                        <a:gd name="connsiteY22" fmla="*/ 434975 h 1101725"/>
                        <a:gd name="connsiteX23" fmla="*/ 619125 w 1847850"/>
                        <a:gd name="connsiteY23" fmla="*/ 396875 h 1101725"/>
                        <a:gd name="connsiteX24" fmla="*/ 615950 w 1847850"/>
                        <a:gd name="connsiteY24" fmla="*/ 317500 h 1101725"/>
                        <a:gd name="connsiteX25" fmla="*/ 615950 w 1847850"/>
                        <a:gd name="connsiteY25" fmla="*/ 247650 h 1101725"/>
                        <a:gd name="connsiteX26" fmla="*/ 688975 w 1847850"/>
                        <a:gd name="connsiteY26" fmla="*/ 257175 h 1101725"/>
                        <a:gd name="connsiteX27" fmla="*/ 768350 w 1847850"/>
                        <a:gd name="connsiteY27" fmla="*/ 228600 h 1101725"/>
                        <a:gd name="connsiteX28" fmla="*/ 806450 w 1847850"/>
                        <a:gd name="connsiteY28" fmla="*/ 215900 h 1101725"/>
                        <a:gd name="connsiteX29" fmla="*/ 806450 w 1847850"/>
                        <a:gd name="connsiteY29" fmla="*/ 139700 h 1101725"/>
                        <a:gd name="connsiteX30" fmla="*/ 898525 w 1847850"/>
                        <a:gd name="connsiteY30" fmla="*/ 168275 h 1101725"/>
                        <a:gd name="connsiteX31" fmla="*/ 974725 w 1847850"/>
                        <a:gd name="connsiteY31" fmla="*/ 120650 h 1101725"/>
                        <a:gd name="connsiteX32" fmla="*/ 1019175 w 1847850"/>
                        <a:gd name="connsiteY32" fmla="*/ 130175 h 1101725"/>
                        <a:gd name="connsiteX33" fmla="*/ 1136650 w 1847850"/>
                        <a:gd name="connsiteY33" fmla="*/ 0 h 1101725"/>
                        <a:gd name="connsiteX34" fmla="*/ 1190625 w 1847850"/>
                        <a:gd name="connsiteY34" fmla="*/ 19050 h 1101725"/>
                        <a:gd name="connsiteX35" fmla="*/ 1190625 w 1847850"/>
                        <a:gd name="connsiteY35" fmla="*/ 19050 h 1101725"/>
                        <a:gd name="connsiteX36" fmla="*/ 1225550 w 1847850"/>
                        <a:gd name="connsiteY36" fmla="*/ 66675 h 1101725"/>
                        <a:gd name="connsiteX37" fmla="*/ 1266825 w 1847850"/>
                        <a:gd name="connsiteY37" fmla="*/ 114300 h 1101725"/>
                        <a:gd name="connsiteX38" fmla="*/ 1317625 w 1847850"/>
                        <a:gd name="connsiteY38" fmla="*/ 114300 h 1101725"/>
                        <a:gd name="connsiteX39" fmla="*/ 1346200 w 1847850"/>
                        <a:gd name="connsiteY39" fmla="*/ 98425 h 1101725"/>
                        <a:gd name="connsiteX40" fmla="*/ 1387475 w 1847850"/>
                        <a:gd name="connsiteY40" fmla="*/ 60325 h 1101725"/>
                        <a:gd name="connsiteX41" fmla="*/ 1438275 w 1847850"/>
                        <a:gd name="connsiteY41" fmla="*/ 60325 h 1101725"/>
                        <a:gd name="connsiteX42" fmla="*/ 1460500 w 1847850"/>
                        <a:gd name="connsiteY42" fmla="*/ 88900 h 1101725"/>
                        <a:gd name="connsiteX43" fmla="*/ 1489075 w 1847850"/>
                        <a:gd name="connsiteY43" fmla="*/ 155575 h 1101725"/>
                        <a:gd name="connsiteX44" fmla="*/ 1603375 w 1847850"/>
                        <a:gd name="connsiteY44" fmla="*/ 177800 h 1101725"/>
                        <a:gd name="connsiteX45" fmla="*/ 1670050 w 1847850"/>
                        <a:gd name="connsiteY45" fmla="*/ 203200 h 1101725"/>
                        <a:gd name="connsiteX46" fmla="*/ 1698625 w 1847850"/>
                        <a:gd name="connsiteY46" fmla="*/ 266700 h 1101725"/>
                        <a:gd name="connsiteX47" fmla="*/ 1708150 w 1847850"/>
                        <a:gd name="connsiteY47" fmla="*/ 292100 h 1101725"/>
                        <a:gd name="connsiteX48" fmla="*/ 1749425 w 1847850"/>
                        <a:gd name="connsiteY48" fmla="*/ 320675 h 1101725"/>
                        <a:gd name="connsiteX49" fmla="*/ 1774825 w 1847850"/>
                        <a:gd name="connsiteY49" fmla="*/ 374650 h 1101725"/>
                        <a:gd name="connsiteX50" fmla="*/ 1790700 w 1847850"/>
                        <a:gd name="connsiteY50" fmla="*/ 415925 h 1101725"/>
                        <a:gd name="connsiteX51" fmla="*/ 1835150 w 1847850"/>
                        <a:gd name="connsiteY51" fmla="*/ 431800 h 1101725"/>
                        <a:gd name="connsiteX52" fmla="*/ 1797050 w 1847850"/>
                        <a:gd name="connsiteY52" fmla="*/ 463550 h 1101725"/>
                        <a:gd name="connsiteX53" fmla="*/ 1797050 w 1847850"/>
                        <a:gd name="connsiteY53" fmla="*/ 511175 h 1101725"/>
                        <a:gd name="connsiteX54" fmla="*/ 1825625 w 1847850"/>
                        <a:gd name="connsiteY54" fmla="*/ 539750 h 1101725"/>
                        <a:gd name="connsiteX55" fmla="*/ 1847850 w 1847850"/>
                        <a:gd name="connsiteY55" fmla="*/ 539750 h 1101725"/>
                        <a:gd name="connsiteX56" fmla="*/ 1831975 w 1847850"/>
                        <a:gd name="connsiteY56" fmla="*/ 561975 h 1101725"/>
                        <a:gd name="connsiteX57" fmla="*/ 1825625 w 1847850"/>
                        <a:gd name="connsiteY57" fmla="*/ 574675 h 1101725"/>
                        <a:gd name="connsiteX58" fmla="*/ 1838325 w 1847850"/>
                        <a:gd name="connsiteY58" fmla="*/ 628650 h 1101725"/>
                        <a:gd name="connsiteX59" fmla="*/ 1841500 w 1847850"/>
                        <a:gd name="connsiteY59" fmla="*/ 688975 h 1101725"/>
                        <a:gd name="connsiteX60" fmla="*/ 1838325 w 1847850"/>
                        <a:gd name="connsiteY60" fmla="*/ 717550 h 1101725"/>
                        <a:gd name="connsiteX61" fmla="*/ 1752600 w 1847850"/>
                        <a:gd name="connsiteY61" fmla="*/ 800100 h 1101725"/>
                        <a:gd name="connsiteX62" fmla="*/ 1689100 w 1847850"/>
                        <a:gd name="connsiteY62" fmla="*/ 806450 h 1101725"/>
                        <a:gd name="connsiteX63" fmla="*/ 1651000 w 1847850"/>
                        <a:gd name="connsiteY63" fmla="*/ 815975 h 1101725"/>
                        <a:gd name="connsiteX64" fmla="*/ 1622425 w 1847850"/>
                        <a:gd name="connsiteY64" fmla="*/ 828675 h 1101725"/>
                        <a:gd name="connsiteX65" fmla="*/ 1593850 w 1847850"/>
                        <a:gd name="connsiteY65" fmla="*/ 876300 h 1101725"/>
                        <a:gd name="connsiteX66" fmla="*/ 1571625 w 1847850"/>
                        <a:gd name="connsiteY66" fmla="*/ 908050 h 1101725"/>
                        <a:gd name="connsiteX67" fmla="*/ 1552575 w 1847850"/>
                        <a:gd name="connsiteY67" fmla="*/ 930275 h 1101725"/>
                        <a:gd name="connsiteX68" fmla="*/ 1511300 w 1847850"/>
                        <a:gd name="connsiteY68" fmla="*/ 933450 h 1101725"/>
                        <a:gd name="connsiteX69" fmla="*/ 1466850 w 1847850"/>
                        <a:gd name="connsiteY69" fmla="*/ 946150 h 1101725"/>
                        <a:gd name="connsiteX70" fmla="*/ 1428750 w 1847850"/>
                        <a:gd name="connsiteY70" fmla="*/ 908050 h 1101725"/>
                        <a:gd name="connsiteX71" fmla="*/ 1365250 w 1847850"/>
                        <a:gd name="connsiteY71" fmla="*/ 1016000 h 1101725"/>
                        <a:gd name="connsiteX72" fmla="*/ 1289050 w 1847850"/>
                        <a:gd name="connsiteY72" fmla="*/ 1101725 h 1101725"/>
                        <a:gd name="connsiteX73" fmla="*/ 1190625 w 1847850"/>
                        <a:gd name="connsiteY73" fmla="*/ 1012825 h 1101725"/>
                        <a:gd name="connsiteX74" fmla="*/ 1139825 w 1847850"/>
                        <a:gd name="connsiteY74" fmla="*/ 946150 h 1101725"/>
                        <a:gd name="connsiteX75" fmla="*/ 1114425 w 1847850"/>
                        <a:gd name="connsiteY75" fmla="*/ 968375 h 1101725"/>
                        <a:gd name="connsiteX76" fmla="*/ 1038225 w 1847850"/>
                        <a:gd name="connsiteY76" fmla="*/ 936625 h 1101725"/>
                        <a:gd name="connsiteX77" fmla="*/ 952500 w 1847850"/>
                        <a:gd name="connsiteY77" fmla="*/ 1016000 h 1101725"/>
                        <a:gd name="connsiteX78" fmla="*/ 822325 w 1847850"/>
                        <a:gd name="connsiteY78" fmla="*/ 1012825 h 1101725"/>
                        <a:gd name="connsiteX79" fmla="*/ 704850 w 1847850"/>
                        <a:gd name="connsiteY79" fmla="*/ 1085850 h 1101725"/>
                        <a:gd name="connsiteX80" fmla="*/ 650875 w 1847850"/>
                        <a:gd name="connsiteY80" fmla="*/ 1079500 h 1101725"/>
                        <a:gd name="connsiteX81" fmla="*/ 606425 w 1847850"/>
                        <a:gd name="connsiteY81" fmla="*/ 1098550 h 1101725"/>
                        <a:gd name="connsiteX82" fmla="*/ 488950 w 1847850"/>
                        <a:gd name="connsiteY82" fmla="*/ 1038225 h 1101725"/>
                        <a:gd name="connsiteX83" fmla="*/ 390525 w 1847850"/>
                        <a:gd name="connsiteY83" fmla="*/ 977900 h 1101725"/>
                        <a:gd name="connsiteX84" fmla="*/ 114300 w 1847850"/>
                        <a:gd name="connsiteY84" fmla="*/ 981075 h 11017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</a:cxnLst>
                      <a:rect l="l" t="t" r="r" b="b"/>
                      <a:pathLst>
                        <a:path w="1847850" h="1101725">
                          <a:moveTo>
                            <a:pt x="114300" y="981075"/>
                          </a:moveTo>
                          <a:lnTo>
                            <a:pt x="79375" y="882650"/>
                          </a:lnTo>
                          <a:lnTo>
                            <a:pt x="0" y="825500"/>
                          </a:lnTo>
                          <a:lnTo>
                            <a:pt x="114300" y="688975"/>
                          </a:lnTo>
                          <a:lnTo>
                            <a:pt x="146050" y="688975"/>
                          </a:lnTo>
                          <a:lnTo>
                            <a:pt x="174625" y="666750"/>
                          </a:lnTo>
                          <a:lnTo>
                            <a:pt x="196850" y="619125"/>
                          </a:lnTo>
                          <a:lnTo>
                            <a:pt x="149225" y="561975"/>
                          </a:lnTo>
                          <a:lnTo>
                            <a:pt x="209550" y="406400"/>
                          </a:lnTo>
                          <a:lnTo>
                            <a:pt x="279400" y="406400"/>
                          </a:lnTo>
                          <a:lnTo>
                            <a:pt x="317500" y="368300"/>
                          </a:lnTo>
                          <a:lnTo>
                            <a:pt x="323850" y="307975"/>
                          </a:lnTo>
                          <a:lnTo>
                            <a:pt x="381000" y="257175"/>
                          </a:lnTo>
                          <a:lnTo>
                            <a:pt x="438150" y="301625"/>
                          </a:lnTo>
                          <a:lnTo>
                            <a:pt x="466725" y="400050"/>
                          </a:lnTo>
                          <a:lnTo>
                            <a:pt x="488950" y="447675"/>
                          </a:lnTo>
                          <a:lnTo>
                            <a:pt x="498475" y="482600"/>
                          </a:lnTo>
                          <a:lnTo>
                            <a:pt x="533400" y="498475"/>
                          </a:lnTo>
                          <a:lnTo>
                            <a:pt x="565150" y="498475"/>
                          </a:lnTo>
                          <a:lnTo>
                            <a:pt x="619125" y="479425"/>
                          </a:lnTo>
                          <a:lnTo>
                            <a:pt x="654050" y="473075"/>
                          </a:lnTo>
                          <a:cubicBezTo>
                            <a:pt x="655108" y="463550"/>
                            <a:pt x="655649" y="453953"/>
                            <a:pt x="657225" y="444500"/>
                          </a:cubicBezTo>
                          <a:cubicBezTo>
                            <a:pt x="657775" y="441199"/>
                            <a:pt x="660400" y="434975"/>
                            <a:pt x="660400" y="434975"/>
                          </a:cubicBezTo>
                          <a:lnTo>
                            <a:pt x="619125" y="396875"/>
                          </a:lnTo>
                          <a:lnTo>
                            <a:pt x="615950" y="317500"/>
                          </a:lnTo>
                          <a:lnTo>
                            <a:pt x="615950" y="247650"/>
                          </a:lnTo>
                          <a:lnTo>
                            <a:pt x="688975" y="257175"/>
                          </a:lnTo>
                          <a:lnTo>
                            <a:pt x="768350" y="228600"/>
                          </a:lnTo>
                          <a:lnTo>
                            <a:pt x="806450" y="215900"/>
                          </a:lnTo>
                          <a:lnTo>
                            <a:pt x="806450" y="139700"/>
                          </a:lnTo>
                          <a:lnTo>
                            <a:pt x="898525" y="168275"/>
                          </a:lnTo>
                          <a:lnTo>
                            <a:pt x="974725" y="120650"/>
                          </a:lnTo>
                          <a:lnTo>
                            <a:pt x="1019175" y="130175"/>
                          </a:lnTo>
                          <a:lnTo>
                            <a:pt x="1136650" y="0"/>
                          </a:lnTo>
                          <a:lnTo>
                            <a:pt x="1190625" y="19050"/>
                          </a:lnTo>
                          <a:lnTo>
                            <a:pt x="1190625" y="19050"/>
                          </a:lnTo>
                          <a:lnTo>
                            <a:pt x="1225550" y="66675"/>
                          </a:lnTo>
                          <a:lnTo>
                            <a:pt x="1266825" y="114300"/>
                          </a:lnTo>
                          <a:lnTo>
                            <a:pt x="1317625" y="114300"/>
                          </a:lnTo>
                          <a:cubicBezTo>
                            <a:pt x="1345241" y="103944"/>
                            <a:pt x="1338981" y="112863"/>
                            <a:pt x="1346200" y="98425"/>
                          </a:cubicBezTo>
                          <a:lnTo>
                            <a:pt x="1387475" y="60325"/>
                          </a:lnTo>
                          <a:lnTo>
                            <a:pt x="1438275" y="60325"/>
                          </a:lnTo>
                          <a:lnTo>
                            <a:pt x="1460500" y="88900"/>
                          </a:lnTo>
                          <a:lnTo>
                            <a:pt x="1489075" y="155575"/>
                          </a:lnTo>
                          <a:lnTo>
                            <a:pt x="1603375" y="177800"/>
                          </a:lnTo>
                          <a:lnTo>
                            <a:pt x="1670050" y="203200"/>
                          </a:lnTo>
                          <a:lnTo>
                            <a:pt x="1698625" y="266700"/>
                          </a:lnTo>
                          <a:lnTo>
                            <a:pt x="1708150" y="292100"/>
                          </a:lnTo>
                          <a:lnTo>
                            <a:pt x="1749425" y="320675"/>
                          </a:lnTo>
                          <a:lnTo>
                            <a:pt x="1774825" y="374650"/>
                          </a:lnTo>
                          <a:lnTo>
                            <a:pt x="1790700" y="415925"/>
                          </a:lnTo>
                          <a:lnTo>
                            <a:pt x="1835150" y="431800"/>
                          </a:lnTo>
                          <a:lnTo>
                            <a:pt x="1797050" y="463550"/>
                          </a:lnTo>
                          <a:lnTo>
                            <a:pt x="1797050" y="511175"/>
                          </a:lnTo>
                          <a:lnTo>
                            <a:pt x="1825625" y="539750"/>
                          </a:lnTo>
                          <a:lnTo>
                            <a:pt x="1847850" y="539750"/>
                          </a:lnTo>
                          <a:lnTo>
                            <a:pt x="1831975" y="561975"/>
                          </a:lnTo>
                          <a:lnTo>
                            <a:pt x="1825625" y="574675"/>
                          </a:lnTo>
                          <a:lnTo>
                            <a:pt x="1838325" y="628650"/>
                          </a:lnTo>
                          <a:lnTo>
                            <a:pt x="1841500" y="688975"/>
                          </a:lnTo>
                          <a:lnTo>
                            <a:pt x="1838325" y="717550"/>
                          </a:lnTo>
                          <a:lnTo>
                            <a:pt x="1752600" y="800100"/>
                          </a:lnTo>
                          <a:lnTo>
                            <a:pt x="1689100" y="806450"/>
                          </a:lnTo>
                          <a:lnTo>
                            <a:pt x="1651000" y="815975"/>
                          </a:lnTo>
                          <a:lnTo>
                            <a:pt x="1622425" y="828675"/>
                          </a:lnTo>
                          <a:lnTo>
                            <a:pt x="1593850" y="876300"/>
                          </a:lnTo>
                          <a:lnTo>
                            <a:pt x="1571625" y="908050"/>
                          </a:lnTo>
                          <a:lnTo>
                            <a:pt x="1552575" y="930275"/>
                          </a:lnTo>
                          <a:lnTo>
                            <a:pt x="1511300" y="933450"/>
                          </a:lnTo>
                          <a:lnTo>
                            <a:pt x="1466850" y="946150"/>
                          </a:lnTo>
                          <a:lnTo>
                            <a:pt x="1428750" y="908050"/>
                          </a:lnTo>
                          <a:lnTo>
                            <a:pt x="1365250" y="1016000"/>
                          </a:lnTo>
                          <a:lnTo>
                            <a:pt x="1289050" y="1101725"/>
                          </a:lnTo>
                          <a:lnTo>
                            <a:pt x="1190625" y="1012825"/>
                          </a:lnTo>
                          <a:lnTo>
                            <a:pt x="1139825" y="946150"/>
                          </a:lnTo>
                          <a:lnTo>
                            <a:pt x="1114425" y="968375"/>
                          </a:lnTo>
                          <a:lnTo>
                            <a:pt x="1038225" y="936625"/>
                          </a:lnTo>
                          <a:lnTo>
                            <a:pt x="952500" y="1016000"/>
                          </a:lnTo>
                          <a:lnTo>
                            <a:pt x="822325" y="1012825"/>
                          </a:lnTo>
                          <a:lnTo>
                            <a:pt x="704850" y="1085850"/>
                          </a:lnTo>
                          <a:lnTo>
                            <a:pt x="650875" y="1079500"/>
                          </a:lnTo>
                          <a:lnTo>
                            <a:pt x="606425" y="1098550"/>
                          </a:lnTo>
                          <a:lnTo>
                            <a:pt x="488950" y="1038225"/>
                          </a:lnTo>
                          <a:lnTo>
                            <a:pt x="390525" y="977900"/>
                          </a:lnTo>
                          <a:lnTo>
                            <a:pt x="114300" y="981075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24" name="Freeform 8"/>
                    <p:cNvSpPr/>
                    <p:nvPr/>
                  </p:nvSpPr>
                  <p:spPr>
                    <a:xfrm>
                      <a:off x="1110612" y="2063111"/>
                      <a:ext cx="1355171" cy="755990"/>
                    </a:xfrm>
                    <a:custGeom>
                      <a:avLst/>
                      <a:gdLst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34925 w 1927225"/>
                        <a:gd name="connsiteY54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13694 w 1927225"/>
                        <a:gd name="connsiteY54" fmla="*/ 616744 h 1073150"/>
                        <a:gd name="connsiteX55" fmla="*/ 34925 w 1927225"/>
                        <a:gd name="connsiteY55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34925 w 1927225"/>
                        <a:gd name="connsiteY55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20838 w 1927225"/>
                        <a:gd name="connsiteY55" fmla="*/ 588169 h 1073150"/>
                        <a:gd name="connsiteX56" fmla="*/ 34925 w 1927225"/>
                        <a:gd name="connsiteY56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34925 w 1927225"/>
                        <a:gd name="connsiteY56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632744 w 1927225"/>
                        <a:gd name="connsiteY56" fmla="*/ 540544 h 1073150"/>
                        <a:gd name="connsiteX57" fmla="*/ 34925 w 1927225"/>
                        <a:gd name="connsiteY57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34925 w 1927225"/>
                        <a:gd name="connsiteY57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589881 w 1927225"/>
                        <a:gd name="connsiteY57" fmla="*/ 450056 h 1073150"/>
                        <a:gd name="connsiteX58" fmla="*/ 34925 w 1927225"/>
                        <a:gd name="connsiteY58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34925 w 1927225"/>
                        <a:gd name="connsiteY58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666081 w 1927225"/>
                        <a:gd name="connsiteY58" fmla="*/ 419100 h 1073150"/>
                        <a:gd name="connsiteX59" fmla="*/ 34925 w 1927225"/>
                        <a:gd name="connsiteY59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34925 w 1927225"/>
                        <a:gd name="connsiteY59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597025 w 1927225"/>
                        <a:gd name="connsiteY59" fmla="*/ 361950 h 1073150"/>
                        <a:gd name="connsiteX60" fmla="*/ 34925 w 1927225"/>
                        <a:gd name="connsiteY60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34925 w 1927225"/>
                        <a:gd name="connsiteY60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661319 w 1927225"/>
                        <a:gd name="connsiteY60" fmla="*/ 328613 h 1073150"/>
                        <a:gd name="connsiteX61" fmla="*/ 34925 w 1927225"/>
                        <a:gd name="connsiteY61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34925 w 1927225"/>
                        <a:gd name="connsiteY61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673225 w 1927225"/>
                        <a:gd name="connsiteY61" fmla="*/ 257175 h 1073150"/>
                        <a:gd name="connsiteX62" fmla="*/ 34925 w 1927225"/>
                        <a:gd name="connsiteY62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34925 w 1927225"/>
                        <a:gd name="connsiteY62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639888 w 1927225"/>
                        <a:gd name="connsiteY62" fmla="*/ 209550 h 1073150"/>
                        <a:gd name="connsiteX63" fmla="*/ 34925 w 1927225"/>
                        <a:gd name="connsiteY63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34925 w 1927225"/>
                        <a:gd name="connsiteY63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92275 w 1927225"/>
                        <a:gd name="connsiteY63" fmla="*/ 169069 h 1073150"/>
                        <a:gd name="connsiteX64" fmla="*/ 34925 w 1927225"/>
                        <a:gd name="connsiteY64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34925 w 1927225"/>
                        <a:gd name="connsiteY64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04169 w 1927225"/>
                        <a:gd name="connsiteY64" fmla="*/ 123825 h 1073150"/>
                        <a:gd name="connsiteX65" fmla="*/ 34925 w 1927225"/>
                        <a:gd name="connsiteY65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34925 w 1927225"/>
                        <a:gd name="connsiteY65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82738 w 1927225"/>
                        <a:gd name="connsiteY65" fmla="*/ 142875 h 1073150"/>
                        <a:gd name="connsiteX66" fmla="*/ 34925 w 1927225"/>
                        <a:gd name="connsiteY66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34925 w 1927225"/>
                        <a:gd name="connsiteY66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1527969 w 1927225"/>
                        <a:gd name="connsiteY66" fmla="*/ 102394 h 1073150"/>
                        <a:gd name="connsiteX67" fmla="*/ 34925 w 1927225"/>
                        <a:gd name="connsiteY67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1556544 w 1927225"/>
                        <a:gd name="connsiteY66" fmla="*/ 57150 h 1073150"/>
                        <a:gd name="connsiteX67" fmla="*/ 34925 w 1927225"/>
                        <a:gd name="connsiteY67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1556544 w 1927225"/>
                        <a:gd name="connsiteY66" fmla="*/ 57150 h 1073150"/>
                        <a:gd name="connsiteX67" fmla="*/ 1473200 w 1927225"/>
                        <a:gd name="connsiteY67" fmla="*/ 47625 h 1073150"/>
                        <a:gd name="connsiteX68" fmla="*/ 34925 w 1927225"/>
                        <a:gd name="connsiteY68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1556544 w 1927225"/>
                        <a:gd name="connsiteY66" fmla="*/ 57150 h 1073150"/>
                        <a:gd name="connsiteX67" fmla="*/ 1563688 w 1927225"/>
                        <a:gd name="connsiteY67" fmla="*/ 7144 h 1073150"/>
                        <a:gd name="connsiteX68" fmla="*/ 34925 w 1927225"/>
                        <a:gd name="connsiteY68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1556544 w 1927225"/>
                        <a:gd name="connsiteY66" fmla="*/ 57150 h 1073150"/>
                        <a:gd name="connsiteX67" fmla="*/ 1563688 w 1927225"/>
                        <a:gd name="connsiteY67" fmla="*/ 7144 h 1073150"/>
                        <a:gd name="connsiteX68" fmla="*/ 1518444 w 1927225"/>
                        <a:gd name="connsiteY68" fmla="*/ 2381 h 1073150"/>
                        <a:gd name="connsiteX69" fmla="*/ 34925 w 1927225"/>
                        <a:gd name="connsiteY69" fmla="*/ 0 h 1073150"/>
                        <a:gd name="connsiteX0" fmla="*/ 34925 w 1927225"/>
                        <a:gd name="connsiteY0" fmla="*/ 11907 h 1085057"/>
                        <a:gd name="connsiteX1" fmla="*/ 15875 w 1927225"/>
                        <a:gd name="connsiteY1" fmla="*/ 27782 h 1085057"/>
                        <a:gd name="connsiteX2" fmla="*/ 3175 w 1927225"/>
                        <a:gd name="connsiteY2" fmla="*/ 59532 h 1085057"/>
                        <a:gd name="connsiteX3" fmla="*/ 0 w 1927225"/>
                        <a:gd name="connsiteY3" fmla="*/ 91282 h 1085057"/>
                        <a:gd name="connsiteX4" fmla="*/ 3175 w 1927225"/>
                        <a:gd name="connsiteY4" fmla="*/ 123032 h 1085057"/>
                        <a:gd name="connsiteX5" fmla="*/ 38100 w 1927225"/>
                        <a:gd name="connsiteY5" fmla="*/ 157957 h 1085057"/>
                        <a:gd name="connsiteX6" fmla="*/ 82550 w 1927225"/>
                        <a:gd name="connsiteY6" fmla="*/ 113507 h 1085057"/>
                        <a:gd name="connsiteX7" fmla="*/ 120650 w 1927225"/>
                        <a:gd name="connsiteY7" fmla="*/ 157957 h 1085057"/>
                        <a:gd name="connsiteX8" fmla="*/ 177800 w 1927225"/>
                        <a:gd name="connsiteY8" fmla="*/ 161132 h 1085057"/>
                        <a:gd name="connsiteX9" fmla="*/ 222250 w 1927225"/>
                        <a:gd name="connsiteY9" fmla="*/ 186532 h 1085057"/>
                        <a:gd name="connsiteX10" fmla="*/ 228600 w 1927225"/>
                        <a:gd name="connsiteY10" fmla="*/ 215107 h 1085057"/>
                        <a:gd name="connsiteX11" fmla="*/ 231775 w 1927225"/>
                        <a:gd name="connsiteY11" fmla="*/ 234157 h 1085057"/>
                        <a:gd name="connsiteX12" fmla="*/ 228600 w 1927225"/>
                        <a:gd name="connsiteY12" fmla="*/ 265907 h 1085057"/>
                        <a:gd name="connsiteX13" fmla="*/ 257175 w 1927225"/>
                        <a:gd name="connsiteY13" fmla="*/ 294482 h 1085057"/>
                        <a:gd name="connsiteX14" fmla="*/ 279400 w 1927225"/>
                        <a:gd name="connsiteY14" fmla="*/ 342107 h 1085057"/>
                        <a:gd name="connsiteX15" fmla="*/ 279400 w 1927225"/>
                        <a:gd name="connsiteY15" fmla="*/ 383382 h 1085057"/>
                        <a:gd name="connsiteX16" fmla="*/ 279400 w 1927225"/>
                        <a:gd name="connsiteY16" fmla="*/ 415132 h 1085057"/>
                        <a:gd name="connsiteX17" fmla="*/ 333375 w 1927225"/>
                        <a:gd name="connsiteY17" fmla="*/ 526257 h 1085057"/>
                        <a:gd name="connsiteX18" fmla="*/ 346075 w 1927225"/>
                        <a:gd name="connsiteY18" fmla="*/ 548482 h 1085057"/>
                        <a:gd name="connsiteX19" fmla="*/ 285750 w 1927225"/>
                        <a:gd name="connsiteY19" fmla="*/ 567532 h 1085057"/>
                        <a:gd name="connsiteX20" fmla="*/ 225425 w 1927225"/>
                        <a:gd name="connsiteY20" fmla="*/ 507207 h 1085057"/>
                        <a:gd name="connsiteX21" fmla="*/ 184150 w 1927225"/>
                        <a:gd name="connsiteY21" fmla="*/ 558007 h 1085057"/>
                        <a:gd name="connsiteX22" fmla="*/ 314325 w 1927225"/>
                        <a:gd name="connsiteY22" fmla="*/ 669132 h 1085057"/>
                        <a:gd name="connsiteX23" fmla="*/ 352425 w 1927225"/>
                        <a:gd name="connsiteY23" fmla="*/ 640557 h 1085057"/>
                        <a:gd name="connsiteX24" fmla="*/ 403225 w 1927225"/>
                        <a:gd name="connsiteY24" fmla="*/ 631032 h 1085057"/>
                        <a:gd name="connsiteX25" fmla="*/ 469900 w 1927225"/>
                        <a:gd name="connsiteY25" fmla="*/ 640557 h 1085057"/>
                        <a:gd name="connsiteX26" fmla="*/ 615950 w 1927225"/>
                        <a:gd name="connsiteY26" fmla="*/ 589757 h 1085057"/>
                        <a:gd name="connsiteX27" fmla="*/ 803275 w 1927225"/>
                        <a:gd name="connsiteY27" fmla="*/ 523082 h 1085057"/>
                        <a:gd name="connsiteX28" fmla="*/ 911225 w 1927225"/>
                        <a:gd name="connsiteY28" fmla="*/ 580232 h 1085057"/>
                        <a:gd name="connsiteX29" fmla="*/ 1016000 w 1927225"/>
                        <a:gd name="connsiteY29" fmla="*/ 662782 h 1085057"/>
                        <a:gd name="connsiteX30" fmla="*/ 1092200 w 1927225"/>
                        <a:gd name="connsiteY30" fmla="*/ 611982 h 1085057"/>
                        <a:gd name="connsiteX31" fmla="*/ 1171575 w 1927225"/>
                        <a:gd name="connsiteY31" fmla="*/ 646907 h 1085057"/>
                        <a:gd name="connsiteX32" fmla="*/ 1200150 w 1927225"/>
                        <a:gd name="connsiteY32" fmla="*/ 653257 h 1085057"/>
                        <a:gd name="connsiteX33" fmla="*/ 1203325 w 1927225"/>
                        <a:gd name="connsiteY33" fmla="*/ 738982 h 1085057"/>
                        <a:gd name="connsiteX34" fmla="*/ 1219200 w 1927225"/>
                        <a:gd name="connsiteY34" fmla="*/ 773907 h 1085057"/>
                        <a:gd name="connsiteX35" fmla="*/ 1238250 w 1927225"/>
                        <a:gd name="connsiteY35" fmla="*/ 799307 h 1085057"/>
                        <a:gd name="connsiteX36" fmla="*/ 1231900 w 1927225"/>
                        <a:gd name="connsiteY36" fmla="*/ 878682 h 1085057"/>
                        <a:gd name="connsiteX37" fmla="*/ 1212850 w 1927225"/>
                        <a:gd name="connsiteY37" fmla="*/ 923132 h 1085057"/>
                        <a:gd name="connsiteX38" fmla="*/ 1209675 w 1927225"/>
                        <a:gd name="connsiteY38" fmla="*/ 951707 h 1085057"/>
                        <a:gd name="connsiteX39" fmla="*/ 1282700 w 1927225"/>
                        <a:gd name="connsiteY39" fmla="*/ 958057 h 1085057"/>
                        <a:gd name="connsiteX40" fmla="*/ 1311275 w 1927225"/>
                        <a:gd name="connsiteY40" fmla="*/ 945357 h 1085057"/>
                        <a:gd name="connsiteX41" fmla="*/ 1352550 w 1927225"/>
                        <a:gd name="connsiteY41" fmla="*/ 926307 h 1085057"/>
                        <a:gd name="connsiteX42" fmla="*/ 1425575 w 1927225"/>
                        <a:gd name="connsiteY42" fmla="*/ 961232 h 1085057"/>
                        <a:gd name="connsiteX43" fmla="*/ 1457325 w 1927225"/>
                        <a:gd name="connsiteY43" fmla="*/ 916782 h 1085057"/>
                        <a:gd name="connsiteX44" fmla="*/ 1555750 w 1927225"/>
                        <a:gd name="connsiteY44" fmla="*/ 913607 h 1085057"/>
                        <a:gd name="connsiteX45" fmla="*/ 1616075 w 1927225"/>
                        <a:gd name="connsiteY45" fmla="*/ 967582 h 1085057"/>
                        <a:gd name="connsiteX46" fmla="*/ 1676400 w 1927225"/>
                        <a:gd name="connsiteY46" fmla="*/ 897732 h 1085057"/>
                        <a:gd name="connsiteX47" fmla="*/ 1895475 w 1927225"/>
                        <a:gd name="connsiteY47" fmla="*/ 1085057 h 1085057"/>
                        <a:gd name="connsiteX48" fmla="*/ 1895475 w 1927225"/>
                        <a:gd name="connsiteY48" fmla="*/ 1085057 h 1085057"/>
                        <a:gd name="connsiteX49" fmla="*/ 1927225 w 1927225"/>
                        <a:gd name="connsiteY49" fmla="*/ 1062832 h 1085057"/>
                        <a:gd name="connsiteX50" fmla="*/ 1895475 w 1927225"/>
                        <a:gd name="connsiteY50" fmla="*/ 904082 h 1085057"/>
                        <a:gd name="connsiteX51" fmla="*/ 1778000 w 1927225"/>
                        <a:gd name="connsiteY51" fmla="*/ 850107 h 1085057"/>
                        <a:gd name="connsiteX52" fmla="*/ 1698625 w 1927225"/>
                        <a:gd name="connsiteY52" fmla="*/ 773907 h 1085057"/>
                        <a:gd name="connsiteX53" fmla="*/ 1679575 w 1927225"/>
                        <a:gd name="connsiteY53" fmla="*/ 656432 h 1085057"/>
                        <a:gd name="connsiteX54" fmla="*/ 1673225 w 1927225"/>
                        <a:gd name="connsiteY54" fmla="*/ 616745 h 1085057"/>
                        <a:gd name="connsiteX55" fmla="*/ 1694656 w 1927225"/>
                        <a:gd name="connsiteY55" fmla="*/ 569120 h 1085057"/>
                        <a:gd name="connsiteX56" fmla="*/ 1720850 w 1927225"/>
                        <a:gd name="connsiteY56" fmla="*/ 495301 h 1085057"/>
                        <a:gd name="connsiteX57" fmla="*/ 1747043 w 1927225"/>
                        <a:gd name="connsiteY57" fmla="*/ 452438 h 1085057"/>
                        <a:gd name="connsiteX58" fmla="*/ 1725613 w 1927225"/>
                        <a:gd name="connsiteY58" fmla="*/ 407195 h 1085057"/>
                        <a:gd name="connsiteX59" fmla="*/ 1716088 w 1927225"/>
                        <a:gd name="connsiteY59" fmla="*/ 354807 h 1085057"/>
                        <a:gd name="connsiteX60" fmla="*/ 1713706 w 1927225"/>
                        <a:gd name="connsiteY60" fmla="*/ 273845 h 1085057"/>
                        <a:gd name="connsiteX61" fmla="*/ 1713706 w 1927225"/>
                        <a:gd name="connsiteY61" fmla="*/ 233363 h 1085057"/>
                        <a:gd name="connsiteX62" fmla="*/ 1739900 w 1927225"/>
                        <a:gd name="connsiteY62" fmla="*/ 183357 h 1085057"/>
                        <a:gd name="connsiteX63" fmla="*/ 1680369 w 1927225"/>
                        <a:gd name="connsiteY63" fmla="*/ 140495 h 1085057"/>
                        <a:gd name="connsiteX64" fmla="*/ 1639888 w 1927225"/>
                        <a:gd name="connsiteY64" fmla="*/ 161926 h 1085057"/>
                        <a:gd name="connsiteX65" fmla="*/ 1558925 w 1927225"/>
                        <a:gd name="connsiteY65" fmla="*/ 119063 h 1085057"/>
                        <a:gd name="connsiteX66" fmla="*/ 1556544 w 1927225"/>
                        <a:gd name="connsiteY66" fmla="*/ 69057 h 1085057"/>
                        <a:gd name="connsiteX67" fmla="*/ 1563688 w 1927225"/>
                        <a:gd name="connsiteY67" fmla="*/ 19051 h 1085057"/>
                        <a:gd name="connsiteX68" fmla="*/ 1592263 w 1927225"/>
                        <a:gd name="connsiteY68" fmla="*/ 0 h 1085057"/>
                        <a:gd name="connsiteX69" fmla="*/ 34925 w 1927225"/>
                        <a:gd name="connsiteY69" fmla="*/ 11907 h 1085057"/>
                        <a:gd name="connsiteX0" fmla="*/ 34925 w 1927225"/>
                        <a:gd name="connsiteY0" fmla="*/ 14286 h 1087436"/>
                        <a:gd name="connsiteX1" fmla="*/ 15875 w 1927225"/>
                        <a:gd name="connsiteY1" fmla="*/ 30161 h 1087436"/>
                        <a:gd name="connsiteX2" fmla="*/ 3175 w 1927225"/>
                        <a:gd name="connsiteY2" fmla="*/ 61911 h 1087436"/>
                        <a:gd name="connsiteX3" fmla="*/ 0 w 1927225"/>
                        <a:gd name="connsiteY3" fmla="*/ 93661 h 1087436"/>
                        <a:gd name="connsiteX4" fmla="*/ 3175 w 1927225"/>
                        <a:gd name="connsiteY4" fmla="*/ 125411 h 1087436"/>
                        <a:gd name="connsiteX5" fmla="*/ 38100 w 1927225"/>
                        <a:gd name="connsiteY5" fmla="*/ 160336 h 1087436"/>
                        <a:gd name="connsiteX6" fmla="*/ 82550 w 1927225"/>
                        <a:gd name="connsiteY6" fmla="*/ 115886 h 1087436"/>
                        <a:gd name="connsiteX7" fmla="*/ 120650 w 1927225"/>
                        <a:gd name="connsiteY7" fmla="*/ 160336 h 1087436"/>
                        <a:gd name="connsiteX8" fmla="*/ 177800 w 1927225"/>
                        <a:gd name="connsiteY8" fmla="*/ 163511 h 1087436"/>
                        <a:gd name="connsiteX9" fmla="*/ 222250 w 1927225"/>
                        <a:gd name="connsiteY9" fmla="*/ 188911 h 1087436"/>
                        <a:gd name="connsiteX10" fmla="*/ 228600 w 1927225"/>
                        <a:gd name="connsiteY10" fmla="*/ 217486 h 1087436"/>
                        <a:gd name="connsiteX11" fmla="*/ 231775 w 1927225"/>
                        <a:gd name="connsiteY11" fmla="*/ 236536 h 1087436"/>
                        <a:gd name="connsiteX12" fmla="*/ 228600 w 1927225"/>
                        <a:gd name="connsiteY12" fmla="*/ 268286 h 1087436"/>
                        <a:gd name="connsiteX13" fmla="*/ 257175 w 1927225"/>
                        <a:gd name="connsiteY13" fmla="*/ 296861 h 1087436"/>
                        <a:gd name="connsiteX14" fmla="*/ 279400 w 1927225"/>
                        <a:gd name="connsiteY14" fmla="*/ 344486 h 1087436"/>
                        <a:gd name="connsiteX15" fmla="*/ 279400 w 1927225"/>
                        <a:gd name="connsiteY15" fmla="*/ 385761 h 1087436"/>
                        <a:gd name="connsiteX16" fmla="*/ 279400 w 1927225"/>
                        <a:gd name="connsiteY16" fmla="*/ 417511 h 1087436"/>
                        <a:gd name="connsiteX17" fmla="*/ 333375 w 1927225"/>
                        <a:gd name="connsiteY17" fmla="*/ 528636 h 1087436"/>
                        <a:gd name="connsiteX18" fmla="*/ 346075 w 1927225"/>
                        <a:gd name="connsiteY18" fmla="*/ 550861 h 1087436"/>
                        <a:gd name="connsiteX19" fmla="*/ 285750 w 1927225"/>
                        <a:gd name="connsiteY19" fmla="*/ 569911 h 1087436"/>
                        <a:gd name="connsiteX20" fmla="*/ 225425 w 1927225"/>
                        <a:gd name="connsiteY20" fmla="*/ 509586 h 1087436"/>
                        <a:gd name="connsiteX21" fmla="*/ 184150 w 1927225"/>
                        <a:gd name="connsiteY21" fmla="*/ 560386 h 1087436"/>
                        <a:gd name="connsiteX22" fmla="*/ 314325 w 1927225"/>
                        <a:gd name="connsiteY22" fmla="*/ 671511 h 1087436"/>
                        <a:gd name="connsiteX23" fmla="*/ 352425 w 1927225"/>
                        <a:gd name="connsiteY23" fmla="*/ 642936 h 1087436"/>
                        <a:gd name="connsiteX24" fmla="*/ 403225 w 1927225"/>
                        <a:gd name="connsiteY24" fmla="*/ 633411 h 1087436"/>
                        <a:gd name="connsiteX25" fmla="*/ 469900 w 1927225"/>
                        <a:gd name="connsiteY25" fmla="*/ 642936 h 1087436"/>
                        <a:gd name="connsiteX26" fmla="*/ 615950 w 1927225"/>
                        <a:gd name="connsiteY26" fmla="*/ 592136 h 1087436"/>
                        <a:gd name="connsiteX27" fmla="*/ 803275 w 1927225"/>
                        <a:gd name="connsiteY27" fmla="*/ 525461 h 1087436"/>
                        <a:gd name="connsiteX28" fmla="*/ 911225 w 1927225"/>
                        <a:gd name="connsiteY28" fmla="*/ 582611 h 1087436"/>
                        <a:gd name="connsiteX29" fmla="*/ 1016000 w 1927225"/>
                        <a:gd name="connsiteY29" fmla="*/ 665161 h 1087436"/>
                        <a:gd name="connsiteX30" fmla="*/ 1092200 w 1927225"/>
                        <a:gd name="connsiteY30" fmla="*/ 614361 h 1087436"/>
                        <a:gd name="connsiteX31" fmla="*/ 1171575 w 1927225"/>
                        <a:gd name="connsiteY31" fmla="*/ 649286 h 1087436"/>
                        <a:gd name="connsiteX32" fmla="*/ 1200150 w 1927225"/>
                        <a:gd name="connsiteY32" fmla="*/ 655636 h 1087436"/>
                        <a:gd name="connsiteX33" fmla="*/ 1203325 w 1927225"/>
                        <a:gd name="connsiteY33" fmla="*/ 741361 h 1087436"/>
                        <a:gd name="connsiteX34" fmla="*/ 1219200 w 1927225"/>
                        <a:gd name="connsiteY34" fmla="*/ 776286 h 1087436"/>
                        <a:gd name="connsiteX35" fmla="*/ 1238250 w 1927225"/>
                        <a:gd name="connsiteY35" fmla="*/ 801686 h 1087436"/>
                        <a:gd name="connsiteX36" fmla="*/ 1231900 w 1927225"/>
                        <a:gd name="connsiteY36" fmla="*/ 881061 h 1087436"/>
                        <a:gd name="connsiteX37" fmla="*/ 1212850 w 1927225"/>
                        <a:gd name="connsiteY37" fmla="*/ 925511 h 1087436"/>
                        <a:gd name="connsiteX38" fmla="*/ 1209675 w 1927225"/>
                        <a:gd name="connsiteY38" fmla="*/ 954086 h 1087436"/>
                        <a:gd name="connsiteX39" fmla="*/ 1282700 w 1927225"/>
                        <a:gd name="connsiteY39" fmla="*/ 960436 h 1087436"/>
                        <a:gd name="connsiteX40" fmla="*/ 1311275 w 1927225"/>
                        <a:gd name="connsiteY40" fmla="*/ 947736 h 1087436"/>
                        <a:gd name="connsiteX41" fmla="*/ 1352550 w 1927225"/>
                        <a:gd name="connsiteY41" fmla="*/ 928686 h 1087436"/>
                        <a:gd name="connsiteX42" fmla="*/ 1425575 w 1927225"/>
                        <a:gd name="connsiteY42" fmla="*/ 963611 h 1087436"/>
                        <a:gd name="connsiteX43" fmla="*/ 1457325 w 1927225"/>
                        <a:gd name="connsiteY43" fmla="*/ 919161 h 1087436"/>
                        <a:gd name="connsiteX44" fmla="*/ 1555750 w 1927225"/>
                        <a:gd name="connsiteY44" fmla="*/ 915986 h 1087436"/>
                        <a:gd name="connsiteX45" fmla="*/ 1616075 w 1927225"/>
                        <a:gd name="connsiteY45" fmla="*/ 969961 h 1087436"/>
                        <a:gd name="connsiteX46" fmla="*/ 1676400 w 1927225"/>
                        <a:gd name="connsiteY46" fmla="*/ 900111 h 1087436"/>
                        <a:gd name="connsiteX47" fmla="*/ 1895475 w 1927225"/>
                        <a:gd name="connsiteY47" fmla="*/ 1087436 h 1087436"/>
                        <a:gd name="connsiteX48" fmla="*/ 1895475 w 1927225"/>
                        <a:gd name="connsiteY48" fmla="*/ 1087436 h 1087436"/>
                        <a:gd name="connsiteX49" fmla="*/ 1927225 w 1927225"/>
                        <a:gd name="connsiteY49" fmla="*/ 1065211 h 1087436"/>
                        <a:gd name="connsiteX50" fmla="*/ 1895475 w 1927225"/>
                        <a:gd name="connsiteY50" fmla="*/ 906461 h 1087436"/>
                        <a:gd name="connsiteX51" fmla="*/ 1778000 w 1927225"/>
                        <a:gd name="connsiteY51" fmla="*/ 852486 h 1087436"/>
                        <a:gd name="connsiteX52" fmla="*/ 1698625 w 1927225"/>
                        <a:gd name="connsiteY52" fmla="*/ 776286 h 1087436"/>
                        <a:gd name="connsiteX53" fmla="*/ 1679575 w 1927225"/>
                        <a:gd name="connsiteY53" fmla="*/ 658811 h 1087436"/>
                        <a:gd name="connsiteX54" fmla="*/ 1673225 w 1927225"/>
                        <a:gd name="connsiteY54" fmla="*/ 619124 h 1087436"/>
                        <a:gd name="connsiteX55" fmla="*/ 1694656 w 1927225"/>
                        <a:gd name="connsiteY55" fmla="*/ 571499 h 1087436"/>
                        <a:gd name="connsiteX56" fmla="*/ 1720850 w 1927225"/>
                        <a:gd name="connsiteY56" fmla="*/ 497680 h 1087436"/>
                        <a:gd name="connsiteX57" fmla="*/ 1747043 w 1927225"/>
                        <a:gd name="connsiteY57" fmla="*/ 454817 h 1087436"/>
                        <a:gd name="connsiteX58" fmla="*/ 1725613 w 1927225"/>
                        <a:gd name="connsiteY58" fmla="*/ 409574 h 1087436"/>
                        <a:gd name="connsiteX59" fmla="*/ 1716088 w 1927225"/>
                        <a:gd name="connsiteY59" fmla="*/ 357186 h 1087436"/>
                        <a:gd name="connsiteX60" fmla="*/ 1713706 w 1927225"/>
                        <a:gd name="connsiteY60" fmla="*/ 276224 h 1087436"/>
                        <a:gd name="connsiteX61" fmla="*/ 1713706 w 1927225"/>
                        <a:gd name="connsiteY61" fmla="*/ 235742 h 1087436"/>
                        <a:gd name="connsiteX62" fmla="*/ 1739900 w 1927225"/>
                        <a:gd name="connsiteY62" fmla="*/ 185736 h 1087436"/>
                        <a:gd name="connsiteX63" fmla="*/ 1680369 w 1927225"/>
                        <a:gd name="connsiteY63" fmla="*/ 142874 h 1087436"/>
                        <a:gd name="connsiteX64" fmla="*/ 1639888 w 1927225"/>
                        <a:gd name="connsiteY64" fmla="*/ 164305 h 1087436"/>
                        <a:gd name="connsiteX65" fmla="*/ 1558925 w 1927225"/>
                        <a:gd name="connsiteY65" fmla="*/ 121442 h 1087436"/>
                        <a:gd name="connsiteX66" fmla="*/ 1556544 w 1927225"/>
                        <a:gd name="connsiteY66" fmla="*/ 71436 h 1087436"/>
                        <a:gd name="connsiteX67" fmla="*/ 1563688 w 1927225"/>
                        <a:gd name="connsiteY67" fmla="*/ 21430 h 1087436"/>
                        <a:gd name="connsiteX68" fmla="*/ 1592263 w 1927225"/>
                        <a:gd name="connsiteY68" fmla="*/ 2379 h 1087436"/>
                        <a:gd name="connsiteX69" fmla="*/ 1518444 w 1927225"/>
                        <a:gd name="connsiteY69" fmla="*/ 0 h 1087436"/>
                        <a:gd name="connsiteX70" fmla="*/ 34925 w 1927225"/>
                        <a:gd name="connsiteY70" fmla="*/ 14286 h 1087436"/>
                        <a:gd name="connsiteX0" fmla="*/ 34925 w 1927225"/>
                        <a:gd name="connsiteY0" fmla="*/ 47624 h 1120774"/>
                        <a:gd name="connsiteX1" fmla="*/ 15875 w 1927225"/>
                        <a:gd name="connsiteY1" fmla="*/ 63499 h 1120774"/>
                        <a:gd name="connsiteX2" fmla="*/ 3175 w 1927225"/>
                        <a:gd name="connsiteY2" fmla="*/ 95249 h 1120774"/>
                        <a:gd name="connsiteX3" fmla="*/ 0 w 1927225"/>
                        <a:gd name="connsiteY3" fmla="*/ 126999 h 1120774"/>
                        <a:gd name="connsiteX4" fmla="*/ 3175 w 1927225"/>
                        <a:gd name="connsiteY4" fmla="*/ 158749 h 1120774"/>
                        <a:gd name="connsiteX5" fmla="*/ 38100 w 1927225"/>
                        <a:gd name="connsiteY5" fmla="*/ 193674 h 1120774"/>
                        <a:gd name="connsiteX6" fmla="*/ 82550 w 1927225"/>
                        <a:gd name="connsiteY6" fmla="*/ 149224 h 1120774"/>
                        <a:gd name="connsiteX7" fmla="*/ 120650 w 1927225"/>
                        <a:gd name="connsiteY7" fmla="*/ 193674 h 1120774"/>
                        <a:gd name="connsiteX8" fmla="*/ 177800 w 1927225"/>
                        <a:gd name="connsiteY8" fmla="*/ 196849 h 1120774"/>
                        <a:gd name="connsiteX9" fmla="*/ 222250 w 1927225"/>
                        <a:gd name="connsiteY9" fmla="*/ 222249 h 1120774"/>
                        <a:gd name="connsiteX10" fmla="*/ 228600 w 1927225"/>
                        <a:gd name="connsiteY10" fmla="*/ 250824 h 1120774"/>
                        <a:gd name="connsiteX11" fmla="*/ 231775 w 1927225"/>
                        <a:gd name="connsiteY11" fmla="*/ 269874 h 1120774"/>
                        <a:gd name="connsiteX12" fmla="*/ 228600 w 1927225"/>
                        <a:gd name="connsiteY12" fmla="*/ 301624 h 1120774"/>
                        <a:gd name="connsiteX13" fmla="*/ 257175 w 1927225"/>
                        <a:gd name="connsiteY13" fmla="*/ 330199 h 1120774"/>
                        <a:gd name="connsiteX14" fmla="*/ 279400 w 1927225"/>
                        <a:gd name="connsiteY14" fmla="*/ 377824 h 1120774"/>
                        <a:gd name="connsiteX15" fmla="*/ 279400 w 1927225"/>
                        <a:gd name="connsiteY15" fmla="*/ 419099 h 1120774"/>
                        <a:gd name="connsiteX16" fmla="*/ 279400 w 1927225"/>
                        <a:gd name="connsiteY16" fmla="*/ 450849 h 1120774"/>
                        <a:gd name="connsiteX17" fmla="*/ 333375 w 1927225"/>
                        <a:gd name="connsiteY17" fmla="*/ 561974 h 1120774"/>
                        <a:gd name="connsiteX18" fmla="*/ 346075 w 1927225"/>
                        <a:gd name="connsiteY18" fmla="*/ 584199 h 1120774"/>
                        <a:gd name="connsiteX19" fmla="*/ 285750 w 1927225"/>
                        <a:gd name="connsiteY19" fmla="*/ 603249 h 1120774"/>
                        <a:gd name="connsiteX20" fmla="*/ 225425 w 1927225"/>
                        <a:gd name="connsiteY20" fmla="*/ 542924 h 1120774"/>
                        <a:gd name="connsiteX21" fmla="*/ 184150 w 1927225"/>
                        <a:gd name="connsiteY21" fmla="*/ 593724 h 1120774"/>
                        <a:gd name="connsiteX22" fmla="*/ 314325 w 1927225"/>
                        <a:gd name="connsiteY22" fmla="*/ 704849 h 1120774"/>
                        <a:gd name="connsiteX23" fmla="*/ 352425 w 1927225"/>
                        <a:gd name="connsiteY23" fmla="*/ 676274 h 1120774"/>
                        <a:gd name="connsiteX24" fmla="*/ 403225 w 1927225"/>
                        <a:gd name="connsiteY24" fmla="*/ 666749 h 1120774"/>
                        <a:gd name="connsiteX25" fmla="*/ 469900 w 1927225"/>
                        <a:gd name="connsiteY25" fmla="*/ 676274 h 1120774"/>
                        <a:gd name="connsiteX26" fmla="*/ 615950 w 1927225"/>
                        <a:gd name="connsiteY26" fmla="*/ 625474 h 1120774"/>
                        <a:gd name="connsiteX27" fmla="*/ 803275 w 1927225"/>
                        <a:gd name="connsiteY27" fmla="*/ 558799 h 1120774"/>
                        <a:gd name="connsiteX28" fmla="*/ 911225 w 1927225"/>
                        <a:gd name="connsiteY28" fmla="*/ 615949 h 1120774"/>
                        <a:gd name="connsiteX29" fmla="*/ 1016000 w 1927225"/>
                        <a:gd name="connsiteY29" fmla="*/ 698499 h 1120774"/>
                        <a:gd name="connsiteX30" fmla="*/ 1092200 w 1927225"/>
                        <a:gd name="connsiteY30" fmla="*/ 647699 h 1120774"/>
                        <a:gd name="connsiteX31" fmla="*/ 1171575 w 1927225"/>
                        <a:gd name="connsiteY31" fmla="*/ 682624 h 1120774"/>
                        <a:gd name="connsiteX32" fmla="*/ 1200150 w 1927225"/>
                        <a:gd name="connsiteY32" fmla="*/ 688974 h 1120774"/>
                        <a:gd name="connsiteX33" fmla="*/ 1203325 w 1927225"/>
                        <a:gd name="connsiteY33" fmla="*/ 774699 h 1120774"/>
                        <a:gd name="connsiteX34" fmla="*/ 1219200 w 1927225"/>
                        <a:gd name="connsiteY34" fmla="*/ 809624 h 1120774"/>
                        <a:gd name="connsiteX35" fmla="*/ 1238250 w 1927225"/>
                        <a:gd name="connsiteY35" fmla="*/ 835024 h 1120774"/>
                        <a:gd name="connsiteX36" fmla="*/ 1231900 w 1927225"/>
                        <a:gd name="connsiteY36" fmla="*/ 914399 h 1120774"/>
                        <a:gd name="connsiteX37" fmla="*/ 1212850 w 1927225"/>
                        <a:gd name="connsiteY37" fmla="*/ 958849 h 1120774"/>
                        <a:gd name="connsiteX38" fmla="*/ 1209675 w 1927225"/>
                        <a:gd name="connsiteY38" fmla="*/ 987424 h 1120774"/>
                        <a:gd name="connsiteX39" fmla="*/ 1282700 w 1927225"/>
                        <a:gd name="connsiteY39" fmla="*/ 993774 h 1120774"/>
                        <a:gd name="connsiteX40" fmla="*/ 1311275 w 1927225"/>
                        <a:gd name="connsiteY40" fmla="*/ 981074 h 1120774"/>
                        <a:gd name="connsiteX41" fmla="*/ 1352550 w 1927225"/>
                        <a:gd name="connsiteY41" fmla="*/ 962024 h 1120774"/>
                        <a:gd name="connsiteX42" fmla="*/ 1425575 w 1927225"/>
                        <a:gd name="connsiteY42" fmla="*/ 996949 h 1120774"/>
                        <a:gd name="connsiteX43" fmla="*/ 1457325 w 1927225"/>
                        <a:gd name="connsiteY43" fmla="*/ 952499 h 1120774"/>
                        <a:gd name="connsiteX44" fmla="*/ 1555750 w 1927225"/>
                        <a:gd name="connsiteY44" fmla="*/ 949324 h 1120774"/>
                        <a:gd name="connsiteX45" fmla="*/ 1616075 w 1927225"/>
                        <a:gd name="connsiteY45" fmla="*/ 1003299 h 1120774"/>
                        <a:gd name="connsiteX46" fmla="*/ 1676400 w 1927225"/>
                        <a:gd name="connsiteY46" fmla="*/ 933449 h 1120774"/>
                        <a:gd name="connsiteX47" fmla="*/ 1895475 w 1927225"/>
                        <a:gd name="connsiteY47" fmla="*/ 1120774 h 1120774"/>
                        <a:gd name="connsiteX48" fmla="*/ 1895475 w 1927225"/>
                        <a:gd name="connsiteY48" fmla="*/ 1120774 h 1120774"/>
                        <a:gd name="connsiteX49" fmla="*/ 1927225 w 1927225"/>
                        <a:gd name="connsiteY49" fmla="*/ 1098549 h 1120774"/>
                        <a:gd name="connsiteX50" fmla="*/ 1895475 w 1927225"/>
                        <a:gd name="connsiteY50" fmla="*/ 939799 h 1120774"/>
                        <a:gd name="connsiteX51" fmla="*/ 1778000 w 1927225"/>
                        <a:gd name="connsiteY51" fmla="*/ 885824 h 1120774"/>
                        <a:gd name="connsiteX52" fmla="*/ 1698625 w 1927225"/>
                        <a:gd name="connsiteY52" fmla="*/ 809624 h 1120774"/>
                        <a:gd name="connsiteX53" fmla="*/ 1679575 w 1927225"/>
                        <a:gd name="connsiteY53" fmla="*/ 692149 h 1120774"/>
                        <a:gd name="connsiteX54" fmla="*/ 1673225 w 1927225"/>
                        <a:gd name="connsiteY54" fmla="*/ 652462 h 1120774"/>
                        <a:gd name="connsiteX55" fmla="*/ 1694656 w 1927225"/>
                        <a:gd name="connsiteY55" fmla="*/ 604837 h 1120774"/>
                        <a:gd name="connsiteX56" fmla="*/ 1720850 w 1927225"/>
                        <a:gd name="connsiteY56" fmla="*/ 531018 h 1120774"/>
                        <a:gd name="connsiteX57" fmla="*/ 1747043 w 1927225"/>
                        <a:gd name="connsiteY57" fmla="*/ 488155 h 1120774"/>
                        <a:gd name="connsiteX58" fmla="*/ 1725613 w 1927225"/>
                        <a:gd name="connsiteY58" fmla="*/ 442912 h 1120774"/>
                        <a:gd name="connsiteX59" fmla="*/ 1716088 w 1927225"/>
                        <a:gd name="connsiteY59" fmla="*/ 390524 h 1120774"/>
                        <a:gd name="connsiteX60" fmla="*/ 1713706 w 1927225"/>
                        <a:gd name="connsiteY60" fmla="*/ 309562 h 1120774"/>
                        <a:gd name="connsiteX61" fmla="*/ 1713706 w 1927225"/>
                        <a:gd name="connsiteY61" fmla="*/ 269080 h 1120774"/>
                        <a:gd name="connsiteX62" fmla="*/ 1739900 w 1927225"/>
                        <a:gd name="connsiteY62" fmla="*/ 219074 h 1120774"/>
                        <a:gd name="connsiteX63" fmla="*/ 1680369 w 1927225"/>
                        <a:gd name="connsiteY63" fmla="*/ 176212 h 1120774"/>
                        <a:gd name="connsiteX64" fmla="*/ 1639888 w 1927225"/>
                        <a:gd name="connsiteY64" fmla="*/ 197643 h 1120774"/>
                        <a:gd name="connsiteX65" fmla="*/ 1558925 w 1927225"/>
                        <a:gd name="connsiteY65" fmla="*/ 154780 h 1120774"/>
                        <a:gd name="connsiteX66" fmla="*/ 1556544 w 1927225"/>
                        <a:gd name="connsiteY66" fmla="*/ 104774 h 1120774"/>
                        <a:gd name="connsiteX67" fmla="*/ 1563688 w 1927225"/>
                        <a:gd name="connsiteY67" fmla="*/ 54768 h 1120774"/>
                        <a:gd name="connsiteX68" fmla="*/ 1592263 w 1927225"/>
                        <a:gd name="connsiteY68" fmla="*/ 35717 h 1120774"/>
                        <a:gd name="connsiteX69" fmla="*/ 1537494 w 1927225"/>
                        <a:gd name="connsiteY69" fmla="*/ 0 h 1120774"/>
                        <a:gd name="connsiteX70" fmla="*/ 34925 w 1927225"/>
                        <a:gd name="connsiteY70" fmla="*/ 47624 h 1120774"/>
                        <a:gd name="connsiteX0" fmla="*/ 34925 w 1927225"/>
                        <a:gd name="connsiteY0" fmla="*/ 47624 h 1120774"/>
                        <a:gd name="connsiteX1" fmla="*/ 15875 w 1927225"/>
                        <a:gd name="connsiteY1" fmla="*/ 63499 h 1120774"/>
                        <a:gd name="connsiteX2" fmla="*/ 3175 w 1927225"/>
                        <a:gd name="connsiteY2" fmla="*/ 95249 h 1120774"/>
                        <a:gd name="connsiteX3" fmla="*/ 0 w 1927225"/>
                        <a:gd name="connsiteY3" fmla="*/ 126999 h 1120774"/>
                        <a:gd name="connsiteX4" fmla="*/ 3175 w 1927225"/>
                        <a:gd name="connsiteY4" fmla="*/ 158749 h 1120774"/>
                        <a:gd name="connsiteX5" fmla="*/ 38100 w 1927225"/>
                        <a:gd name="connsiteY5" fmla="*/ 193674 h 1120774"/>
                        <a:gd name="connsiteX6" fmla="*/ 82550 w 1927225"/>
                        <a:gd name="connsiteY6" fmla="*/ 149224 h 1120774"/>
                        <a:gd name="connsiteX7" fmla="*/ 120650 w 1927225"/>
                        <a:gd name="connsiteY7" fmla="*/ 193674 h 1120774"/>
                        <a:gd name="connsiteX8" fmla="*/ 177800 w 1927225"/>
                        <a:gd name="connsiteY8" fmla="*/ 196849 h 1120774"/>
                        <a:gd name="connsiteX9" fmla="*/ 222250 w 1927225"/>
                        <a:gd name="connsiteY9" fmla="*/ 222249 h 1120774"/>
                        <a:gd name="connsiteX10" fmla="*/ 228600 w 1927225"/>
                        <a:gd name="connsiteY10" fmla="*/ 250824 h 1120774"/>
                        <a:gd name="connsiteX11" fmla="*/ 231775 w 1927225"/>
                        <a:gd name="connsiteY11" fmla="*/ 269874 h 1120774"/>
                        <a:gd name="connsiteX12" fmla="*/ 228600 w 1927225"/>
                        <a:gd name="connsiteY12" fmla="*/ 301624 h 1120774"/>
                        <a:gd name="connsiteX13" fmla="*/ 257175 w 1927225"/>
                        <a:gd name="connsiteY13" fmla="*/ 330199 h 1120774"/>
                        <a:gd name="connsiteX14" fmla="*/ 279400 w 1927225"/>
                        <a:gd name="connsiteY14" fmla="*/ 377824 h 1120774"/>
                        <a:gd name="connsiteX15" fmla="*/ 279400 w 1927225"/>
                        <a:gd name="connsiteY15" fmla="*/ 419099 h 1120774"/>
                        <a:gd name="connsiteX16" fmla="*/ 279400 w 1927225"/>
                        <a:gd name="connsiteY16" fmla="*/ 450849 h 1120774"/>
                        <a:gd name="connsiteX17" fmla="*/ 333375 w 1927225"/>
                        <a:gd name="connsiteY17" fmla="*/ 561974 h 1120774"/>
                        <a:gd name="connsiteX18" fmla="*/ 346075 w 1927225"/>
                        <a:gd name="connsiteY18" fmla="*/ 584199 h 1120774"/>
                        <a:gd name="connsiteX19" fmla="*/ 285750 w 1927225"/>
                        <a:gd name="connsiteY19" fmla="*/ 603249 h 1120774"/>
                        <a:gd name="connsiteX20" fmla="*/ 225425 w 1927225"/>
                        <a:gd name="connsiteY20" fmla="*/ 542924 h 1120774"/>
                        <a:gd name="connsiteX21" fmla="*/ 184150 w 1927225"/>
                        <a:gd name="connsiteY21" fmla="*/ 593724 h 1120774"/>
                        <a:gd name="connsiteX22" fmla="*/ 314325 w 1927225"/>
                        <a:gd name="connsiteY22" fmla="*/ 704849 h 1120774"/>
                        <a:gd name="connsiteX23" fmla="*/ 352425 w 1927225"/>
                        <a:gd name="connsiteY23" fmla="*/ 676274 h 1120774"/>
                        <a:gd name="connsiteX24" fmla="*/ 403225 w 1927225"/>
                        <a:gd name="connsiteY24" fmla="*/ 666749 h 1120774"/>
                        <a:gd name="connsiteX25" fmla="*/ 469900 w 1927225"/>
                        <a:gd name="connsiteY25" fmla="*/ 676274 h 1120774"/>
                        <a:gd name="connsiteX26" fmla="*/ 615950 w 1927225"/>
                        <a:gd name="connsiteY26" fmla="*/ 625474 h 1120774"/>
                        <a:gd name="connsiteX27" fmla="*/ 803275 w 1927225"/>
                        <a:gd name="connsiteY27" fmla="*/ 558799 h 1120774"/>
                        <a:gd name="connsiteX28" fmla="*/ 911225 w 1927225"/>
                        <a:gd name="connsiteY28" fmla="*/ 615949 h 1120774"/>
                        <a:gd name="connsiteX29" fmla="*/ 1016000 w 1927225"/>
                        <a:gd name="connsiteY29" fmla="*/ 698499 h 1120774"/>
                        <a:gd name="connsiteX30" fmla="*/ 1092200 w 1927225"/>
                        <a:gd name="connsiteY30" fmla="*/ 647699 h 1120774"/>
                        <a:gd name="connsiteX31" fmla="*/ 1171575 w 1927225"/>
                        <a:gd name="connsiteY31" fmla="*/ 682624 h 1120774"/>
                        <a:gd name="connsiteX32" fmla="*/ 1200150 w 1927225"/>
                        <a:gd name="connsiteY32" fmla="*/ 688974 h 1120774"/>
                        <a:gd name="connsiteX33" fmla="*/ 1203325 w 1927225"/>
                        <a:gd name="connsiteY33" fmla="*/ 774699 h 1120774"/>
                        <a:gd name="connsiteX34" fmla="*/ 1219200 w 1927225"/>
                        <a:gd name="connsiteY34" fmla="*/ 809624 h 1120774"/>
                        <a:gd name="connsiteX35" fmla="*/ 1238250 w 1927225"/>
                        <a:gd name="connsiteY35" fmla="*/ 835024 h 1120774"/>
                        <a:gd name="connsiteX36" fmla="*/ 1231900 w 1927225"/>
                        <a:gd name="connsiteY36" fmla="*/ 914399 h 1120774"/>
                        <a:gd name="connsiteX37" fmla="*/ 1212850 w 1927225"/>
                        <a:gd name="connsiteY37" fmla="*/ 958849 h 1120774"/>
                        <a:gd name="connsiteX38" fmla="*/ 1209675 w 1927225"/>
                        <a:gd name="connsiteY38" fmla="*/ 987424 h 1120774"/>
                        <a:gd name="connsiteX39" fmla="*/ 1282700 w 1927225"/>
                        <a:gd name="connsiteY39" fmla="*/ 993774 h 1120774"/>
                        <a:gd name="connsiteX40" fmla="*/ 1311275 w 1927225"/>
                        <a:gd name="connsiteY40" fmla="*/ 981074 h 1120774"/>
                        <a:gd name="connsiteX41" fmla="*/ 1352550 w 1927225"/>
                        <a:gd name="connsiteY41" fmla="*/ 962024 h 1120774"/>
                        <a:gd name="connsiteX42" fmla="*/ 1425575 w 1927225"/>
                        <a:gd name="connsiteY42" fmla="*/ 996949 h 1120774"/>
                        <a:gd name="connsiteX43" fmla="*/ 1457325 w 1927225"/>
                        <a:gd name="connsiteY43" fmla="*/ 952499 h 1120774"/>
                        <a:gd name="connsiteX44" fmla="*/ 1555750 w 1927225"/>
                        <a:gd name="connsiteY44" fmla="*/ 949324 h 1120774"/>
                        <a:gd name="connsiteX45" fmla="*/ 1616075 w 1927225"/>
                        <a:gd name="connsiteY45" fmla="*/ 1003299 h 1120774"/>
                        <a:gd name="connsiteX46" fmla="*/ 1676400 w 1927225"/>
                        <a:gd name="connsiteY46" fmla="*/ 933449 h 1120774"/>
                        <a:gd name="connsiteX47" fmla="*/ 1895475 w 1927225"/>
                        <a:gd name="connsiteY47" fmla="*/ 1120774 h 1120774"/>
                        <a:gd name="connsiteX48" fmla="*/ 1895475 w 1927225"/>
                        <a:gd name="connsiteY48" fmla="*/ 1120774 h 1120774"/>
                        <a:gd name="connsiteX49" fmla="*/ 1927225 w 1927225"/>
                        <a:gd name="connsiteY49" fmla="*/ 1098549 h 1120774"/>
                        <a:gd name="connsiteX50" fmla="*/ 1895475 w 1927225"/>
                        <a:gd name="connsiteY50" fmla="*/ 939799 h 1120774"/>
                        <a:gd name="connsiteX51" fmla="*/ 1778000 w 1927225"/>
                        <a:gd name="connsiteY51" fmla="*/ 885824 h 1120774"/>
                        <a:gd name="connsiteX52" fmla="*/ 1698625 w 1927225"/>
                        <a:gd name="connsiteY52" fmla="*/ 809624 h 1120774"/>
                        <a:gd name="connsiteX53" fmla="*/ 1679575 w 1927225"/>
                        <a:gd name="connsiteY53" fmla="*/ 692149 h 1120774"/>
                        <a:gd name="connsiteX54" fmla="*/ 1673225 w 1927225"/>
                        <a:gd name="connsiteY54" fmla="*/ 652462 h 1120774"/>
                        <a:gd name="connsiteX55" fmla="*/ 1694656 w 1927225"/>
                        <a:gd name="connsiteY55" fmla="*/ 604837 h 1120774"/>
                        <a:gd name="connsiteX56" fmla="*/ 1720850 w 1927225"/>
                        <a:gd name="connsiteY56" fmla="*/ 531018 h 1120774"/>
                        <a:gd name="connsiteX57" fmla="*/ 1747043 w 1927225"/>
                        <a:gd name="connsiteY57" fmla="*/ 488155 h 1120774"/>
                        <a:gd name="connsiteX58" fmla="*/ 1725613 w 1927225"/>
                        <a:gd name="connsiteY58" fmla="*/ 442912 h 1120774"/>
                        <a:gd name="connsiteX59" fmla="*/ 1716088 w 1927225"/>
                        <a:gd name="connsiteY59" fmla="*/ 390524 h 1120774"/>
                        <a:gd name="connsiteX60" fmla="*/ 1713706 w 1927225"/>
                        <a:gd name="connsiteY60" fmla="*/ 309562 h 1120774"/>
                        <a:gd name="connsiteX61" fmla="*/ 1713706 w 1927225"/>
                        <a:gd name="connsiteY61" fmla="*/ 269080 h 1120774"/>
                        <a:gd name="connsiteX62" fmla="*/ 1739900 w 1927225"/>
                        <a:gd name="connsiteY62" fmla="*/ 219074 h 1120774"/>
                        <a:gd name="connsiteX63" fmla="*/ 1680369 w 1927225"/>
                        <a:gd name="connsiteY63" fmla="*/ 176212 h 1120774"/>
                        <a:gd name="connsiteX64" fmla="*/ 1639888 w 1927225"/>
                        <a:gd name="connsiteY64" fmla="*/ 197643 h 1120774"/>
                        <a:gd name="connsiteX65" fmla="*/ 1558925 w 1927225"/>
                        <a:gd name="connsiteY65" fmla="*/ 154780 h 1120774"/>
                        <a:gd name="connsiteX66" fmla="*/ 1556544 w 1927225"/>
                        <a:gd name="connsiteY66" fmla="*/ 104774 h 1120774"/>
                        <a:gd name="connsiteX67" fmla="*/ 1563688 w 1927225"/>
                        <a:gd name="connsiteY67" fmla="*/ 54768 h 1120774"/>
                        <a:gd name="connsiteX68" fmla="*/ 1592263 w 1927225"/>
                        <a:gd name="connsiteY68" fmla="*/ 35717 h 1120774"/>
                        <a:gd name="connsiteX69" fmla="*/ 1537494 w 1927225"/>
                        <a:gd name="connsiteY69" fmla="*/ 0 h 1120774"/>
                        <a:gd name="connsiteX70" fmla="*/ 1508919 w 1927225"/>
                        <a:gd name="connsiteY70" fmla="*/ 2381 h 1120774"/>
                        <a:gd name="connsiteX71" fmla="*/ 34925 w 1927225"/>
                        <a:gd name="connsiteY71" fmla="*/ 47624 h 1120774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34925 w 1927225"/>
                        <a:gd name="connsiteY71" fmla="*/ 85725 h 1158875"/>
                        <a:gd name="connsiteX0" fmla="*/ 34925 w 1927225"/>
                        <a:gd name="connsiteY0" fmla="*/ 88104 h 1161254"/>
                        <a:gd name="connsiteX1" fmla="*/ 15875 w 1927225"/>
                        <a:gd name="connsiteY1" fmla="*/ 103979 h 1161254"/>
                        <a:gd name="connsiteX2" fmla="*/ 3175 w 1927225"/>
                        <a:gd name="connsiteY2" fmla="*/ 135729 h 1161254"/>
                        <a:gd name="connsiteX3" fmla="*/ 0 w 1927225"/>
                        <a:gd name="connsiteY3" fmla="*/ 167479 h 1161254"/>
                        <a:gd name="connsiteX4" fmla="*/ 3175 w 1927225"/>
                        <a:gd name="connsiteY4" fmla="*/ 199229 h 1161254"/>
                        <a:gd name="connsiteX5" fmla="*/ 38100 w 1927225"/>
                        <a:gd name="connsiteY5" fmla="*/ 234154 h 1161254"/>
                        <a:gd name="connsiteX6" fmla="*/ 82550 w 1927225"/>
                        <a:gd name="connsiteY6" fmla="*/ 189704 h 1161254"/>
                        <a:gd name="connsiteX7" fmla="*/ 120650 w 1927225"/>
                        <a:gd name="connsiteY7" fmla="*/ 234154 h 1161254"/>
                        <a:gd name="connsiteX8" fmla="*/ 177800 w 1927225"/>
                        <a:gd name="connsiteY8" fmla="*/ 237329 h 1161254"/>
                        <a:gd name="connsiteX9" fmla="*/ 222250 w 1927225"/>
                        <a:gd name="connsiteY9" fmla="*/ 262729 h 1161254"/>
                        <a:gd name="connsiteX10" fmla="*/ 228600 w 1927225"/>
                        <a:gd name="connsiteY10" fmla="*/ 291304 h 1161254"/>
                        <a:gd name="connsiteX11" fmla="*/ 231775 w 1927225"/>
                        <a:gd name="connsiteY11" fmla="*/ 310354 h 1161254"/>
                        <a:gd name="connsiteX12" fmla="*/ 228600 w 1927225"/>
                        <a:gd name="connsiteY12" fmla="*/ 342104 h 1161254"/>
                        <a:gd name="connsiteX13" fmla="*/ 257175 w 1927225"/>
                        <a:gd name="connsiteY13" fmla="*/ 370679 h 1161254"/>
                        <a:gd name="connsiteX14" fmla="*/ 279400 w 1927225"/>
                        <a:gd name="connsiteY14" fmla="*/ 418304 h 1161254"/>
                        <a:gd name="connsiteX15" fmla="*/ 279400 w 1927225"/>
                        <a:gd name="connsiteY15" fmla="*/ 459579 h 1161254"/>
                        <a:gd name="connsiteX16" fmla="*/ 279400 w 1927225"/>
                        <a:gd name="connsiteY16" fmla="*/ 491329 h 1161254"/>
                        <a:gd name="connsiteX17" fmla="*/ 333375 w 1927225"/>
                        <a:gd name="connsiteY17" fmla="*/ 602454 h 1161254"/>
                        <a:gd name="connsiteX18" fmla="*/ 346075 w 1927225"/>
                        <a:gd name="connsiteY18" fmla="*/ 624679 h 1161254"/>
                        <a:gd name="connsiteX19" fmla="*/ 285750 w 1927225"/>
                        <a:gd name="connsiteY19" fmla="*/ 643729 h 1161254"/>
                        <a:gd name="connsiteX20" fmla="*/ 225425 w 1927225"/>
                        <a:gd name="connsiteY20" fmla="*/ 583404 h 1161254"/>
                        <a:gd name="connsiteX21" fmla="*/ 184150 w 1927225"/>
                        <a:gd name="connsiteY21" fmla="*/ 634204 h 1161254"/>
                        <a:gd name="connsiteX22" fmla="*/ 314325 w 1927225"/>
                        <a:gd name="connsiteY22" fmla="*/ 745329 h 1161254"/>
                        <a:gd name="connsiteX23" fmla="*/ 352425 w 1927225"/>
                        <a:gd name="connsiteY23" fmla="*/ 716754 h 1161254"/>
                        <a:gd name="connsiteX24" fmla="*/ 403225 w 1927225"/>
                        <a:gd name="connsiteY24" fmla="*/ 707229 h 1161254"/>
                        <a:gd name="connsiteX25" fmla="*/ 469900 w 1927225"/>
                        <a:gd name="connsiteY25" fmla="*/ 716754 h 1161254"/>
                        <a:gd name="connsiteX26" fmla="*/ 615950 w 1927225"/>
                        <a:gd name="connsiteY26" fmla="*/ 665954 h 1161254"/>
                        <a:gd name="connsiteX27" fmla="*/ 803275 w 1927225"/>
                        <a:gd name="connsiteY27" fmla="*/ 599279 h 1161254"/>
                        <a:gd name="connsiteX28" fmla="*/ 911225 w 1927225"/>
                        <a:gd name="connsiteY28" fmla="*/ 656429 h 1161254"/>
                        <a:gd name="connsiteX29" fmla="*/ 1016000 w 1927225"/>
                        <a:gd name="connsiteY29" fmla="*/ 738979 h 1161254"/>
                        <a:gd name="connsiteX30" fmla="*/ 1092200 w 1927225"/>
                        <a:gd name="connsiteY30" fmla="*/ 688179 h 1161254"/>
                        <a:gd name="connsiteX31" fmla="*/ 1171575 w 1927225"/>
                        <a:gd name="connsiteY31" fmla="*/ 723104 h 1161254"/>
                        <a:gd name="connsiteX32" fmla="*/ 1200150 w 1927225"/>
                        <a:gd name="connsiteY32" fmla="*/ 729454 h 1161254"/>
                        <a:gd name="connsiteX33" fmla="*/ 1203325 w 1927225"/>
                        <a:gd name="connsiteY33" fmla="*/ 815179 h 1161254"/>
                        <a:gd name="connsiteX34" fmla="*/ 1219200 w 1927225"/>
                        <a:gd name="connsiteY34" fmla="*/ 850104 h 1161254"/>
                        <a:gd name="connsiteX35" fmla="*/ 1238250 w 1927225"/>
                        <a:gd name="connsiteY35" fmla="*/ 875504 h 1161254"/>
                        <a:gd name="connsiteX36" fmla="*/ 1231900 w 1927225"/>
                        <a:gd name="connsiteY36" fmla="*/ 954879 h 1161254"/>
                        <a:gd name="connsiteX37" fmla="*/ 1212850 w 1927225"/>
                        <a:gd name="connsiteY37" fmla="*/ 999329 h 1161254"/>
                        <a:gd name="connsiteX38" fmla="*/ 1209675 w 1927225"/>
                        <a:gd name="connsiteY38" fmla="*/ 1027904 h 1161254"/>
                        <a:gd name="connsiteX39" fmla="*/ 1282700 w 1927225"/>
                        <a:gd name="connsiteY39" fmla="*/ 1034254 h 1161254"/>
                        <a:gd name="connsiteX40" fmla="*/ 1311275 w 1927225"/>
                        <a:gd name="connsiteY40" fmla="*/ 1021554 h 1161254"/>
                        <a:gd name="connsiteX41" fmla="*/ 1352550 w 1927225"/>
                        <a:gd name="connsiteY41" fmla="*/ 1002504 h 1161254"/>
                        <a:gd name="connsiteX42" fmla="*/ 1425575 w 1927225"/>
                        <a:gd name="connsiteY42" fmla="*/ 1037429 h 1161254"/>
                        <a:gd name="connsiteX43" fmla="*/ 1457325 w 1927225"/>
                        <a:gd name="connsiteY43" fmla="*/ 992979 h 1161254"/>
                        <a:gd name="connsiteX44" fmla="*/ 1555750 w 1927225"/>
                        <a:gd name="connsiteY44" fmla="*/ 989804 h 1161254"/>
                        <a:gd name="connsiteX45" fmla="*/ 1616075 w 1927225"/>
                        <a:gd name="connsiteY45" fmla="*/ 1043779 h 1161254"/>
                        <a:gd name="connsiteX46" fmla="*/ 1676400 w 1927225"/>
                        <a:gd name="connsiteY46" fmla="*/ 973929 h 1161254"/>
                        <a:gd name="connsiteX47" fmla="*/ 1895475 w 1927225"/>
                        <a:gd name="connsiteY47" fmla="*/ 1161254 h 1161254"/>
                        <a:gd name="connsiteX48" fmla="*/ 1895475 w 1927225"/>
                        <a:gd name="connsiteY48" fmla="*/ 1161254 h 1161254"/>
                        <a:gd name="connsiteX49" fmla="*/ 1927225 w 1927225"/>
                        <a:gd name="connsiteY49" fmla="*/ 1139029 h 1161254"/>
                        <a:gd name="connsiteX50" fmla="*/ 1895475 w 1927225"/>
                        <a:gd name="connsiteY50" fmla="*/ 980279 h 1161254"/>
                        <a:gd name="connsiteX51" fmla="*/ 1778000 w 1927225"/>
                        <a:gd name="connsiteY51" fmla="*/ 926304 h 1161254"/>
                        <a:gd name="connsiteX52" fmla="*/ 1698625 w 1927225"/>
                        <a:gd name="connsiteY52" fmla="*/ 850104 h 1161254"/>
                        <a:gd name="connsiteX53" fmla="*/ 1679575 w 1927225"/>
                        <a:gd name="connsiteY53" fmla="*/ 732629 h 1161254"/>
                        <a:gd name="connsiteX54" fmla="*/ 1673225 w 1927225"/>
                        <a:gd name="connsiteY54" fmla="*/ 692942 h 1161254"/>
                        <a:gd name="connsiteX55" fmla="*/ 1694656 w 1927225"/>
                        <a:gd name="connsiteY55" fmla="*/ 645317 h 1161254"/>
                        <a:gd name="connsiteX56" fmla="*/ 1720850 w 1927225"/>
                        <a:gd name="connsiteY56" fmla="*/ 571498 h 1161254"/>
                        <a:gd name="connsiteX57" fmla="*/ 1747043 w 1927225"/>
                        <a:gd name="connsiteY57" fmla="*/ 528635 h 1161254"/>
                        <a:gd name="connsiteX58" fmla="*/ 1725613 w 1927225"/>
                        <a:gd name="connsiteY58" fmla="*/ 483392 h 1161254"/>
                        <a:gd name="connsiteX59" fmla="*/ 1716088 w 1927225"/>
                        <a:gd name="connsiteY59" fmla="*/ 431004 h 1161254"/>
                        <a:gd name="connsiteX60" fmla="*/ 1713706 w 1927225"/>
                        <a:gd name="connsiteY60" fmla="*/ 350042 h 1161254"/>
                        <a:gd name="connsiteX61" fmla="*/ 1713706 w 1927225"/>
                        <a:gd name="connsiteY61" fmla="*/ 309560 h 1161254"/>
                        <a:gd name="connsiteX62" fmla="*/ 1739900 w 1927225"/>
                        <a:gd name="connsiteY62" fmla="*/ 259554 h 1161254"/>
                        <a:gd name="connsiteX63" fmla="*/ 1680369 w 1927225"/>
                        <a:gd name="connsiteY63" fmla="*/ 216692 h 1161254"/>
                        <a:gd name="connsiteX64" fmla="*/ 1639888 w 1927225"/>
                        <a:gd name="connsiteY64" fmla="*/ 238123 h 1161254"/>
                        <a:gd name="connsiteX65" fmla="*/ 1558925 w 1927225"/>
                        <a:gd name="connsiteY65" fmla="*/ 195260 h 1161254"/>
                        <a:gd name="connsiteX66" fmla="*/ 1556544 w 1927225"/>
                        <a:gd name="connsiteY66" fmla="*/ 145254 h 1161254"/>
                        <a:gd name="connsiteX67" fmla="*/ 1563688 w 1927225"/>
                        <a:gd name="connsiteY67" fmla="*/ 95248 h 1161254"/>
                        <a:gd name="connsiteX68" fmla="*/ 1592263 w 1927225"/>
                        <a:gd name="connsiteY68" fmla="*/ 76197 h 1161254"/>
                        <a:gd name="connsiteX69" fmla="*/ 1537494 w 1927225"/>
                        <a:gd name="connsiteY69" fmla="*/ 40480 h 1161254"/>
                        <a:gd name="connsiteX70" fmla="*/ 1497013 w 1927225"/>
                        <a:gd name="connsiteY70" fmla="*/ 2379 h 1161254"/>
                        <a:gd name="connsiteX71" fmla="*/ 1427956 w 1927225"/>
                        <a:gd name="connsiteY71" fmla="*/ 0 h 1161254"/>
                        <a:gd name="connsiteX72" fmla="*/ 34925 w 1927225"/>
                        <a:gd name="connsiteY72" fmla="*/ 88104 h 1161254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34925 w 1927225"/>
                        <a:gd name="connsiteY72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6050 w 1927225"/>
                        <a:gd name="connsiteY72" fmla="*/ 40483 h 1158875"/>
                        <a:gd name="connsiteX73" fmla="*/ 34925 w 1927225"/>
                        <a:gd name="connsiteY73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34925 w 1927225"/>
                        <a:gd name="connsiteY73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77950 w 1927225"/>
                        <a:gd name="connsiteY73" fmla="*/ 47627 h 1158875"/>
                        <a:gd name="connsiteX74" fmla="*/ 34925 w 1927225"/>
                        <a:gd name="connsiteY74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34925 w 1927225"/>
                        <a:gd name="connsiteY74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56519 w 1927225"/>
                        <a:gd name="connsiteY74" fmla="*/ 66677 h 1158875"/>
                        <a:gd name="connsiteX75" fmla="*/ 34925 w 1927225"/>
                        <a:gd name="connsiteY75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34925 w 1927225"/>
                        <a:gd name="connsiteY75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89844 w 1927225"/>
                        <a:gd name="connsiteY75" fmla="*/ 23815 h 1158875"/>
                        <a:gd name="connsiteX76" fmla="*/ 34925 w 1927225"/>
                        <a:gd name="connsiteY76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34925 w 1927225"/>
                        <a:gd name="connsiteY76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185069 w 1927225"/>
                        <a:gd name="connsiteY76" fmla="*/ 138115 h 1158875"/>
                        <a:gd name="connsiteX77" fmla="*/ 34925 w 1927225"/>
                        <a:gd name="connsiteY77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34925 w 1927225"/>
                        <a:gd name="connsiteY77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4106 w 1927225"/>
                        <a:gd name="connsiteY77" fmla="*/ 200027 h 1158875"/>
                        <a:gd name="connsiteX78" fmla="*/ 34925 w 1927225"/>
                        <a:gd name="connsiteY78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34925 w 1927225"/>
                        <a:gd name="connsiteY78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1244 w 1927225"/>
                        <a:gd name="connsiteY78" fmla="*/ 119065 h 1158875"/>
                        <a:gd name="connsiteX79" fmla="*/ 34925 w 1927225"/>
                        <a:gd name="connsiteY79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34925 w 1927225"/>
                        <a:gd name="connsiteY79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27906 w 1927225"/>
                        <a:gd name="connsiteY79" fmla="*/ 57152 h 1158875"/>
                        <a:gd name="connsiteX80" fmla="*/ 34925 w 1927225"/>
                        <a:gd name="connsiteY80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34925 w 1927225"/>
                        <a:gd name="connsiteY80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73138 w 1927225"/>
                        <a:gd name="connsiteY80" fmla="*/ 80965 h 1158875"/>
                        <a:gd name="connsiteX81" fmla="*/ 34925 w 1927225"/>
                        <a:gd name="connsiteY81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34925 w 1927225"/>
                        <a:gd name="connsiteY81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87413 w 1927225"/>
                        <a:gd name="connsiteY81" fmla="*/ 50008 h 1158875"/>
                        <a:gd name="connsiteX82" fmla="*/ 34925 w 1927225"/>
                        <a:gd name="connsiteY82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34925 w 1927225"/>
                        <a:gd name="connsiteY82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08819 w 1927225"/>
                        <a:gd name="connsiteY82" fmla="*/ 119065 h 1158875"/>
                        <a:gd name="connsiteX83" fmla="*/ 34925 w 1927225"/>
                        <a:gd name="connsiteY83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34925 w 1927225"/>
                        <a:gd name="connsiteY83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54050 w 1927225"/>
                        <a:gd name="connsiteY83" fmla="*/ 121446 h 1158875"/>
                        <a:gd name="connsiteX84" fmla="*/ 34925 w 1927225"/>
                        <a:gd name="connsiteY84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34925 w 1927225"/>
                        <a:gd name="connsiteY84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44513 w 1927225"/>
                        <a:gd name="connsiteY84" fmla="*/ 176215 h 1158875"/>
                        <a:gd name="connsiteX85" fmla="*/ 34925 w 1927225"/>
                        <a:gd name="connsiteY85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34925 w 1927225"/>
                        <a:gd name="connsiteY85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520700 w 1927225"/>
                        <a:gd name="connsiteY85" fmla="*/ 176215 h 1158875"/>
                        <a:gd name="connsiteX86" fmla="*/ 34925 w 1927225"/>
                        <a:gd name="connsiteY86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523081 w 1927225"/>
                        <a:gd name="connsiteY85" fmla="*/ 211933 h 1158875"/>
                        <a:gd name="connsiteX86" fmla="*/ 34925 w 1927225"/>
                        <a:gd name="connsiteY86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523081 w 1927225"/>
                        <a:gd name="connsiteY85" fmla="*/ 211933 h 1158875"/>
                        <a:gd name="connsiteX86" fmla="*/ 415925 w 1927225"/>
                        <a:gd name="connsiteY86" fmla="*/ 185740 h 1158875"/>
                        <a:gd name="connsiteX87" fmla="*/ 34925 w 1927225"/>
                        <a:gd name="connsiteY87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523081 w 1927225"/>
                        <a:gd name="connsiteY85" fmla="*/ 211933 h 1158875"/>
                        <a:gd name="connsiteX86" fmla="*/ 311150 w 1927225"/>
                        <a:gd name="connsiteY86" fmla="*/ 92871 h 1158875"/>
                        <a:gd name="connsiteX87" fmla="*/ 34925 w 1927225"/>
                        <a:gd name="connsiteY87" fmla="*/ 85725 h 1158875"/>
                        <a:gd name="connsiteX0" fmla="*/ 34925 w 1927225"/>
                        <a:gd name="connsiteY0" fmla="*/ 90487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523081 w 1927225"/>
                        <a:gd name="connsiteY85" fmla="*/ 211933 h 1158875"/>
                        <a:gd name="connsiteX86" fmla="*/ 311150 w 1927225"/>
                        <a:gd name="connsiteY86" fmla="*/ 92871 h 1158875"/>
                        <a:gd name="connsiteX87" fmla="*/ 34925 w 1927225"/>
                        <a:gd name="connsiteY87" fmla="*/ 90487 h 1158875"/>
                        <a:gd name="connsiteX0" fmla="*/ 34925 w 1927225"/>
                        <a:gd name="connsiteY0" fmla="*/ 90487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797050 w 1927225"/>
                        <a:gd name="connsiteY47" fmla="*/ 1073946 h 1158875"/>
                        <a:gd name="connsiteX48" fmla="*/ 1895475 w 1927225"/>
                        <a:gd name="connsiteY48" fmla="*/ 1158875 h 1158875"/>
                        <a:gd name="connsiteX49" fmla="*/ 1895475 w 1927225"/>
                        <a:gd name="connsiteY49" fmla="*/ 1158875 h 1158875"/>
                        <a:gd name="connsiteX50" fmla="*/ 1927225 w 1927225"/>
                        <a:gd name="connsiteY50" fmla="*/ 1136650 h 1158875"/>
                        <a:gd name="connsiteX51" fmla="*/ 1895475 w 1927225"/>
                        <a:gd name="connsiteY51" fmla="*/ 977900 h 1158875"/>
                        <a:gd name="connsiteX52" fmla="*/ 1778000 w 1927225"/>
                        <a:gd name="connsiteY52" fmla="*/ 923925 h 1158875"/>
                        <a:gd name="connsiteX53" fmla="*/ 1698625 w 1927225"/>
                        <a:gd name="connsiteY53" fmla="*/ 847725 h 1158875"/>
                        <a:gd name="connsiteX54" fmla="*/ 1679575 w 1927225"/>
                        <a:gd name="connsiteY54" fmla="*/ 730250 h 1158875"/>
                        <a:gd name="connsiteX55" fmla="*/ 1673225 w 1927225"/>
                        <a:gd name="connsiteY55" fmla="*/ 690563 h 1158875"/>
                        <a:gd name="connsiteX56" fmla="*/ 1694656 w 1927225"/>
                        <a:gd name="connsiteY56" fmla="*/ 642938 h 1158875"/>
                        <a:gd name="connsiteX57" fmla="*/ 1720850 w 1927225"/>
                        <a:gd name="connsiteY57" fmla="*/ 569119 h 1158875"/>
                        <a:gd name="connsiteX58" fmla="*/ 1747043 w 1927225"/>
                        <a:gd name="connsiteY58" fmla="*/ 526256 h 1158875"/>
                        <a:gd name="connsiteX59" fmla="*/ 1725613 w 1927225"/>
                        <a:gd name="connsiteY59" fmla="*/ 481013 h 1158875"/>
                        <a:gd name="connsiteX60" fmla="*/ 1716088 w 1927225"/>
                        <a:gd name="connsiteY60" fmla="*/ 428625 h 1158875"/>
                        <a:gd name="connsiteX61" fmla="*/ 1713706 w 1927225"/>
                        <a:gd name="connsiteY61" fmla="*/ 347663 h 1158875"/>
                        <a:gd name="connsiteX62" fmla="*/ 1713706 w 1927225"/>
                        <a:gd name="connsiteY62" fmla="*/ 307181 h 1158875"/>
                        <a:gd name="connsiteX63" fmla="*/ 1739900 w 1927225"/>
                        <a:gd name="connsiteY63" fmla="*/ 257175 h 1158875"/>
                        <a:gd name="connsiteX64" fmla="*/ 1680369 w 1927225"/>
                        <a:gd name="connsiteY64" fmla="*/ 214313 h 1158875"/>
                        <a:gd name="connsiteX65" fmla="*/ 1639888 w 1927225"/>
                        <a:gd name="connsiteY65" fmla="*/ 235744 h 1158875"/>
                        <a:gd name="connsiteX66" fmla="*/ 1558925 w 1927225"/>
                        <a:gd name="connsiteY66" fmla="*/ 192881 h 1158875"/>
                        <a:gd name="connsiteX67" fmla="*/ 1556544 w 1927225"/>
                        <a:gd name="connsiteY67" fmla="*/ 142875 h 1158875"/>
                        <a:gd name="connsiteX68" fmla="*/ 1563688 w 1927225"/>
                        <a:gd name="connsiteY68" fmla="*/ 92869 h 1158875"/>
                        <a:gd name="connsiteX69" fmla="*/ 1592263 w 1927225"/>
                        <a:gd name="connsiteY69" fmla="*/ 73818 h 1158875"/>
                        <a:gd name="connsiteX70" fmla="*/ 1537494 w 1927225"/>
                        <a:gd name="connsiteY70" fmla="*/ 38101 h 1158875"/>
                        <a:gd name="connsiteX71" fmla="*/ 1497013 w 1927225"/>
                        <a:gd name="connsiteY71" fmla="*/ 0 h 1158875"/>
                        <a:gd name="connsiteX72" fmla="*/ 1470819 w 1927225"/>
                        <a:gd name="connsiteY72" fmla="*/ 40483 h 1158875"/>
                        <a:gd name="connsiteX73" fmla="*/ 1411288 w 1927225"/>
                        <a:gd name="connsiteY73" fmla="*/ 45245 h 1158875"/>
                        <a:gd name="connsiteX74" fmla="*/ 1394619 w 1927225"/>
                        <a:gd name="connsiteY74" fmla="*/ 61915 h 1158875"/>
                        <a:gd name="connsiteX75" fmla="*/ 1349375 w 1927225"/>
                        <a:gd name="connsiteY75" fmla="*/ 23814 h 1158875"/>
                        <a:gd name="connsiteX76" fmla="*/ 1261269 w 1927225"/>
                        <a:gd name="connsiteY76" fmla="*/ 145258 h 1158875"/>
                        <a:gd name="connsiteX77" fmla="*/ 1208881 w 1927225"/>
                        <a:gd name="connsiteY77" fmla="*/ 207171 h 1158875"/>
                        <a:gd name="connsiteX78" fmla="*/ 1106488 w 1927225"/>
                        <a:gd name="connsiteY78" fmla="*/ 123827 h 1158875"/>
                        <a:gd name="connsiteX79" fmla="*/ 1068387 w 1927225"/>
                        <a:gd name="connsiteY79" fmla="*/ 54771 h 1158875"/>
                        <a:gd name="connsiteX80" fmla="*/ 1030288 w 1927225"/>
                        <a:gd name="connsiteY80" fmla="*/ 83346 h 1158875"/>
                        <a:gd name="connsiteX81" fmla="*/ 961231 w 1927225"/>
                        <a:gd name="connsiteY81" fmla="*/ 47627 h 1158875"/>
                        <a:gd name="connsiteX82" fmla="*/ 863600 w 1927225"/>
                        <a:gd name="connsiteY82" fmla="*/ 128590 h 1158875"/>
                        <a:gd name="connsiteX83" fmla="*/ 737394 w 1927225"/>
                        <a:gd name="connsiteY83" fmla="*/ 126208 h 1158875"/>
                        <a:gd name="connsiteX84" fmla="*/ 625475 w 1927225"/>
                        <a:gd name="connsiteY84" fmla="*/ 195265 h 1158875"/>
                        <a:gd name="connsiteX85" fmla="*/ 575469 w 1927225"/>
                        <a:gd name="connsiteY85" fmla="*/ 188121 h 1158875"/>
                        <a:gd name="connsiteX86" fmla="*/ 523081 w 1927225"/>
                        <a:gd name="connsiteY86" fmla="*/ 211933 h 1158875"/>
                        <a:gd name="connsiteX87" fmla="*/ 311150 w 1927225"/>
                        <a:gd name="connsiteY87" fmla="*/ 92871 h 1158875"/>
                        <a:gd name="connsiteX88" fmla="*/ 34925 w 1927225"/>
                        <a:gd name="connsiteY88" fmla="*/ 90487 h 1158875"/>
                        <a:gd name="connsiteX0" fmla="*/ 34925 w 1927225"/>
                        <a:gd name="connsiteY0" fmla="*/ 90487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763712 w 1927225"/>
                        <a:gd name="connsiteY47" fmla="*/ 1085852 h 1158875"/>
                        <a:gd name="connsiteX48" fmla="*/ 1895475 w 1927225"/>
                        <a:gd name="connsiteY48" fmla="*/ 1158875 h 1158875"/>
                        <a:gd name="connsiteX49" fmla="*/ 1895475 w 1927225"/>
                        <a:gd name="connsiteY49" fmla="*/ 1158875 h 1158875"/>
                        <a:gd name="connsiteX50" fmla="*/ 1927225 w 1927225"/>
                        <a:gd name="connsiteY50" fmla="*/ 1136650 h 1158875"/>
                        <a:gd name="connsiteX51" fmla="*/ 1895475 w 1927225"/>
                        <a:gd name="connsiteY51" fmla="*/ 977900 h 1158875"/>
                        <a:gd name="connsiteX52" fmla="*/ 1778000 w 1927225"/>
                        <a:gd name="connsiteY52" fmla="*/ 923925 h 1158875"/>
                        <a:gd name="connsiteX53" fmla="*/ 1698625 w 1927225"/>
                        <a:gd name="connsiteY53" fmla="*/ 847725 h 1158875"/>
                        <a:gd name="connsiteX54" fmla="*/ 1679575 w 1927225"/>
                        <a:gd name="connsiteY54" fmla="*/ 730250 h 1158875"/>
                        <a:gd name="connsiteX55" fmla="*/ 1673225 w 1927225"/>
                        <a:gd name="connsiteY55" fmla="*/ 690563 h 1158875"/>
                        <a:gd name="connsiteX56" fmla="*/ 1694656 w 1927225"/>
                        <a:gd name="connsiteY56" fmla="*/ 642938 h 1158875"/>
                        <a:gd name="connsiteX57" fmla="*/ 1720850 w 1927225"/>
                        <a:gd name="connsiteY57" fmla="*/ 569119 h 1158875"/>
                        <a:gd name="connsiteX58" fmla="*/ 1747043 w 1927225"/>
                        <a:gd name="connsiteY58" fmla="*/ 526256 h 1158875"/>
                        <a:gd name="connsiteX59" fmla="*/ 1725613 w 1927225"/>
                        <a:gd name="connsiteY59" fmla="*/ 481013 h 1158875"/>
                        <a:gd name="connsiteX60" fmla="*/ 1716088 w 1927225"/>
                        <a:gd name="connsiteY60" fmla="*/ 428625 h 1158875"/>
                        <a:gd name="connsiteX61" fmla="*/ 1713706 w 1927225"/>
                        <a:gd name="connsiteY61" fmla="*/ 347663 h 1158875"/>
                        <a:gd name="connsiteX62" fmla="*/ 1713706 w 1927225"/>
                        <a:gd name="connsiteY62" fmla="*/ 307181 h 1158875"/>
                        <a:gd name="connsiteX63" fmla="*/ 1739900 w 1927225"/>
                        <a:gd name="connsiteY63" fmla="*/ 257175 h 1158875"/>
                        <a:gd name="connsiteX64" fmla="*/ 1680369 w 1927225"/>
                        <a:gd name="connsiteY64" fmla="*/ 214313 h 1158875"/>
                        <a:gd name="connsiteX65" fmla="*/ 1639888 w 1927225"/>
                        <a:gd name="connsiteY65" fmla="*/ 235744 h 1158875"/>
                        <a:gd name="connsiteX66" fmla="*/ 1558925 w 1927225"/>
                        <a:gd name="connsiteY66" fmla="*/ 192881 h 1158875"/>
                        <a:gd name="connsiteX67" fmla="*/ 1556544 w 1927225"/>
                        <a:gd name="connsiteY67" fmla="*/ 142875 h 1158875"/>
                        <a:gd name="connsiteX68" fmla="*/ 1563688 w 1927225"/>
                        <a:gd name="connsiteY68" fmla="*/ 92869 h 1158875"/>
                        <a:gd name="connsiteX69" fmla="*/ 1592263 w 1927225"/>
                        <a:gd name="connsiteY69" fmla="*/ 73818 h 1158875"/>
                        <a:gd name="connsiteX70" fmla="*/ 1537494 w 1927225"/>
                        <a:gd name="connsiteY70" fmla="*/ 38101 h 1158875"/>
                        <a:gd name="connsiteX71" fmla="*/ 1497013 w 1927225"/>
                        <a:gd name="connsiteY71" fmla="*/ 0 h 1158875"/>
                        <a:gd name="connsiteX72" fmla="*/ 1470819 w 1927225"/>
                        <a:gd name="connsiteY72" fmla="*/ 40483 h 1158875"/>
                        <a:gd name="connsiteX73" fmla="*/ 1411288 w 1927225"/>
                        <a:gd name="connsiteY73" fmla="*/ 45245 h 1158875"/>
                        <a:gd name="connsiteX74" fmla="*/ 1394619 w 1927225"/>
                        <a:gd name="connsiteY74" fmla="*/ 61915 h 1158875"/>
                        <a:gd name="connsiteX75" fmla="*/ 1349375 w 1927225"/>
                        <a:gd name="connsiteY75" fmla="*/ 23814 h 1158875"/>
                        <a:gd name="connsiteX76" fmla="*/ 1261269 w 1927225"/>
                        <a:gd name="connsiteY76" fmla="*/ 145258 h 1158875"/>
                        <a:gd name="connsiteX77" fmla="*/ 1208881 w 1927225"/>
                        <a:gd name="connsiteY77" fmla="*/ 207171 h 1158875"/>
                        <a:gd name="connsiteX78" fmla="*/ 1106488 w 1927225"/>
                        <a:gd name="connsiteY78" fmla="*/ 123827 h 1158875"/>
                        <a:gd name="connsiteX79" fmla="*/ 1068387 w 1927225"/>
                        <a:gd name="connsiteY79" fmla="*/ 54771 h 1158875"/>
                        <a:gd name="connsiteX80" fmla="*/ 1030288 w 1927225"/>
                        <a:gd name="connsiteY80" fmla="*/ 83346 h 1158875"/>
                        <a:gd name="connsiteX81" fmla="*/ 961231 w 1927225"/>
                        <a:gd name="connsiteY81" fmla="*/ 47627 h 1158875"/>
                        <a:gd name="connsiteX82" fmla="*/ 863600 w 1927225"/>
                        <a:gd name="connsiteY82" fmla="*/ 128590 h 1158875"/>
                        <a:gd name="connsiteX83" fmla="*/ 737394 w 1927225"/>
                        <a:gd name="connsiteY83" fmla="*/ 126208 h 1158875"/>
                        <a:gd name="connsiteX84" fmla="*/ 625475 w 1927225"/>
                        <a:gd name="connsiteY84" fmla="*/ 195265 h 1158875"/>
                        <a:gd name="connsiteX85" fmla="*/ 575469 w 1927225"/>
                        <a:gd name="connsiteY85" fmla="*/ 188121 h 1158875"/>
                        <a:gd name="connsiteX86" fmla="*/ 523081 w 1927225"/>
                        <a:gd name="connsiteY86" fmla="*/ 211933 h 1158875"/>
                        <a:gd name="connsiteX87" fmla="*/ 311150 w 1927225"/>
                        <a:gd name="connsiteY87" fmla="*/ 92871 h 1158875"/>
                        <a:gd name="connsiteX88" fmla="*/ 34925 w 1927225"/>
                        <a:gd name="connsiteY88" fmla="*/ 90487 h 115887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</a:cxnLst>
                      <a:rect l="l" t="t" r="r" b="b"/>
                      <a:pathLst>
                        <a:path w="1927225" h="1158875">
                          <a:moveTo>
                            <a:pt x="34925" y="90487"/>
                          </a:moveTo>
                          <a:lnTo>
                            <a:pt x="15875" y="101600"/>
                          </a:lnTo>
                          <a:lnTo>
                            <a:pt x="3175" y="133350"/>
                          </a:lnTo>
                          <a:lnTo>
                            <a:pt x="0" y="165100"/>
                          </a:lnTo>
                          <a:lnTo>
                            <a:pt x="3175" y="196850"/>
                          </a:lnTo>
                          <a:lnTo>
                            <a:pt x="38100" y="231775"/>
                          </a:lnTo>
                          <a:lnTo>
                            <a:pt x="82550" y="187325"/>
                          </a:lnTo>
                          <a:lnTo>
                            <a:pt x="120650" y="231775"/>
                          </a:lnTo>
                          <a:lnTo>
                            <a:pt x="177800" y="234950"/>
                          </a:lnTo>
                          <a:lnTo>
                            <a:pt x="222250" y="260350"/>
                          </a:lnTo>
                          <a:lnTo>
                            <a:pt x="228600" y="288925"/>
                          </a:lnTo>
                          <a:lnTo>
                            <a:pt x="231775" y="307975"/>
                          </a:lnTo>
                          <a:lnTo>
                            <a:pt x="228600" y="339725"/>
                          </a:lnTo>
                          <a:lnTo>
                            <a:pt x="257175" y="368300"/>
                          </a:lnTo>
                          <a:lnTo>
                            <a:pt x="279400" y="415925"/>
                          </a:lnTo>
                          <a:lnTo>
                            <a:pt x="279400" y="457200"/>
                          </a:lnTo>
                          <a:lnTo>
                            <a:pt x="279400" y="488950"/>
                          </a:lnTo>
                          <a:lnTo>
                            <a:pt x="333375" y="600075"/>
                          </a:lnTo>
                          <a:lnTo>
                            <a:pt x="346075" y="622300"/>
                          </a:lnTo>
                          <a:lnTo>
                            <a:pt x="285750" y="641350"/>
                          </a:lnTo>
                          <a:lnTo>
                            <a:pt x="225425" y="581025"/>
                          </a:lnTo>
                          <a:lnTo>
                            <a:pt x="184150" y="631825"/>
                          </a:lnTo>
                          <a:lnTo>
                            <a:pt x="314325" y="742950"/>
                          </a:lnTo>
                          <a:lnTo>
                            <a:pt x="352425" y="714375"/>
                          </a:lnTo>
                          <a:lnTo>
                            <a:pt x="403225" y="704850"/>
                          </a:lnTo>
                          <a:lnTo>
                            <a:pt x="469900" y="714375"/>
                          </a:lnTo>
                          <a:lnTo>
                            <a:pt x="615950" y="663575"/>
                          </a:lnTo>
                          <a:lnTo>
                            <a:pt x="803275" y="596900"/>
                          </a:lnTo>
                          <a:lnTo>
                            <a:pt x="911225" y="654050"/>
                          </a:lnTo>
                          <a:lnTo>
                            <a:pt x="1016000" y="736600"/>
                          </a:lnTo>
                          <a:lnTo>
                            <a:pt x="1092200" y="685800"/>
                          </a:lnTo>
                          <a:lnTo>
                            <a:pt x="1171575" y="720725"/>
                          </a:lnTo>
                          <a:lnTo>
                            <a:pt x="1200150" y="727075"/>
                          </a:lnTo>
                          <a:lnTo>
                            <a:pt x="1203325" y="812800"/>
                          </a:lnTo>
                          <a:lnTo>
                            <a:pt x="1219200" y="847725"/>
                          </a:lnTo>
                          <a:lnTo>
                            <a:pt x="1238250" y="873125"/>
                          </a:lnTo>
                          <a:lnTo>
                            <a:pt x="1231900" y="952500"/>
                          </a:lnTo>
                          <a:lnTo>
                            <a:pt x="1212850" y="996950"/>
                          </a:lnTo>
                          <a:lnTo>
                            <a:pt x="1209675" y="1025525"/>
                          </a:lnTo>
                          <a:lnTo>
                            <a:pt x="1282700" y="1031875"/>
                          </a:lnTo>
                          <a:lnTo>
                            <a:pt x="1311275" y="1019175"/>
                          </a:lnTo>
                          <a:lnTo>
                            <a:pt x="1352550" y="1000125"/>
                          </a:lnTo>
                          <a:lnTo>
                            <a:pt x="1425575" y="1035050"/>
                          </a:lnTo>
                          <a:lnTo>
                            <a:pt x="1457325" y="990600"/>
                          </a:lnTo>
                          <a:lnTo>
                            <a:pt x="1555750" y="987425"/>
                          </a:lnTo>
                          <a:lnTo>
                            <a:pt x="1616075" y="1041400"/>
                          </a:lnTo>
                          <a:lnTo>
                            <a:pt x="1676400" y="971550"/>
                          </a:lnTo>
                          <a:lnTo>
                            <a:pt x="1763712" y="1085852"/>
                          </a:lnTo>
                          <a:lnTo>
                            <a:pt x="1895475" y="1158875"/>
                          </a:lnTo>
                          <a:lnTo>
                            <a:pt x="1895475" y="1158875"/>
                          </a:lnTo>
                          <a:lnTo>
                            <a:pt x="1927225" y="1136650"/>
                          </a:lnTo>
                          <a:lnTo>
                            <a:pt x="1895475" y="977900"/>
                          </a:lnTo>
                          <a:lnTo>
                            <a:pt x="1778000" y="923925"/>
                          </a:lnTo>
                          <a:lnTo>
                            <a:pt x="1698625" y="847725"/>
                          </a:lnTo>
                          <a:lnTo>
                            <a:pt x="1679575" y="730250"/>
                          </a:lnTo>
                          <a:lnTo>
                            <a:pt x="1673225" y="690563"/>
                          </a:lnTo>
                          <a:lnTo>
                            <a:pt x="1694656" y="642938"/>
                          </a:lnTo>
                          <a:lnTo>
                            <a:pt x="1720850" y="569119"/>
                          </a:lnTo>
                          <a:lnTo>
                            <a:pt x="1747043" y="526256"/>
                          </a:lnTo>
                          <a:lnTo>
                            <a:pt x="1725613" y="481013"/>
                          </a:lnTo>
                          <a:lnTo>
                            <a:pt x="1716088" y="428625"/>
                          </a:lnTo>
                          <a:lnTo>
                            <a:pt x="1713706" y="347663"/>
                          </a:lnTo>
                          <a:lnTo>
                            <a:pt x="1713706" y="307181"/>
                          </a:lnTo>
                          <a:lnTo>
                            <a:pt x="1739900" y="257175"/>
                          </a:lnTo>
                          <a:lnTo>
                            <a:pt x="1680369" y="214313"/>
                          </a:lnTo>
                          <a:lnTo>
                            <a:pt x="1639888" y="235744"/>
                          </a:lnTo>
                          <a:lnTo>
                            <a:pt x="1558925" y="192881"/>
                          </a:lnTo>
                          <a:lnTo>
                            <a:pt x="1556544" y="142875"/>
                          </a:lnTo>
                          <a:lnTo>
                            <a:pt x="1563688" y="92869"/>
                          </a:lnTo>
                          <a:lnTo>
                            <a:pt x="1592263" y="73818"/>
                          </a:lnTo>
                          <a:lnTo>
                            <a:pt x="1537494" y="38101"/>
                          </a:lnTo>
                          <a:lnTo>
                            <a:pt x="1497013" y="0"/>
                          </a:lnTo>
                          <a:lnTo>
                            <a:pt x="1470819" y="40483"/>
                          </a:lnTo>
                          <a:lnTo>
                            <a:pt x="1411288" y="45245"/>
                          </a:lnTo>
                          <a:lnTo>
                            <a:pt x="1394619" y="61915"/>
                          </a:lnTo>
                          <a:lnTo>
                            <a:pt x="1349375" y="23814"/>
                          </a:lnTo>
                          <a:lnTo>
                            <a:pt x="1261269" y="145258"/>
                          </a:lnTo>
                          <a:lnTo>
                            <a:pt x="1208881" y="207171"/>
                          </a:lnTo>
                          <a:lnTo>
                            <a:pt x="1106488" y="123827"/>
                          </a:lnTo>
                          <a:lnTo>
                            <a:pt x="1068387" y="54771"/>
                          </a:lnTo>
                          <a:lnTo>
                            <a:pt x="1030288" y="83346"/>
                          </a:lnTo>
                          <a:lnTo>
                            <a:pt x="961231" y="47627"/>
                          </a:lnTo>
                          <a:lnTo>
                            <a:pt x="863600" y="128590"/>
                          </a:lnTo>
                          <a:lnTo>
                            <a:pt x="737394" y="126208"/>
                          </a:lnTo>
                          <a:lnTo>
                            <a:pt x="625475" y="195265"/>
                          </a:lnTo>
                          <a:lnTo>
                            <a:pt x="575469" y="188121"/>
                          </a:lnTo>
                          <a:lnTo>
                            <a:pt x="523081" y="211933"/>
                          </a:lnTo>
                          <a:lnTo>
                            <a:pt x="311150" y="92871"/>
                          </a:lnTo>
                          <a:lnTo>
                            <a:pt x="34925" y="90487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25" name="Freeform 10"/>
                    <p:cNvSpPr/>
                    <p:nvPr/>
                  </p:nvSpPr>
                  <p:spPr>
                    <a:xfrm>
                      <a:off x="2163032" y="1718865"/>
                      <a:ext cx="1578630" cy="1280796"/>
                    </a:xfrm>
                    <a:custGeom>
                      <a:avLst/>
                      <a:gdLst>
                        <a:gd name="connsiteX0" fmla="*/ 450056 w 2245518"/>
                        <a:gd name="connsiteY0" fmla="*/ 1964531 h 1964531"/>
                        <a:gd name="connsiteX1" fmla="*/ 914400 w 2245518"/>
                        <a:gd name="connsiteY1" fmla="*/ 1888331 h 1964531"/>
                        <a:gd name="connsiteX2" fmla="*/ 921543 w 2245518"/>
                        <a:gd name="connsiteY2" fmla="*/ 1835943 h 1964531"/>
                        <a:gd name="connsiteX3" fmla="*/ 962025 w 2245518"/>
                        <a:gd name="connsiteY3" fmla="*/ 1752600 h 1964531"/>
                        <a:gd name="connsiteX4" fmla="*/ 1033462 w 2245518"/>
                        <a:gd name="connsiteY4" fmla="*/ 1757362 h 1964531"/>
                        <a:gd name="connsiteX5" fmla="*/ 1276350 w 2245518"/>
                        <a:gd name="connsiteY5" fmla="*/ 1507331 h 1964531"/>
                        <a:gd name="connsiteX6" fmla="*/ 1316831 w 2245518"/>
                        <a:gd name="connsiteY6" fmla="*/ 1521618 h 1964531"/>
                        <a:gd name="connsiteX7" fmla="*/ 1343025 w 2245518"/>
                        <a:gd name="connsiteY7" fmla="*/ 1421606 h 1964531"/>
                        <a:gd name="connsiteX8" fmla="*/ 1469231 w 2245518"/>
                        <a:gd name="connsiteY8" fmla="*/ 1440656 h 1964531"/>
                        <a:gd name="connsiteX9" fmla="*/ 1571625 w 2245518"/>
                        <a:gd name="connsiteY9" fmla="*/ 1240631 h 1964531"/>
                        <a:gd name="connsiteX10" fmla="*/ 1688306 w 2245518"/>
                        <a:gd name="connsiteY10" fmla="*/ 1231106 h 1964531"/>
                        <a:gd name="connsiteX11" fmla="*/ 1816893 w 2245518"/>
                        <a:gd name="connsiteY11" fmla="*/ 1350168 h 1964531"/>
                        <a:gd name="connsiteX12" fmla="*/ 1850231 w 2245518"/>
                        <a:gd name="connsiteY12" fmla="*/ 1404937 h 1964531"/>
                        <a:gd name="connsiteX13" fmla="*/ 1847850 w 2245518"/>
                        <a:gd name="connsiteY13" fmla="*/ 1433512 h 1964531"/>
                        <a:gd name="connsiteX14" fmla="*/ 1935956 w 2245518"/>
                        <a:gd name="connsiteY14" fmla="*/ 1488281 h 1964531"/>
                        <a:gd name="connsiteX15" fmla="*/ 2000250 w 2245518"/>
                        <a:gd name="connsiteY15" fmla="*/ 1431131 h 1964531"/>
                        <a:gd name="connsiteX16" fmla="*/ 2245518 w 2245518"/>
                        <a:gd name="connsiteY16" fmla="*/ 1254918 h 1964531"/>
                        <a:gd name="connsiteX17" fmla="*/ 2219325 w 2245518"/>
                        <a:gd name="connsiteY17" fmla="*/ 1209675 h 1964531"/>
                        <a:gd name="connsiteX18" fmla="*/ 2190750 w 2245518"/>
                        <a:gd name="connsiteY18" fmla="*/ 1185862 h 1964531"/>
                        <a:gd name="connsiteX19" fmla="*/ 2195512 w 2245518"/>
                        <a:gd name="connsiteY19" fmla="*/ 1145381 h 1964531"/>
                        <a:gd name="connsiteX20" fmla="*/ 2164556 w 2245518"/>
                        <a:gd name="connsiteY20" fmla="*/ 1064418 h 1964531"/>
                        <a:gd name="connsiteX21" fmla="*/ 2121693 w 2245518"/>
                        <a:gd name="connsiteY21" fmla="*/ 1033462 h 1964531"/>
                        <a:gd name="connsiteX22" fmla="*/ 1974056 w 2245518"/>
                        <a:gd name="connsiteY22" fmla="*/ 952500 h 1964531"/>
                        <a:gd name="connsiteX23" fmla="*/ 1997868 w 2245518"/>
                        <a:gd name="connsiteY23" fmla="*/ 895350 h 1964531"/>
                        <a:gd name="connsiteX24" fmla="*/ 1971675 w 2245518"/>
                        <a:gd name="connsiteY24" fmla="*/ 871537 h 1964531"/>
                        <a:gd name="connsiteX25" fmla="*/ 1921668 w 2245518"/>
                        <a:gd name="connsiteY25" fmla="*/ 909637 h 1964531"/>
                        <a:gd name="connsiteX26" fmla="*/ 1838325 w 2245518"/>
                        <a:gd name="connsiteY26" fmla="*/ 828675 h 1964531"/>
                        <a:gd name="connsiteX27" fmla="*/ 1862137 w 2245518"/>
                        <a:gd name="connsiteY27" fmla="*/ 785812 h 1964531"/>
                        <a:gd name="connsiteX28" fmla="*/ 1852612 w 2245518"/>
                        <a:gd name="connsiteY28" fmla="*/ 688181 h 1964531"/>
                        <a:gd name="connsiteX29" fmla="*/ 1950243 w 2245518"/>
                        <a:gd name="connsiteY29" fmla="*/ 571500 h 1964531"/>
                        <a:gd name="connsiteX30" fmla="*/ 1988343 w 2245518"/>
                        <a:gd name="connsiteY30" fmla="*/ 547687 h 1964531"/>
                        <a:gd name="connsiteX31" fmla="*/ 1952625 w 2245518"/>
                        <a:gd name="connsiteY31" fmla="*/ 411956 h 1964531"/>
                        <a:gd name="connsiteX32" fmla="*/ 1881187 w 2245518"/>
                        <a:gd name="connsiteY32" fmla="*/ 290512 h 1964531"/>
                        <a:gd name="connsiteX33" fmla="*/ 1874043 w 2245518"/>
                        <a:gd name="connsiteY33" fmla="*/ 259556 h 1964531"/>
                        <a:gd name="connsiteX34" fmla="*/ 1912143 w 2245518"/>
                        <a:gd name="connsiteY34" fmla="*/ 238125 h 1964531"/>
                        <a:gd name="connsiteX35" fmla="*/ 1850231 w 2245518"/>
                        <a:gd name="connsiteY35" fmla="*/ 142875 h 1964531"/>
                        <a:gd name="connsiteX36" fmla="*/ 1807368 w 2245518"/>
                        <a:gd name="connsiteY36" fmla="*/ 183356 h 1964531"/>
                        <a:gd name="connsiteX37" fmla="*/ 1809750 w 2245518"/>
                        <a:gd name="connsiteY37" fmla="*/ 90487 h 1964531"/>
                        <a:gd name="connsiteX38" fmla="*/ 1731168 w 2245518"/>
                        <a:gd name="connsiteY38" fmla="*/ 97631 h 1964531"/>
                        <a:gd name="connsiteX39" fmla="*/ 1716881 w 2245518"/>
                        <a:gd name="connsiteY39" fmla="*/ 140493 h 1964531"/>
                        <a:gd name="connsiteX40" fmla="*/ 1697831 w 2245518"/>
                        <a:gd name="connsiteY40" fmla="*/ 180975 h 1964531"/>
                        <a:gd name="connsiteX41" fmla="*/ 1688306 w 2245518"/>
                        <a:gd name="connsiteY41" fmla="*/ 219075 h 1964531"/>
                        <a:gd name="connsiteX42" fmla="*/ 1633537 w 2245518"/>
                        <a:gd name="connsiteY42" fmla="*/ 266700 h 1964531"/>
                        <a:gd name="connsiteX43" fmla="*/ 1485900 w 2245518"/>
                        <a:gd name="connsiteY43" fmla="*/ 273843 h 1964531"/>
                        <a:gd name="connsiteX44" fmla="*/ 1445418 w 2245518"/>
                        <a:gd name="connsiteY44" fmla="*/ 271462 h 1964531"/>
                        <a:gd name="connsiteX45" fmla="*/ 1412081 w 2245518"/>
                        <a:gd name="connsiteY45" fmla="*/ 216693 h 1964531"/>
                        <a:gd name="connsiteX46" fmla="*/ 1376362 w 2245518"/>
                        <a:gd name="connsiteY46" fmla="*/ 216693 h 1964531"/>
                        <a:gd name="connsiteX47" fmla="*/ 1366837 w 2245518"/>
                        <a:gd name="connsiteY47" fmla="*/ 254793 h 1964531"/>
                        <a:gd name="connsiteX48" fmla="*/ 1352550 w 2245518"/>
                        <a:gd name="connsiteY48" fmla="*/ 302418 h 1964531"/>
                        <a:gd name="connsiteX49" fmla="*/ 1309687 w 2245518"/>
                        <a:gd name="connsiteY49" fmla="*/ 311943 h 1964531"/>
                        <a:gd name="connsiteX50" fmla="*/ 1266825 w 2245518"/>
                        <a:gd name="connsiteY50" fmla="*/ 280987 h 1964531"/>
                        <a:gd name="connsiteX51" fmla="*/ 1238250 w 2245518"/>
                        <a:gd name="connsiteY51" fmla="*/ 252412 h 1964531"/>
                        <a:gd name="connsiteX52" fmla="*/ 1178718 w 2245518"/>
                        <a:gd name="connsiteY52" fmla="*/ 266700 h 1964531"/>
                        <a:gd name="connsiteX53" fmla="*/ 1088231 w 2245518"/>
                        <a:gd name="connsiteY53" fmla="*/ 192881 h 1964531"/>
                        <a:gd name="connsiteX54" fmla="*/ 1095375 w 2245518"/>
                        <a:gd name="connsiteY54" fmla="*/ 111918 h 1964531"/>
                        <a:gd name="connsiteX55" fmla="*/ 1000125 w 2245518"/>
                        <a:gd name="connsiteY55" fmla="*/ 85725 h 1964531"/>
                        <a:gd name="connsiteX56" fmla="*/ 947737 w 2245518"/>
                        <a:gd name="connsiteY56" fmla="*/ 76200 h 1964531"/>
                        <a:gd name="connsiteX57" fmla="*/ 902493 w 2245518"/>
                        <a:gd name="connsiteY57" fmla="*/ 133350 h 1964531"/>
                        <a:gd name="connsiteX58" fmla="*/ 850106 w 2245518"/>
                        <a:gd name="connsiteY58" fmla="*/ 150018 h 1964531"/>
                        <a:gd name="connsiteX59" fmla="*/ 816768 w 2245518"/>
                        <a:gd name="connsiteY59" fmla="*/ 97631 h 1964531"/>
                        <a:gd name="connsiteX60" fmla="*/ 797718 w 2245518"/>
                        <a:gd name="connsiteY60" fmla="*/ 80962 h 1964531"/>
                        <a:gd name="connsiteX61" fmla="*/ 685800 w 2245518"/>
                        <a:gd name="connsiteY61" fmla="*/ 66675 h 1964531"/>
                        <a:gd name="connsiteX62" fmla="*/ 645318 w 2245518"/>
                        <a:gd name="connsiteY62" fmla="*/ 92868 h 1964531"/>
                        <a:gd name="connsiteX63" fmla="*/ 597693 w 2245518"/>
                        <a:gd name="connsiteY63" fmla="*/ 107156 h 1964531"/>
                        <a:gd name="connsiteX64" fmla="*/ 569118 w 2245518"/>
                        <a:gd name="connsiteY64" fmla="*/ 154781 h 1964531"/>
                        <a:gd name="connsiteX65" fmla="*/ 528637 w 2245518"/>
                        <a:gd name="connsiteY65" fmla="*/ 176212 h 1964531"/>
                        <a:gd name="connsiteX66" fmla="*/ 471487 w 2245518"/>
                        <a:gd name="connsiteY66" fmla="*/ 188118 h 1964531"/>
                        <a:gd name="connsiteX67" fmla="*/ 421481 w 2245518"/>
                        <a:gd name="connsiteY67" fmla="*/ 135731 h 1964531"/>
                        <a:gd name="connsiteX68" fmla="*/ 350043 w 2245518"/>
                        <a:gd name="connsiteY68" fmla="*/ 59531 h 1964531"/>
                        <a:gd name="connsiteX69" fmla="*/ 300037 w 2245518"/>
                        <a:gd name="connsiteY69" fmla="*/ 0 h 1964531"/>
                        <a:gd name="connsiteX70" fmla="*/ 240506 w 2245518"/>
                        <a:gd name="connsiteY70" fmla="*/ 52387 h 1964531"/>
                        <a:gd name="connsiteX71" fmla="*/ 278606 w 2245518"/>
                        <a:gd name="connsiteY71" fmla="*/ 85725 h 1964531"/>
                        <a:gd name="connsiteX72" fmla="*/ 285750 w 2245518"/>
                        <a:gd name="connsiteY72" fmla="*/ 119062 h 1964531"/>
                        <a:gd name="connsiteX73" fmla="*/ 285750 w 2245518"/>
                        <a:gd name="connsiteY73" fmla="*/ 140493 h 1964531"/>
                        <a:gd name="connsiteX74" fmla="*/ 264318 w 2245518"/>
                        <a:gd name="connsiteY74" fmla="*/ 169068 h 1964531"/>
                        <a:gd name="connsiteX75" fmla="*/ 238125 w 2245518"/>
                        <a:gd name="connsiteY75" fmla="*/ 178593 h 1964531"/>
                        <a:gd name="connsiteX76" fmla="*/ 269081 w 2245518"/>
                        <a:gd name="connsiteY76" fmla="*/ 188118 h 1964531"/>
                        <a:gd name="connsiteX77" fmla="*/ 245268 w 2245518"/>
                        <a:gd name="connsiteY77" fmla="*/ 214312 h 1964531"/>
                        <a:gd name="connsiteX78" fmla="*/ 254793 w 2245518"/>
                        <a:gd name="connsiteY78" fmla="*/ 292893 h 1964531"/>
                        <a:gd name="connsiteX79" fmla="*/ 269081 w 2245518"/>
                        <a:gd name="connsiteY79" fmla="*/ 352425 h 1964531"/>
                        <a:gd name="connsiteX80" fmla="*/ 171450 w 2245518"/>
                        <a:gd name="connsiteY80" fmla="*/ 447675 h 1964531"/>
                        <a:gd name="connsiteX81" fmla="*/ 88106 w 2245518"/>
                        <a:gd name="connsiteY81" fmla="*/ 454818 h 1964531"/>
                        <a:gd name="connsiteX82" fmla="*/ 40481 w 2245518"/>
                        <a:gd name="connsiteY82" fmla="*/ 469106 h 1964531"/>
                        <a:gd name="connsiteX83" fmla="*/ 0 w 2245518"/>
                        <a:gd name="connsiteY83" fmla="*/ 531018 h 1964531"/>
                        <a:gd name="connsiteX84" fmla="*/ 59531 w 2245518"/>
                        <a:gd name="connsiteY84" fmla="*/ 583406 h 1964531"/>
                        <a:gd name="connsiteX85" fmla="*/ 95250 w 2245518"/>
                        <a:gd name="connsiteY85" fmla="*/ 602456 h 1964531"/>
                        <a:gd name="connsiteX86" fmla="*/ 61912 w 2245518"/>
                        <a:gd name="connsiteY86" fmla="*/ 619125 h 1964531"/>
                        <a:gd name="connsiteX87" fmla="*/ 61912 w 2245518"/>
                        <a:gd name="connsiteY87" fmla="*/ 726281 h 1964531"/>
                        <a:gd name="connsiteX88" fmla="*/ 147637 w 2245518"/>
                        <a:gd name="connsiteY88" fmla="*/ 766762 h 1964531"/>
                        <a:gd name="connsiteX89" fmla="*/ 185737 w 2245518"/>
                        <a:gd name="connsiteY89" fmla="*/ 745331 h 1964531"/>
                        <a:gd name="connsiteX90" fmla="*/ 245268 w 2245518"/>
                        <a:gd name="connsiteY90" fmla="*/ 792956 h 1964531"/>
                        <a:gd name="connsiteX91" fmla="*/ 207168 w 2245518"/>
                        <a:gd name="connsiteY91" fmla="*/ 835818 h 1964531"/>
                        <a:gd name="connsiteX92" fmla="*/ 223837 w 2245518"/>
                        <a:gd name="connsiteY92" fmla="*/ 997743 h 1964531"/>
                        <a:gd name="connsiteX93" fmla="*/ 250031 w 2245518"/>
                        <a:gd name="connsiteY93" fmla="*/ 1057275 h 1964531"/>
                        <a:gd name="connsiteX94" fmla="*/ 173831 w 2245518"/>
                        <a:gd name="connsiteY94" fmla="*/ 1226343 h 1964531"/>
                        <a:gd name="connsiteX95" fmla="*/ 197643 w 2245518"/>
                        <a:gd name="connsiteY95" fmla="*/ 1381125 h 1964531"/>
                        <a:gd name="connsiteX96" fmla="*/ 290512 w 2245518"/>
                        <a:gd name="connsiteY96" fmla="*/ 1459706 h 1964531"/>
                        <a:gd name="connsiteX97" fmla="*/ 400050 w 2245518"/>
                        <a:gd name="connsiteY97" fmla="*/ 1516856 h 1964531"/>
                        <a:gd name="connsiteX98" fmla="*/ 428625 w 2245518"/>
                        <a:gd name="connsiteY98" fmla="*/ 1669256 h 1964531"/>
                        <a:gd name="connsiteX99" fmla="*/ 450056 w 2245518"/>
                        <a:gd name="connsiteY99" fmla="*/ 1964531 h 1964531"/>
                        <a:gd name="connsiteX0" fmla="*/ 450056 w 2245518"/>
                        <a:gd name="connsiteY0" fmla="*/ 1964531 h 1964531"/>
                        <a:gd name="connsiteX1" fmla="*/ 914400 w 2245518"/>
                        <a:gd name="connsiteY1" fmla="*/ 1888331 h 1964531"/>
                        <a:gd name="connsiteX2" fmla="*/ 921543 w 2245518"/>
                        <a:gd name="connsiteY2" fmla="*/ 1835943 h 1964531"/>
                        <a:gd name="connsiteX3" fmla="*/ 962025 w 2245518"/>
                        <a:gd name="connsiteY3" fmla="*/ 1752600 h 1964531"/>
                        <a:gd name="connsiteX4" fmla="*/ 1033462 w 2245518"/>
                        <a:gd name="connsiteY4" fmla="*/ 1757362 h 1964531"/>
                        <a:gd name="connsiteX5" fmla="*/ 1276350 w 2245518"/>
                        <a:gd name="connsiteY5" fmla="*/ 1507331 h 1964531"/>
                        <a:gd name="connsiteX6" fmla="*/ 1316831 w 2245518"/>
                        <a:gd name="connsiteY6" fmla="*/ 1521618 h 1964531"/>
                        <a:gd name="connsiteX7" fmla="*/ 1343025 w 2245518"/>
                        <a:gd name="connsiteY7" fmla="*/ 1421606 h 1964531"/>
                        <a:gd name="connsiteX8" fmla="*/ 1469231 w 2245518"/>
                        <a:gd name="connsiteY8" fmla="*/ 1440656 h 1964531"/>
                        <a:gd name="connsiteX9" fmla="*/ 1571625 w 2245518"/>
                        <a:gd name="connsiteY9" fmla="*/ 1240631 h 1964531"/>
                        <a:gd name="connsiteX10" fmla="*/ 1688306 w 2245518"/>
                        <a:gd name="connsiteY10" fmla="*/ 1231106 h 1964531"/>
                        <a:gd name="connsiteX11" fmla="*/ 1816893 w 2245518"/>
                        <a:gd name="connsiteY11" fmla="*/ 1350168 h 1964531"/>
                        <a:gd name="connsiteX12" fmla="*/ 1850231 w 2245518"/>
                        <a:gd name="connsiteY12" fmla="*/ 1404937 h 1964531"/>
                        <a:gd name="connsiteX13" fmla="*/ 1847850 w 2245518"/>
                        <a:gd name="connsiteY13" fmla="*/ 1433512 h 1964531"/>
                        <a:gd name="connsiteX14" fmla="*/ 1935956 w 2245518"/>
                        <a:gd name="connsiteY14" fmla="*/ 1488281 h 1964531"/>
                        <a:gd name="connsiteX15" fmla="*/ 2000250 w 2245518"/>
                        <a:gd name="connsiteY15" fmla="*/ 1431131 h 1964531"/>
                        <a:gd name="connsiteX16" fmla="*/ 2245518 w 2245518"/>
                        <a:gd name="connsiteY16" fmla="*/ 1254918 h 1964531"/>
                        <a:gd name="connsiteX17" fmla="*/ 2219325 w 2245518"/>
                        <a:gd name="connsiteY17" fmla="*/ 1209675 h 1964531"/>
                        <a:gd name="connsiteX18" fmla="*/ 2190750 w 2245518"/>
                        <a:gd name="connsiteY18" fmla="*/ 1185862 h 1964531"/>
                        <a:gd name="connsiteX19" fmla="*/ 2195512 w 2245518"/>
                        <a:gd name="connsiteY19" fmla="*/ 1145381 h 1964531"/>
                        <a:gd name="connsiteX20" fmla="*/ 2164556 w 2245518"/>
                        <a:gd name="connsiteY20" fmla="*/ 1064418 h 1964531"/>
                        <a:gd name="connsiteX21" fmla="*/ 2121693 w 2245518"/>
                        <a:gd name="connsiteY21" fmla="*/ 1033462 h 1964531"/>
                        <a:gd name="connsiteX22" fmla="*/ 1974056 w 2245518"/>
                        <a:gd name="connsiteY22" fmla="*/ 952500 h 1964531"/>
                        <a:gd name="connsiteX23" fmla="*/ 1997868 w 2245518"/>
                        <a:gd name="connsiteY23" fmla="*/ 895350 h 1964531"/>
                        <a:gd name="connsiteX24" fmla="*/ 1971675 w 2245518"/>
                        <a:gd name="connsiteY24" fmla="*/ 871537 h 1964531"/>
                        <a:gd name="connsiteX25" fmla="*/ 1921668 w 2245518"/>
                        <a:gd name="connsiteY25" fmla="*/ 909637 h 1964531"/>
                        <a:gd name="connsiteX26" fmla="*/ 1838325 w 2245518"/>
                        <a:gd name="connsiteY26" fmla="*/ 828675 h 1964531"/>
                        <a:gd name="connsiteX27" fmla="*/ 1862137 w 2245518"/>
                        <a:gd name="connsiteY27" fmla="*/ 785812 h 1964531"/>
                        <a:gd name="connsiteX28" fmla="*/ 1852612 w 2245518"/>
                        <a:gd name="connsiteY28" fmla="*/ 688181 h 1964531"/>
                        <a:gd name="connsiteX29" fmla="*/ 1950243 w 2245518"/>
                        <a:gd name="connsiteY29" fmla="*/ 571500 h 1964531"/>
                        <a:gd name="connsiteX30" fmla="*/ 1988343 w 2245518"/>
                        <a:gd name="connsiteY30" fmla="*/ 547687 h 1964531"/>
                        <a:gd name="connsiteX31" fmla="*/ 1952625 w 2245518"/>
                        <a:gd name="connsiteY31" fmla="*/ 411956 h 1964531"/>
                        <a:gd name="connsiteX32" fmla="*/ 1881187 w 2245518"/>
                        <a:gd name="connsiteY32" fmla="*/ 290512 h 1964531"/>
                        <a:gd name="connsiteX33" fmla="*/ 1874043 w 2245518"/>
                        <a:gd name="connsiteY33" fmla="*/ 259556 h 1964531"/>
                        <a:gd name="connsiteX34" fmla="*/ 1912143 w 2245518"/>
                        <a:gd name="connsiteY34" fmla="*/ 238125 h 1964531"/>
                        <a:gd name="connsiteX35" fmla="*/ 1850231 w 2245518"/>
                        <a:gd name="connsiteY35" fmla="*/ 142875 h 1964531"/>
                        <a:gd name="connsiteX36" fmla="*/ 1807368 w 2245518"/>
                        <a:gd name="connsiteY36" fmla="*/ 183356 h 1964531"/>
                        <a:gd name="connsiteX37" fmla="*/ 1809750 w 2245518"/>
                        <a:gd name="connsiteY37" fmla="*/ 90487 h 1964531"/>
                        <a:gd name="connsiteX38" fmla="*/ 1731168 w 2245518"/>
                        <a:gd name="connsiteY38" fmla="*/ 97631 h 1964531"/>
                        <a:gd name="connsiteX39" fmla="*/ 1716881 w 2245518"/>
                        <a:gd name="connsiteY39" fmla="*/ 140493 h 1964531"/>
                        <a:gd name="connsiteX40" fmla="*/ 1697831 w 2245518"/>
                        <a:gd name="connsiteY40" fmla="*/ 180975 h 1964531"/>
                        <a:gd name="connsiteX41" fmla="*/ 1688306 w 2245518"/>
                        <a:gd name="connsiteY41" fmla="*/ 219075 h 1964531"/>
                        <a:gd name="connsiteX42" fmla="*/ 1633537 w 2245518"/>
                        <a:gd name="connsiteY42" fmla="*/ 266700 h 1964531"/>
                        <a:gd name="connsiteX43" fmla="*/ 1485900 w 2245518"/>
                        <a:gd name="connsiteY43" fmla="*/ 273843 h 1964531"/>
                        <a:gd name="connsiteX44" fmla="*/ 1445418 w 2245518"/>
                        <a:gd name="connsiteY44" fmla="*/ 271462 h 1964531"/>
                        <a:gd name="connsiteX45" fmla="*/ 1412081 w 2245518"/>
                        <a:gd name="connsiteY45" fmla="*/ 216693 h 1964531"/>
                        <a:gd name="connsiteX46" fmla="*/ 1376362 w 2245518"/>
                        <a:gd name="connsiteY46" fmla="*/ 216693 h 1964531"/>
                        <a:gd name="connsiteX47" fmla="*/ 1366837 w 2245518"/>
                        <a:gd name="connsiteY47" fmla="*/ 254793 h 1964531"/>
                        <a:gd name="connsiteX48" fmla="*/ 1352550 w 2245518"/>
                        <a:gd name="connsiteY48" fmla="*/ 302418 h 1964531"/>
                        <a:gd name="connsiteX49" fmla="*/ 1309687 w 2245518"/>
                        <a:gd name="connsiteY49" fmla="*/ 311943 h 1964531"/>
                        <a:gd name="connsiteX50" fmla="*/ 1266825 w 2245518"/>
                        <a:gd name="connsiteY50" fmla="*/ 280987 h 1964531"/>
                        <a:gd name="connsiteX51" fmla="*/ 1238250 w 2245518"/>
                        <a:gd name="connsiteY51" fmla="*/ 252412 h 1964531"/>
                        <a:gd name="connsiteX52" fmla="*/ 1178718 w 2245518"/>
                        <a:gd name="connsiteY52" fmla="*/ 266700 h 1964531"/>
                        <a:gd name="connsiteX53" fmla="*/ 1088231 w 2245518"/>
                        <a:gd name="connsiteY53" fmla="*/ 192881 h 1964531"/>
                        <a:gd name="connsiteX54" fmla="*/ 1095375 w 2245518"/>
                        <a:gd name="connsiteY54" fmla="*/ 111918 h 1964531"/>
                        <a:gd name="connsiteX55" fmla="*/ 1000125 w 2245518"/>
                        <a:gd name="connsiteY55" fmla="*/ 85725 h 1964531"/>
                        <a:gd name="connsiteX56" fmla="*/ 947737 w 2245518"/>
                        <a:gd name="connsiteY56" fmla="*/ 76200 h 1964531"/>
                        <a:gd name="connsiteX57" fmla="*/ 902493 w 2245518"/>
                        <a:gd name="connsiteY57" fmla="*/ 133350 h 1964531"/>
                        <a:gd name="connsiteX58" fmla="*/ 850106 w 2245518"/>
                        <a:gd name="connsiteY58" fmla="*/ 150018 h 1964531"/>
                        <a:gd name="connsiteX59" fmla="*/ 816768 w 2245518"/>
                        <a:gd name="connsiteY59" fmla="*/ 97631 h 1964531"/>
                        <a:gd name="connsiteX60" fmla="*/ 797718 w 2245518"/>
                        <a:gd name="connsiteY60" fmla="*/ 80962 h 1964531"/>
                        <a:gd name="connsiteX61" fmla="*/ 685800 w 2245518"/>
                        <a:gd name="connsiteY61" fmla="*/ 66675 h 1964531"/>
                        <a:gd name="connsiteX62" fmla="*/ 645318 w 2245518"/>
                        <a:gd name="connsiteY62" fmla="*/ 92868 h 1964531"/>
                        <a:gd name="connsiteX63" fmla="*/ 597693 w 2245518"/>
                        <a:gd name="connsiteY63" fmla="*/ 107156 h 1964531"/>
                        <a:gd name="connsiteX64" fmla="*/ 569118 w 2245518"/>
                        <a:gd name="connsiteY64" fmla="*/ 154781 h 1964531"/>
                        <a:gd name="connsiteX65" fmla="*/ 528637 w 2245518"/>
                        <a:gd name="connsiteY65" fmla="*/ 176212 h 1964531"/>
                        <a:gd name="connsiteX66" fmla="*/ 471487 w 2245518"/>
                        <a:gd name="connsiteY66" fmla="*/ 188118 h 1964531"/>
                        <a:gd name="connsiteX67" fmla="*/ 421481 w 2245518"/>
                        <a:gd name="connsiteY67" fmla="*/ 135731 h 1964531"/>
                        <a:gd name="connsiteX68" fmla="*/ 350043 w 2245518"/>
                        <a:gd name="connsiteY68" fmla="*/ 59531 h 1964531"/>
                        <a:gd name="connsiteX69" fmla="*/ 300037 w 2245518"/>
                        <a:gd name="connsiteY69" fmla="*/ 0 h 1964531"/>
                        <a:gd name="connsiteX70" fmla="*/ 240506 w 2245518"/>
                        <a:gd name="connsiteY70" fmla="*/ 52387 h 1964531"/>
                        <a:gd name="connsiteX71" fmla="*/ 278606 w 2245518"/>
                        <a:gd name="connsiteY71" fmla="*/ 85725 h 1964531"/>
                        <a:gd name="connsiteX72" fmla="*/ 285750 w 2245518"/>
                        <a:gd name="connsiteY72" fmla="*/ 119062 h 1964531"/>
                        <a:gd name="connsiteX73" fmla="*/ 285750 w 2245518"/>
                        <a:gd name="connsiteY73" fmla="*/ 140493 h 1964531"/>
                        <a:gd name="connsiteX74" fmla="*/ 264318 w 2245518"/>
                        <a:gd name="connsiteY74" fmla="*/ 169068 h 1964531"/>
                        <a:gd name="connsiteX75" fmla="*/ 238125 w 2245518"/>
                        <a:gd name="connsiteY75" fmla="*/ 178593 h 1964531"/>
                        <a:gd name="connsiteX76" fmla="*/ 269081 w 2245518"/>
                        <a:gd name="connsiteY76" fmla="*/ 188118 h 1964531"/>
                        <a:gd name="connsiteX77" fmla="*/ 245268 w 2245518"/>
                        <a:gd name="connsiteY77" fmla="*/ 214312 h 1964531"/>
                        <a:gd name="connsiteX78" fmla="*/ 254793 w 2245518"/>
                        <a:gd name="connsiteY78" fmla="*/ 292893 h 1964531"/>
                        <a:gd name="connsiteX79" fmla="*/ 269081 w 2245518"/>
                        <a:gd name="connsiteY79" fmla="*/ 352425 h 1964531"/>
                        <a:gd name="connsiteX80" fmla="*/ 171450 w 2245518"/>
                        <a:gd name="connsiteY80" fmla="*/ 447675 h 1964531"/>
                        <a:gd name="connsiteX81" fmla="*/ 88106 w 2245518"/>
                        <a:gd name="connsiteY81" fmla="*/ 454818 h 1964531"/>
                        <a:gd name="connsiteX82" fmla="*/ 40481 w 2245518"/>
                        <a:gd name="connsiteY82" fmla="*/ 469106 h 1964531"/>
                        <a:gd name="connsiteX83" fmla="*/ 0 w 2245518"/>
                        <a:gd name="connsiteY83" fmla="*/ 531018 h 1964531"/>
                        <a:gd name="connsiteX84" fmla="*/ 59531 w 2245518"/>
                        <a:gd name="connsiteY84" fmla="*/ 583406 h 1964531"/>
                        <a:gd name="connsiteX85" fmla="*/ 95250 w 2245518"/>
                        <a:gd name="connsiteY85" fmla="*/ 602456 h 1964531"/>
                        <a:gd name="connsiteX86" fmla="*/ 61912 w 2245518"/>
                        <a:gd name="connsiteY86" fmla="*/ 619125 h 1964531"/>
                        <a:gd name="connsiteX87" fmla="*/ 61912 w 2245518"/>
                        <a:gd name="connsiteY87" fmla="*/ 726281 h 1964531"/>
                        <a:gd name="connsiteX88" fmla="*/ 147637 w 2245518"/>
                        <a:gd name="connsiteY88" fmla="*/ 766762 h 1964531"/>
                        <a:gd name="connsiteX89" fmla="*/ 185737 w 2245518"/>
                        <a:gd name="connsiteY89" fmla="*/ 745331 h 1964531"/>
                        <a:gd name="connsiteX90" fmla="*/ 245268 w 2245518"/>
                        <a:gd name="connsiteY90" fmla="*/ 792956 h 1964531"/>
                        <a:gd name="connsiteX91" fmla="*/ 207168 w 2245518"/>
                        <a:gd name="connsiteY91" fmla="*/ 835818 h 1964531"/>
                        <a:gd name="connsiteX92" fmla="*/ 223837 w 2245518"/>
                        <a:gd name="connsiteY92" fmla="*/ 997743 h 1964531"/>
                        <a:gd name="connsiteX93" fmla="*/ 250031 w 2245518"/>
                        <a:gd name="connsiteY93" fmla="*/ 1057275 h 1964531"/>
                        <a:gd name="connsiteX94" fmla="*/ 228600 w 2245518"/>
                        <a:gd name="connsiteY94" fmla="*/ 1102518 h 1964531"/>
                        <a:gd name="connsiteX95" fmla="*/ 173831 w 2245518"/>
                        <a:gd name="connsiteY95" fmla="*/ 1226343 h 1964531"/>
                        <a:gd name="connsiteX96" fmla="*/ 197643 w 2245518"/>
                        <a:gd name="connsiteY96" fmla="*/ 1381125 h 1964531"/>
                        <a:gd name="connsiteX97" fmla="*/ 290512 w 2245518"/>
                        <a:gd name="connsiteY97" fmla="*/ 1459706 h 1964531"/>
                        <a:gd name="connsiteX98" fmla="*/ 400050 w 2245518"/>
                        <a:gd name="connsiteY98" fmla="*/ 1516856 h 1964531"/>
                        <a:gd name="connsiteX99" fmla="*/ 428625 w 2245518"/>
                        <a:gd name="connsiteY99" fmla="*/ 1669256 h 1964531"/>
                        <a:gd name="connsiteX100" fmla="*/ 450056 w 2245518"/>
                        <a:gd name="connsiteY100" fmla="*/ 1964531 h 1964531"/>
                        <a:gd name="connsiteX0" fmla="*/ 450056 w 2245518"/>
                        <a:gd name="connsiteY0" fmla="*/ 1964531 h 1964531"/>
                        <a:gd name="connsiteX1" fmla="*/ 914400 w 2245518"/>
                        <a:gd name="connsiteY1" fmla="*/ 1888331 h 1964531"/>
                        <a:gd name="connsiteX2" fmla="*/ 921543 w 2245518"/>
                        <a:gd name="connsiteY2" fmla="*/ 1835943 h 1964531"/>
                        <a:gd name="connsiteX3" fmla="*/ 962025 w 2245518"/>
                        <a:gd name="connsiteY3" fmla="*/ 1752600 h 1964531"/>
                        <a:gd name="connsiteX4" fmla="*/ 1033462 w 2245518"/>
                        <a:gd name="connsiteY4" fmla="*/ 1757362 h 1964531"/>
                        <a:gd name="connsiteX5" fmla="*/ 1276350 w 2245518"/>
                        <a:gd name="connsiteY5" fmla="*/ 1507331 h 1964531"/>
                        <a:gd name="connsiteX6" fmla="*/ 1316831 w 2245518"/>
                        <a:gd name="connsiteY6" fmla="*/ 1521618 h 1964531"/>
                        <a:gd name="connsiteX7" fmla="*/ 1343025 w 2245518"/>
                        <a:gd name="connsiteY7" fmla="*/ 1421606 h 1964531"/>
                        <a:gd name="connsiteX8" fmla="*/ 1469231 w 2245518"/>
                        <a:gd name="connsiteY8" fmla="*/ 1440656 h 1964531"/>
                        <a:gd name="connsiteX9" fmla="*/ 1571625 w 2245518"/>
                        <a:gd name="connsiteY9" fmla="*/ 1240631 h 1964531"/>
                        <a:gd name="connsiteX10" fmla="*/ 1688306 w 2245518"/>
                        <a:gd name="connsiteY10" fmla="*/ 1231106 h 1964531"/>
                        <a:gd name="connsiteX11" fmla="*/ 1816893 w 2245518"/>
                        <a:gd name="connsiteY11" fmla="*/ 1350168 h 1964531"/>
                        <a:gd name="connsiteX12" fmla="*/ 1850231 w 2245518"/>
                        <a:gd name="connsiteY12" fmla="*/ 1404937 h 1964531"/>
                        <a:gd name="connsiteX13" fmla="*/ 1847850 w 2245518"/>
                        <a:gd name="connsiteY13" fmla="*/ 1433512 h 1964531"/>
                        <a:gd name="connsiteX14" fmla="*/ 1935956 w 2245518"/>
                        <a:gd name="connsiteY14" fmla="*/ 1488281 h 1964531"/>
                        <a:gd name="connsiteX15" fmla="*/ 2000250 w 2245518"/>
                        <a:gd name="connsiteY15" fmla="*/ 1431131 h 1964531"/>
                        <a:gd name="connsiteX16" fmla="*/ 2245518 w 2245518"/>
                        <a:gd name="connsiteY16" fmla="*/ 1254918 h 1964531"/>
                        <a:gd name="connsiteX17" fmla="*/ 2219325 w 2245518"/>
                        <a:gd name="connsiteY17" fmla="*/ 1209675 h 1964531"/>
                        <a:gd name="connsiteX18" fmla="*/ 2190750 w 2245518"/>
                        <a:gd name="connsiteY18" fmla="*/ 1185862 h 1964531"/>
                        <a:gd name="connsiteX19" fmla="*/ 2195512 w 2245518"/>
                        <a:gd name="connsiteY19" fmla="*/ 1145381 h 1964531"/>
                        <a:gd name="connsiteX20" fmla="*/ 2164556 w 2245518"/>
                        <a:gd name="connsiteY20" fmla="*/ 1064418 h 1964531"/>
                        <a:gd name="connsiteX21" fmla="*/ 2121693 w 2245518"/>
                        <a:gd name="connsiteY21" fmla="*/ 1033462 h 1964531"/>
                        <a:gd name="connsiteX22" fmla="*/ 1974056 w 2245518"/>
                        <a:gd name="connsiteY22" fmla="*/ 952500 h 1964531"/>
                        <a:gd name="connsiteX23" fmla="*/ 1997868 w 2245518"/>
                        <a:gd name="connsiteY23" fmla="*/ 895350 h 1964531"/>
                        <a:gd name="connsiteX24" fmla="*/ 1971675 w 2245518"/>
                        <a:gd name="connsiteY24" fmla="*/ 871537 h 1964531"/>
                        <a:gd name="connsiteX25" fmla="*/ 1921668 w 2245518"/>
                        <a:gd name="connsiteY25" fmla="*/ 909637 h 1964531"/>
                        <a:gd name="connsiteX26" fmla="*/ 1838325 w 2245518"/>
                        <a:gd name="connsiteY26" fmla="*/ 828675 h 1964531"/>
                        <a:gd name="connsiteX27" fmla="*/ 1862137 w 2245518"/>
                        <a:gd name="connsiteY27" fmla="*/ 785812 h 1964531"/>
                        <a:gd name="connsiteX28" fmla="*/ 1852612 w 2245518"/>
                        <a:gd name="connsiteY28" fmla="*/ 688181 h 1964531"/>
                        <a:gd name="connsiteX29" fmla="*/ 1950243 w 2245518"/>
                        <a:gd name="connsiteY29" fmla="*/ 571500 h 1964531"/>
                        <a:gd name="connsiteX30" fmla="*/ 1988343 w 2245518"/>
                        <a:gd name="connsiteY30" fmla="*/ 547687 h 1964531"/>
                        <a:gd name="connsiteX31" fmla="*/ 1952625 w 2245518"/>
                        <a:gd name="connsiteY31" fmla="*/ 411956 h 1964531"/>
                        <a:gd name="connsiteX32" fmla="*/ 1881187 w 2245518"/>
                        <a:gd name="connsiteY32" fmla="*/ 290512 h 1964531"/>
                        <a:gd name="connsiteX33" fmla="*/ 1874043 w 2245518"/>
                        <a:gd name="connsiteY33" fmla="*/ 259556 h 1964531"/>
                        <a:gd name="connsiteX34" fmla="*/ 1912143 w 2245518"/>
                        <a:gd name="connsiteY34" fmla="*/ 238125 h 1964531"/>
                        <a:gd name="connsiteX35" fmla="*/ 1850231 w 2245518"/>
                        <a:gd name="connsiteY35" fmla="*/ 142875 h 1964531"/>
                        <a:gd name="connsiteX36" fmla="*/ 1807368 w 2245518"/>
                        <a:gd name="connsiteY36" fmla="*/ 183356 h 1964531"/>
                        <a:gd name="connsiteX37" fmla="*/ 1809750 w 2245518"/>
                        <a:gd name="connsiteY37" fmla="*/ 90487 h 1964531"/>
                        <a:gd name="connsiteX38" fmla="*/ 1731168 w 2245518"/>
                        <a:gd name="connsiteY38" fmla="*/ 97631 h 1964531"/>
                        <a:gd name="connsiteX39" fmla="*/ 1716881 w 2245518"/>
                        <a:gd name="connsiteY39" fmla="*/ 140493 h 1964531"/>
                        <a:gd name="connsiteX40" fmla="*/ 1697831 w 2245518"/>
                        <a:gd name="connsiteY40" fmla="*/ 180975 h 1964531"/>
                        <a:gd name="connsiteX41" fmla="*/ 1688306 w 2245518"/>
                        <a:gd name="connsiteY41" fmla="*/ 219075 h 1964531"/>
                        <a:gd name="connsiteX42" fmla="*/ 1633537 w 2245518"/>
                        <a:gd name="connsiteY42" fmla="*/ 266700 h 1964531"/>
                        <a:gd name="connsiteX43" fmla="*/ 1485900 w 2245518"/>
                        <a:gd name="connsiteY43" fmla="*/ 273843 h 1964531"/>
                        <a:gd name="connsiteX44" fmla="*/ 1445418 w 2245518"/>
                        <a:gd name="connsiteY44" fmla="*/ 271462 h 1964531"/>
                        <a:gd name="connsiteX45" fmla="*/ 1412081 w 2245518"/>
                        <a:gd name="connsiteY45" fmla="*/ 216693 h 1964531"/>
                        <a:gd name="connsiteX46" fmla="*/ 1376362 w 2245518"/>
                        <a:gd name="connsiteY46" fmla="*/ 216693 h 1964531"/>
                        <a:gd name="connsiteX47" fmla="*/ 1366837 w 2245518"/>
                        <a:gd name="connsiteY47" fmla="*/ 254793 h 1964531"/>
                        <a:gd name="connsiteX48" fmla="*/ 1352550 w 2245518"/>
                        <a:gd name="connsiteY48" fmla="*/ 302418 h 1964531"/>
                        <a:gd name="connsiteX49" fmla="*/ 1309687 w 2245518"/>
                        <a:gd name="connsiteY49" fmla="*/ 311943 h 1964531"/>
                        <a:gd name="connsiteX50" fmla="*/ 1266825 w 2245518"/>
                        <a:gd name="connsiteY50" fmla="*/ 280987 h 1964531"/>
                        <a:gd name="connsiteX51" fmla="*/ 1238250 w 2245518"/>
                        <a:gd name="connsiteY51" fmla="*/ 252412 h 1964531"/>
                        <a:gd name="connsiteX52" fmla="*/ 1178718 w 2245518"/>
                        <a:gd name="connsiteY52" fmla="*/ 266700 h 1964531"/>
                        <a:gd name="connsiteX53" fmla="*/ 1088231 w 2245518"/>
                        <a:gd name="connsiteY53" fmla="*/ 192881 h 1964531"/>
                        <a:gd name="connsiteX54" fmla="*/ 1095375 w 2245518"/>
                        <a:gd name="connsiteY54" fmla="*/ 111918 h 1964531"/>
                        <a:gd name="connsiteX55" fmla="*/ 1000125 w 2245518"/>
                        <a:gd name="connsiteY55" fmla="*/ 85725 h 1964531"/>
                        <a:gd name="connsiteX56" fmla="*/ 947737 w 2245518"/>
                        <a:gd name="connsiteY56" fmla="*/ 76200 h 1964531"/>
                        <a:gd name="connsiteX57" fmla="*/ 902493 w 2245518"/>
                        <a:gd name="connsiteY57" fmla="*/ 133350 h 1964531"/>
                        <a:gd name="connsiteX58" fmla="*/ 850106 w 2245518"/>
                        <a:gd name="connsiteY58" fmla="*/ 150018 h 1964531"/>
                        <a:gd name="connsiteX59" fmla="*/ 816768 w 2245518"/>
                        <a:gd name="connsiteY59" fmla="*/ 97631 h 1964531"/>
                        <a:gd name="connsiteX60" fmla="*/ 797718 w 2245518"/>
                        <a:gd name="connsiteY60" fmla="*/ 80962 h 1964531"/>
                        <a:gd name="connsiteX61" fmla="*/ 685800 w 2245518"/>
                        <a:gd name="connsiteY61" fmla="*/ 66675 h 1964531"/>
                        <a:gd name="connsiteX62" fmla="*/ 645318 w 2245518"/>
                        <a:gd name="connsiteY62" fmla="*/ 92868 h 1964531"/>
                        <a:gd name="connsiteX63" fmla="*/ 597693 w 2245518"/>
                        <a:gd name="connsiteY63" fmla="*/ 107156 h 1964531"/>
                        <a:gd name="connsiteX64" fmla="*/ 569118 w 2245518"/>
                        <a:gd name="connsiteY64" fmla="*/ 154781 h 1964531"/>
                        <a:gd name="connsiteX65" fmla="*/ 528637 w 2245518"/>
                        <a:gd name="connsiteY65" fmla="*/ 176212 h 1964531"/>
                        <a:gd name="connsiteX66" fmla="*/ 471487 w 2245518"/>
                        <a:gd name="connsiteY66" fmla="*/ 188118 h 1964531"/>
                        <a:gd name="connsiteX67" fmla="*/ 421481 w 2245518"/>
                        <a:gd name="connsiteY67" fmla="*/ 135731 h 1964531"/>
                        <a:gd name="connsiteX68" fmla="*/ 350043 w 2245518"/>
                        <a:gd name="connsiteY68" fmla="*/ 59531 h 1964531"/>
                        <a:gd name="connsiteX69" fmla="*/ 300037 w 2245518"/>
                        <a:gd name="connsiteY69" fmla="*/ 0 h 1964531"/>
                        <a:gd name="connsiteX70" fmla="*/ 240506 w 2245518"/>
                        <a:gd name="connsiteY70" fmla="*/ 52387 h 1964531"/>
                        <a:gd name="connsiteX71" fmla="*/ 278606 w 2245518"/>
                        <a:gd name="connsiteY71" fmla="*/ 85725 h 1964531"/>
                        <a:gd name="connsiteX72" fmla="*/ 285750 w 2245518"/>
                        <a:gd name="connsiteY72" fmla="*/ 119062 h 1964531"/>
                        <a:gd name="connsiteX73" fmla="*/ 285750 w 2245518"/>
                        <a:gd name="connsiteY73" fmla="*/ 140493 h 1964531"/>
                        <a:gd name="connsiteX74" fmla="*/ 264318 w 2245518"/>
                        <a:gd name="connsiteY74" fmla="*/ 169068 h 1964531"/>
                        <a:gd name="connsiteX75" fmla="*/ 238125 w 2245518"/>
                        <a:gd name="connsiteY75" fmla="*/ 178593 h 1964531"/>
                        <a:gd name="connsiteX76" fmla="*/ 269081 w 2245518"/>
                        <a:gd name="connsiteY76" fmla="*/ 188118 h 1964531"/>
                        <a:gd name="connsiteX77" fmla="*/ 245268 w 2245518"/>
                        <a:gd name="connsiteY77" fmla="*/ 214312 h 1964531"/>
                        <a:gd name="connsiteX78" fmla="*/ 254793 w 2245518"/>
                        <a:gd name="connsiteY78" fmla="*/ 292893 h 1964531"/>
                        <a:gd name="connsiteX79" fmla="*/ 269081 w 2245518"/>
                        <a:gd name="connsiteY79" fmla="*/ 352425 h 1964531"/>
                        <a:gd name="connsiteX80" fmla="*/ 171450 w 2245518"/>
                        <a:gd name="connsiteY80" fmla="*/ 447675 h 1964531"/>
                        <a:gd name="connsiteX81" fmla="*/ 88106 w 2245518"/>
                        <a:gd name="connsiteY81" fmla="*/ 454818 h 1964531"/>
                        <a:gd name="connsiteX82" fmla="*/ 40481 w 2245518"/>
                        <a:gd name="connsiteY82" fmla="*/ 469106 h 1964531"/>
                        <a:gd name="connsiteX83" fmla="*/ 0 w 2245518"/>
                        <a:gd name="connsiteY83" fmla="*/ 531018 h 1964531"/>
                        <a:gd name="connsiteX84" fmla="*/ 59531 w 2245518"/>
                        <a:gd name="connsiteY84" fmla="*/ 583406 h 1964531"/>
                        <a:gd name="connsiteX85" fmla="*/ 95250 w 2245518"/>
                        <a:gd name="connsiteY85" fmla="*/ 602456 h 1964531"/>
                        <a:gd name="connsiteX86" fmla="*/ 61912 w 2245518"/>
                        <a:gd name="connsiteY86" fmla="*/ 619125 h 1964531"/>
                        <a:gd name="connsiteX87" fmla="*/ 61912 w 2245518"/>
                        <a:gd name="connsiteY87" fmla="*/ 726281 h 1964531"/>
                        <a:gd name="connsiteX88" fmla="*/ 147637 w 2245518"/>
                        <a:gd name="connsiteY88" fmla="*/ 766762 h 1964531"/>
                        <a:gd name="connsiteX89" fmla="*/ 185737 w 2245518"/>
                        <a:gd name="connsiteY89" fmla="*/ 745331 h 1964531"/>
                        <a:gd name="connsiteX90" fmla="*/ 245268 w 2245518"/>
                        <a:gd name="connsiteY90" fmla="*/ 792956 h 1964531"/>
                        <a:gd name="connsiteX91" fmla="*/ 207168 w 2245518"/>
                        <a:gd name="connsiteY91" fmla="*/ 835818 h 1964531"/>
                        <a:gd name="connsiteX92" fmla="*/ 223837 w 2245518"/>
                        <a:gd name="connsiteY92" fmla="*/ 997743 h 1964531"/>
                        <a:gd name="connsiteX93" fmla="*/ 250031 w 2245518"/>
                        <a:gd name="connsiteY93" fmla="*/ 1057275 h 1964531"/>
                        <a:gd name="connsiteX94" fmla="*/ 223837 w 2245518"/>
                        <a:gd name="connsiteY94" fmla="*/ 1104900 h 1964531"/>
                        <a:gd name="connsiteX95" fmla="*/ 173831 w 2245518"/>
                        <a:gd name="connsiteY95" fmla="*/ 1226343 h 1964531"/>
                        <a:gd name="connsiteX96" fmla="*/ 197643 w 2245518"/>
                        <a:gd name="connsiteY96" fmla="*/ 1381125 h 1964531"/>
                        <a:gd name="connsiteX97" fmla="*/ 290512 w 2245518"/>
                        <a:gd name="connsiteY97" fmla="*/ 1459706 h 1964531"/>
                        <a:gd name="connsiteX98" fmla="*/ 400050 w 2245518"/>
                        <a:gd name="connsiteY98" fmla="*/ 1516856 h 1964531"/>
                        <a:gd name="connsiteX99" fmla="*/ 428625 w 2245518"/>
                        <a:gd name="connsiteY99" fmla="*/ 1669256 h 1964531"/>
                        <a:gd name="connsiteX100" fmla="*/ 450056 w 2245518"/>
                        <a:gd name="connsiteY100" fmla="*/ 1964531 h 1964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</a:cxnLst>
                      <a:rect l="l" t="t" r="r" b="b"/>
                      <a:pathLst>
                        <a:path w="2245518" h="1964531">
                          <a:moveTo>
                            <a:pt x="450056" y="1964531"/>
                          </a:moveTo>
                          <a:lnTo>
                            <a:pt x="914400" y="1888331"/>
                          </a:lnTo>
                          <a:lnTo>
                            <a:pt x="921543" y="1835943"/>
                          </a:lnTo>
                          <a:lnTo>
                            <a:pt x="962025" y="1752600"/>
                          </a:lnTo>
                          <a:lnTo>
                            <a:pt x="1033462" y="1757362"/>
                          </a:lnTo>
                          <a:lnTo>
                            <a:pt x="1276350" y="1507331"/>
                          </a:lnTo>
                          <a:lnTo>
                            <a:pt x="1316831" y="1521618"/>
                          </a:lnTo>
                          <a:lnTo>
                            <a:pt x="1343025" y="1421606"/>
                          </a:lnTo>
                          <a:lnTo>
                            <a:pt x="1469231" y="1440656"/>
                          </a:lnTo>
                          <a:lnTo>
                            <a:pt x="1571625" y="1240631"/>
                          </a:lnTo>
                          <a:lnTo>
                            <a:pt x="1688306" y="1231106"/>
                          </a:lnTo>
                          <a:lnTo>
                            <a:pt x="1816893" y="1350168"/>
                          </a:lnTo>
                          <a:lnTo>
                            <a:pt x="1850231" y="1404937"/>
                          </a:lnTo>
                          <a:lnTo>
                            <a:pt x="1847850" y="1433512"/>
                          </a:lnTo>
                          <a:lnTo>
                            <a:pt x="1935956" y="1488281"/>
                          </a:lnTo>
                          <a:lnTo>
                            <a:pt x="2000250" y="1431131"/>
                          </a:lnTo>
                          <a:lnTo>
                            <a:pt x="2245518" y="1254918"/>
                          </a:lnTo>
                          <a:lnTo>
                            <a:pt x="2219325" y="1209675"/>
                          </a:lnTo>
                          <a:lnTo>
                            <a:pt x="2190750" y="1185862"/>
                          </a:lnTo>
                          <a:lnTo>
                            <a:pt x="2195512" y="1145381"/>
                          </a:lnTo>
                          <a:lnTo>
                            <a:pt x="2164556" y="1064418"/>
                          </a:lnTo>
                          <a:lnTo>
                            <a:pt x="2121693" y="1033462"/>
                          </a:lnTo>
                          <a:lnTo>
                            <a:pt x="1974056" y="952500"/>
                          </a:lnTo>
                          <a:lnTo>
                            <a:pt x="1997868" y="895350"/>
                          </a:lnTo>
                          <a:lnTo>
                            <a:pt x="1971675" y="871537"/>
                          </a:lnTo>
                          <a:lnTo>
                            <a:pt x="1921668" y="909637"/>
                          </a:lnTo>
                          <a:lnTo>
                            <a:pt x="1838325" y="828675"/>
                          </a:lnTo>
                          <a:lnTo>
                            <a:pt x="1862137" y="785812"/>
                          </a:lnTo>
                          <a:lnTo>
                            <a:pt x="1852612" y="688181"/>
                          </a:lnTo>
                          <a:lnTo>
                            <a:pt x="1950243" y="571500"/>
                          </a:lnTo>
                          <a:lnTo>
                            <a:pt x="1988343" y="547687"/>
                          </a:lnTo>
                          <a:lnTo>
                            <a:pt x="1952625" y="411956"/>
                          </a:lnTo>
                          <a:lnTo>
                            <a:pt x="1881187" y="290512"/>
                          </a:lnTo>
                          <a:lnTo>
                            <a:pt x="1874043" y="259556"/>
                          </a:lnTo>
                          <a:lnTo>
                            <a:pt x="1912143" y="238125"/>
                          </a:lnTo>
                          <a:lnTo>
                            <a:pt x="1850231" y="142875"/>
                          </a:lnTo>
                          <a:lnTo>
                            <a:pt x="1807368" y="183356"/>
                          </a:lnTo>
                          <a:lnTo>
                            <a:pt x="1809750" y="90487"/>
                          </a:lnTo>
                          <a:lnTo>
                            <a:pt x="1731168" y="97631"/>
                          </a:lnTo>
                          <a:lnTo>
                            <a:pt x="1716881" y="140493"/>
                          </a:lnTo>
                          <a:lnTo>
                            <a:pt x="1697831" y="180975"/>
                          </a:lnTo>
                          <a:lnTo>
                            <a:pt x="1688306" y="219075"/>
                          </a:lnTo>
                          <a:lnTo>
                            <a:pt x="1633537" y="266700"/>
                          </a:lnTo>
                          <a:lnTo>
                            <a:pt x="1485900" y="273843"/>
                          </a:lnTo>
                          <a:lnTo>
                            <a:pt x="1445418" y="271462"/>
                          </a:lnTo>
                          <a:lnTo>
                            <a:pt x="1412081" y="216693"/>
                          </a:lnTo>
                          <a:lnTo>
                            <a:pt x="1376362" y="216693"/>
                          </a:lnTo>
                          <a:lnTo>
                            <a:pt x="1366837" y="254793"/>
                          </a:lnTo>
                          <a:lnTo>
                            <a:pt x="1352550" y="302418"/>
                          </a:lnTo>
                          <a:lnTo>
                            <a:pt x="1309687" y="311943"/>
                          </a:lnTo>
                          <a:lnTo>
                            <a:pt x="1266825" y="280987"/>
                          </a:lnTo>
                          <a:lnTo>
                            <a:pt x="1238250" y="252412"/>
                          </a:lnTo>
                          <a:lnTo>
                            <a:pt x="1178718" y="266700"/>
                          </a:lnTo>
                          <a:lnTo>
                            <a:pt x="1088231" y="192881"/>
                          </a:lnTo>
                          <a:lnTo>
                            <a:pt x="1095375" y="111918"/>
                          </a:lnTo>
                          <a:lnTo>
                            <a:pt x="1000125" y="85725"/>
                          </a:lnTo>
                          <a:lnTo>
                            <a:pt x="947737" y="76200"/>
                          </a:lnTo>
                          <a:lnTo>
                            <a:pt x="902493" y="133350"/>
                          </a:lnTo>
                          <a:lnTo>
                            <a:pt x="850106" y="150018"/>
                          </a:lnTo>
                          <a:lnTo>
                            <a:pt x="816768" y="97631"/>
                          </a:lnTo>
                          <a:lnTo>
                            <a:pt x="797718" y="80962"/>
                          </a:lnTo>
                          <a:lnTo>
                            <a:pt x="685800" y="66675"/>
                          </a:lnTo>
                          <a:lnTo>
                            <a:pt x="645318" y="92868"/>
                          </a:lnTo>
                          <a:lnTo>
                            <a:pt x="597693" y="107156"/>
                          </a:lnTo>
                          <a:lnTo>
                            <a:pt x="569118" y="154781"/>
                          </a:lnTo>
                          <a:lnTo>
                            <a:pt x="528637" y="176212"/>
                          </a:lnTo>
                          <a:lnTo>
                            <a:pt x="471487" y="188118"/>
                          </a:lnTo>
                          <a:lnTo>
                            <a:pt x="421481" y="135731"/>
                          </a:lnTo>
                          <a:lnTo>
                            <a:pt x="350043" y="59531"/>
                          </a:lnTo>
                          <a:lnTo>
                            <a:pt x="300037" y="0"/>
                          </a:lnTo>
                          <a:lnTo>
                            <a:pt x="240506" y="52387"/>
                          </a:lnTo>
                          <a:lnTo>
                            <a:pt x="278606" y="85725"/>
                          </a:lnTo>
                          <a:lnTo>
                            <a:pt x="285750" y="119062"/>
                          </a:lnTo>
                          <a:lnTo>
                            <a:pt x="285750" y="140493"/>
                          </a:lnTo>
                          <a:lnTo>
                            <a:pt x="264318" y="169068"/>
                          </a:lnTo>
                          <a:lnTo>
                            <a:pt x="238125" y="178593"/>
                          </a:lnTo>
                          <a:lnTo>
                            <a:pt x="269081" y="188118"/>
                          </a:lnTo>
                          <a:lnTo>
                            <a:pt x="245268" y="214312"/>
                          </a:lnTo>
                          <a:lnTo>
                            <a:pt x="254793" y="292893"/>
                          </a:lnTo>
                          <a:lnTo>
                            <a:pt x="269081" y="352425"/>
                          </a:lnTo>
                          <a:lnTo>
                            <a:pt x="171450" y="447675"/>
                          </a:lnTo>
                          <a:lnTo>
                            <a:pt x="88106" y="454818"/>
                          </a:lnTo>
                          <a:lnTo>
                            <a:pt x="40481" y="469106"/>
                          </a:lnTo>
                          <a:lnTo>
                            <a:pt x="0" y="531018"/>
                          </a:lnTo>
                          <a:lnTo>
                            <a:pt x="59531" y="583406"/>
                          </a:lnTo>
                          <a:lnTo>
                            <a:pt x="95250" y="602456"/>
                          </a:lnTo>
                          <a:lnTo>
                            <a:pt x="61912" y="619125"/>
                          </a:lnTo>
                          <a:lnTo>
                            <a:pt x="61912" y="726281"/>
                          </a:lnTo>
                          <a:lnTo>
                            <a:pt x="147637" y="766762"/>
                          </a:lnTo>
                          <a:lnTo>
                            <a:pt x="185737" y="745331"/>
                          </a:lnTo>
                          <a:lnTo>
                            <a:pt x="245268" y="792956"/>
                          </a:lnTo>
                          <a:lnTo>
                            <a:pt x="207168" y="835818"/>
                          </a:lnTo>
                          <a:lnTo>
                            <a:pt x="223837" y="997743"/>
                          </a:lnTo>
                          <a:lnTo>
                            <a:pt x="250031" y="1057275"/>
                          </a:lnTo>
                          <a:lnTo>
                            <a:pt x="223837" y="1104900"/>
                          </a:lnTo>
                          <a:lnTo>
                            <a:pt x="173831" y="1226343"/>
                          </a:lnTo>
                          <a:lnTo>
                            <a:pt x="197643" y="1381125"/>
                          </a:lnTo>
                          <a:lnTo>
                            <a:pt x="290512" y="1459706"/>
                          </a:lnTo>
                          <a:lnTo>
                            <a:pt x="400050" y="1516856"/>
                          </a:lnTo>
                          <a:lnTo>
                            <a:pt x="428625" y="1669256"/>
                          </a:lnTo>
                          <a:lnTo>
                            <a:pt x="450056" y="1964531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26" name="Freeform 11"/>
                    <p:cNvSpPr/>
                    <p:nvPr/>
                  </p:nvSpPr>
                  <p:spPr>
                    <a:xfrm>
                      <a:off x="2791961" y="2527167"/>
                      <a:ext cx="1526370" cy="1191359"/>
                    </a:xfrm>
                    <a:custGeom>
                      <a:avLst/>
                      <a:gdLst>
                        <a:gd name="connsiteX0" fmla="*/ 0 w 2171700"/>
                        <a:gd name="connsiteY0" fmla="*/ 652462 h 1828800"/>
                        <a:gd name="connsiteX1" fmla="*/ 295275 w 2171700"/>
                        <a:gd name="connsiteY1" fmla="*/ 892968 h 1828800"/>
                        <a:gd name="connsiteX2" fmla="*/ 485775 w 2171700"/>
                        <a:gd name="connsiteY2" fmla="*/ 1054893 h 1828800"/>
                        <a:gd name="connsiteX3" fmla="*/ 547688 w 2171700"/>
                        <a:gd name="connsiteY3" fmla="*/ 1097756 h 1828800"/>
                        <a:gd name="connsiteX4" fmla="*/ 566738 w 2171700"/>
                        <a:gd name="connsiteY4" fmla="*/ 1140618 h 1828800"/>
                        <a:gd name="connsiteX5" fmla="*/ 545307 w 2171700"/>
                        <a:gd name="connsiteY5" fmla="*/ 1157287 h 1828800"/>
                        <a:gd name="connsiteX6" fmla="*/ 754857 w 2171700"/>
                        <a:gd name="connsiteY6" fmla="*/ 1423987 h 1828800"/>
                        <a:gd name="connsiteX7" fmla="*/ 909638 w 2171700"/>
                        <a:gd name="connsiteY7" fmla="*/ 1388268 h 1828800"/>
                        <a:gd name="connsiteX8" fmla="*/ 1023938 w 2171700"/>
                        <a:gd name="connsiteY8" fmla="*/ 1378743 h 1828800"/>
                        <a:gd name="connsiteX9" fmla="*/ 1109663 w 2171700"/>
                        <a:gd name="connsiteY9" fmla="*/ 1395412 h 1828800"/>
                        <a:gd name="connsiteX10" fmla="*/ 1228725 w 2171700"/>
                        <a:gd name="connsiteY10" fmla="*/ 1404937 h 1828800"/>
                        <a:gd name="connsiteX11" fmla="*/ 1328738 w 2171700"/>
                        <a:gd name="connsiteY11" fmla="*/ 1416843 h 1828800"/>
                        <a:gd name="connsiteX12" fmla="*/ 1428750 w 2171700"/>
                        <a:gd name="connsiteY12" fmla="*/ 1359693 h 1828800"/>
                        <a:gd name="connsiteX13" fmla="*/ 1500188 w 2171700"/>
                        <a:gd name="connsiteY13" fmla="*/ 1450181 h 1828800"/>
                        <a:gd name="connsiteX14" fmla="*/ 1590675 w 2171700"/>
                        <a:gd name="connsiteY14" fmla="*/ 1502568 h 1828800"/>
                        <a:gd name="connsiteX15" fmla="*/ 1643063 w 2171700"/>
                        <a:gd name="connsiteY15" fmla="*/ 1650206 h 1828800"/>
                        <a:gd name="connsiteX16" fmla="*/ 1728788 w 2171700"/>
                        <a:gd name="connsiteY16" fmla="*/ 1600200 h 1828800"/>
                        <a:gd name="connsiteX17" fmla="*/ 1709738 w 2171700"/>
                        <a:gd name="connsiteY17" fmla="*/ 1828800 h 1828800"/>
                        <a:gd name="connsiteX18" fmla="*/ 1909763 w 2171700"/>
                        <a:gd name="connsiteY18" fmla="*/ 1676400 h 1828800"/>
                        <a:gd name="connsiteX19" fmla="*/ 1985963 w 2171700"/>
                        <a:gd name="connsiteY19" fmla="*/ 1645443 h 1828800"/>
                        <a:gd name="connsiteX20" fmla="*/ 2131219 w 2171700"/>
                        <a:gd name="connsiteY20" fmla="*/ 1545431 h 1828800"/>
                        <a:gd name="connsiteX21" fmla="*/ 2081213 w 2171700"/>
                        <a:gd name="connsiteY21" fmla="*/ 1471612 h 1828800"/>
                        <a:gd name="connsiteX22" fmla="*/ 2169319 w 2171700"/>
                        <a:gd name="connsiteY22" fmla="*/ 1395412 h 1828800"/>
                        <a:gd name="connsiteX23" fmla="*/ 2162175 w 2171700"/>
                        <a:gd name="connsiteY23" fmla="*/ 1345406 h 1828800"/>
                        <a:gd name="connsiteX24" fmla="*/ 2169319 w 2171700"/>
                        <a:gd name="connsiteY24" fmla="*/ 1290637 h 1828800"/>
                        <a:gd name="connsiteX25" fmla="*/ 2171700 w 2171700"/>
                        <a:gd name="connsiteY25" fmla="*/ 1259681 h 1828800"/>
                        <a:gd name="connsiteX26" fmla="*/ 2062163 w 2171700"/>
                        <a:gd name="connsiteY26" fmla="*/ 1171575 h 1828800"/>
                        <a:gd name="connsiteX27" fmla="*/ 2059782 w 2171700"/>
                        <a:gd name="connsiteY27" fmla="*/ 947737 h 1828800"/>
                        <a:gd name="connsiteX28" fmla="*/ 1988344 w 2171700"/>
                        <a:gd name="connsiteY28" fmla="*/ 847725 h 1828800"/>
                        <a:gd name="connsiteX29" fmla="*/ 2019300 w 2171700"/>
                        <a:gd name="connsiteY29" fmla="*/ 657225 h 1828800"/>
                        <a:gd name="connsiteX30" fmla="*/ 1990725 w 2171700"/>
                        <a:gd name="connsiteY30" fmla="*/ 619125 h 1828800"/>
                        <a:gd name="connsiteX31" fmla="*/ 1976438 w 2171700"/>
                        <a:gd name="connsiteY31" fmla="*/ 597693 h 1828800"/>
                        <a:gd name="connsiteX32" fmla="*/ 1916907 w 2171700"/>
                        <a:gd name="connsiteY32" fmla="*/ 597693 h 1828800"/>
                        <a:gd name="connsiteX33" fmla="*/ 1864519 w 2171700"/>
                        <a:gd name="connsiteY33" fmla="*/ 590550 h 1828800"/>
                        <a:gd name="connsiteX34" fmla="*/ 1831182 w 2171700"/>
                        <a:gd name="connsiteY34" fmla="*/ 619125 h 1828800"/>
                        <a:gd name="connsiteX35" fmla="*/ 1621632 w 2171700"/>
                        <a:gd name="connsiteY35" fmla="*/ 609600 h 1828800"/>
                        <a:gd name="connsiteX36" fmla="*/ 1516857 w 2171700"/>
                        <a:gd name="connsiteY36" fmla="*/ 509587 h 1828800"/>
                        <a:gd name="connsiteX37" fmla="*/ 1250157 w 2171700"/>
                        <a:gd name="connsiteY37" fmla="*/ 390525 h 1828800"/>
                        <a:gd name="connsiteX38" fmla="*/ 1135857 w 2171700"/>
                        <a:gd name="connsiteY38" fmla="*/ 335756 h 1828800"/>
                        <a:gd name="connsiteX39" fmla="*/ 1083469 w 2171700"/>
                        <a:gd name="connsiteY39" fmla="*/ 273843 h 1828800"/>
                        <a:gd name="connsiteX40" fmla="*/ 1040607 w 2171700"/>
                        <a:gd name="connsiteY40" fmla="*/ 271462 h 1828800"/>
                        <a:gd name="connsiteX41" fmla="*/ 947738 w 2171700"/>
                        <a:gd name="connsiteY41" fmla="*/ 190500 h 1828800"/>
                        <a:gd name="connsiteX42" fmla="*/ 950119 w 2171700"/>
                        <a:gd name="connsiteY42" fmla="*/ 159543 h 1828800"/>
                        <a:gd name="connsiteX43" fmla="*/ 878682 w 2171700"/>
                        <a:gd name="connsiteY43" fmla="*/ 76200 h 1828800"/>
                        <a:gd name="connsiteX44" fmla="*/ 797719 w 2171700"/>
                        <a:gd name="connsiteY44" fmla="*/ 0 h 1828800"/>
                        <a:gd name="connsiteX45" fmla="*/ 685800 w 2171700"/>
                        <a:gd name="connsiteY45" fmla="*/ 0 h 1828800"/>
                        <a:gd name="connsiteX46" fmla="*/ 640557 w 2171700"/>
                        <a:gd name="connsiteY46" fmla="*/ 71437 h 1828800"/>
                        <a:gd name="connsiteX47" fmla="*/ 576263 w 2171700"/>
                        <a:gd name="connsiteY47" fmla="*/ 202406 h 1828800"/>
                        <a:gd name="connsiteX48" fmla="*/ 452438 w 2171700"/>
                        <a:gd name="connsiteY48" fmla="*/ 185737 h 1828800"/>
                        <a:gd name="connsiteX49" fmla="*/ 423863 w 2171700"/>
                        <a:gd name="connsiteY49" fmla="*/ 288131 h 1828800"/>
                        <a:gd name="connsiteX50" fmla="*/ 385763 w 2171700"/>
                        <a:gd name="connsiteY50" fmla="*/ 271462 h 1828800"/>
                        <a:gd name="connsiteX51" fmla="*/ 145257 w 2171700"/>
                        <a:gd name="connsiteY51" fmla="*/ 519112 h 1828800"/>
                        <a:gd name="connsiteX52" fmla="*/ 71438 w 2171700"/>
                        <a:gd name="connsiteY52" fmla="*/ 516731 h 1828800"/>
                        <a:gd name="connsiteX53" fmla="*/ 40482 w 2171700"/>
                        <a:gd name="connsiteY53" fmla="*/ 566737 h 1828800"/>
                        <a:gd name="connsiteX54" fmla="*/ 28575 w 2171700"/>
                        <a:gd name="connsiteY54" fmla="*/ 602456 h 1828800"/>
                        <a:gd name="connsiteX55" fmla="*/ 0 w 2171700"/>
                        <a:gd name="connsiteY55" fmla="*/ 652462 h 1828800"/>
                        <a:gd name="connsiteX0" fmla="*/ 0 w 2171700"/>
                        <a:gd name="connsiteY0" fmla="*/ 652462 h 1828800"/>
                        <a:gd name="connsiteX1" fmla="*/ 295275 w 2171700"/>
                        <a:gd name="connsiteY1" fmla="*/ 892968 h 1828800"/>
                        <a:gd name="connsiteX2" fmla="*/ 485775 w 2171700"/>
                        <a:gd name="connsiteY2" fmla="*/ 1054893 h 1828800"/>
                        <a:gd name="connsiteX3" fmla="*/ 547688 w 2171700"/>
                        <a:gd name="connsiteY3" fmla="*/ 1097756 h 1828800"/>
                        <a:gd name="connsiteX4" fmla="*/ 566738 w 2171700"/>
                        <a:gd name="connsiteY4" fmla="*/ 1140618 h 1828800"/>
                        <a:gd name="connsiteX5" fmla="*/ 545307 w 2171700"/>
                        <a:gd name="connsiteY5" fmla="*/ 1157287 h 1828800"/>
                        <a:gd name="connsiteX6" fmla="*/ 754857 w 2171700"/>
                        <a:gd name="connsiteY6" fmla="*/ 1423987 h 1828800"/>
                        <a:gd name="connsiteX7" fmla="*/ 909638 w 2171700"/>
                        <a:gd name="connsiteY7" fmla="*/ 1388268 h 1828800"/>
                        <a:gd name="connsiteX8" fmla="*/ 1023938 w 2171700"/>
                        <a:gd name="connsiteY8" fmla="*/ 1378743 h 1828800"/>
                        <a:gd name="connsiteX9" fmla="*/ 1109663 w 2171700"/>
                        <a:gd name="connsiteY9" fmla="*/ 1395412 h 1828800"/>
                        <a:gd name="connsiteX10" fmla="*/ 1228725 w 2171700"/>
                        <a:gd name="connsiteY10" fmla="*/ 1404937 h 1828800"/>
                        <a:gd name="connsiteX11" fmla="*/ 1328738 w 2171700"/>
                        <a:gd name="connsiteY11" fmla="*/ 1416843 h 1828800"/>
                        <a:gd name="connsiteX12" fmla="*/ 1428750 w 2171700"/>
                        <a:gd name="connsiteY12" fmla="*/ 1359693 h 1828800"/>
                        <a:gd name="connsiteX13" fmla="*/ 1500188 w 2171700"/>
                        <a:gd name="connsiteY13" fmla="*/ 1450181 h 1828800"/>
                        <a:gd name="connsiteX14" fmla="*/ 1590675 w 2171700"/>
                        <a:gd name="connsiteY14" fmla="*/ 1502568 h 1828800"/>
                        <a:gd name="connsiteX15" fmla="*/ 1643063 w 2171700"/>
                        <a:gd name="connsiteY15" fmla="*/ 1650206 h 1828800"/>
                        <a:gd name="connsiteX16" fmla="*/ 1728788 w 2171700"/>
                        <a:gd name="connsiteY16" fmla="*/ 1600200 h 1828800"/>
                        <a:gd name="connsiteX17" fmla="*/ 1709738 w 2171700"/>
                        <a:gd name="connsiteY17" fmla="*/ 1828800 h 1828800"/>
                        <a:gd name="connsiteX18" fmla="*/ 1909763 w 2171700"/>
                        <a:gd name="connsiteY18" fmla="*/ 1676400 h 1828800"/>
                        <a:gd name="connsiteX19" fmla="*/ 1985963 w 2171700"/>
                        <a:gd name="connsiteY19" fmla="*/ 1645443 h 1828800"/>
                        <a:gd name="connsiteX20" fmla="*/ 2131219 w 2171700"/>
                        <a:gd name="connsiteY20" fmla="*/ 1545431 h 1828800"/>
                        <a:gd name="connsiteX21" fmla="*/ 2081213 w 2171700"/>
                        <a:gd name="connsiteY21" fmla="*/ 1471612 h 1828800"/>
                        <a:gd name="connsiteX22" fmla="*/ 2169319 w 2171700"/>
                        <a:gd name="connsiteY22" fmla="*/ 1395412 h 1828800"/>
                        <a:gd name="connsiteX23" fmla="*/ 2162175 w 2171700"/>
                        <a:gd name="connsiteY23" fmla="*/ 1345406 h 1828800"/>
                        <a:gd name="connsiteX24" fmla="*/ 2169319 w 2171700"/>
                        <a:gd name="connsiteY24" fmla="*/ 1290637 h 1828800"/>
                        <a:gd name="connsiteX25" fmla="*/ 2171700 w 2171700"/>
                        <a:gd name="connsiteY25" fmla="*/ 1259681 h 1828800"/>
                        <a:gd name="connsiteX26" fmla="*/ 2062163 w 2171700"/>
                        <a:gd name="connsiteY26" fmla="*/ 1171575 h 1828800"/>
                        <a:gd name="connsiteX27" fmla="*/ 2059782 w 2171700"/>
                        <a:gd name="connsiteY27" fmla="*/ 947737 h 1828800"/>
                        <a:gd name="connsiteX28" fmla="*/ 1988344 w 2171700"/>
                        <a:gd name="connsiteY28" fmla="*/ 847725 h 1828800"/>
                        <a:gd name="connsiteX29" fmla="*/ 2019300 w 2171700"/>
                        <a:gd name="connsiteY29" fmla="*/ 657225 h 1828800"/>
                        <a:gd name="connsiteX30" fmla="*/ 1990725 w 2171700"/>
                        <a:gd name="connsiteY30" fmla="*/ 619125 h 1828800"/>
                        <a:gd name="connsiteX31" fmla="*/ 1976438 w 2171700"/>
                        <a:gd name="connsiteY31" fmla="*/ 597693 h 1828800"/>
                        <a:gd name="connsiteX32" fmla="*/ 1916907 w 2171700"/>
                        <a:gd name="connsiteY32" fmla="*/ 597693 h 1828800"/>
                        <a:gd name="connsiteX33" fmla="*/ 1864519 w 2171700"/>
                        <a:gd name="connsiteY33" fmla="*/ 590550 h 1828800"/>
                        <a:gd name="connsiteX34" fmla="*/ 1831182 w 2171700"/>
                        <a:gd name="connsiteY34" fmla="*/ 619125 h 1828800"/>
                        <a:gd name="connsiteX35" fmla="*/ 1621632 w 2171700"/>
                        <a:gd name="connsiteY35" fmla="*/ 609600 h 1828800"/>
                        <a:gd name="connsiteX36" fmla="*/ 1516857 w 2171700"/>
                        <a:gd name="connsiteY36" fmla="*/ 509587 h 1828800"/>
                        <a:gd name="connsiteX37" fmla="*/ 1250157 w 2171700"/>
                        <a:gd name="connsiteY37" fmla="*/ 390525 h 1828800"/>
                        <a:gd name="connsiteX38" fmla="*/ 1135857 w 2171700"/>
                        <a:gd name="connsiteY38" fmla="*/ 335756 h 1828800"/>
                        <a:gd name="connsiteX39" fmla="*/ 1083469 w 2171700"/>
                        <a:gd name="connsiteY39" fmla="*/ 273843 h 1828800"/>
                        <a:gd name="connsiteX40" fmla="*/ 1040607 w 2171700"/>
                        <a:gd name="connsiteY40" fmla="*/ 271462 h 1828800"/>
                        <a:gd name="connsiteX41" fmla="*/ 1014413 w 2171700"/>
                        <a:gd name="connsiteY41" fmla="*/ 247650 h 1828800"/>
                        <a:gd name="connsiteX42" fmla="*/ 947738 w 2171700"/>
                        <a:gd name="connsiteY42" fmla="*/ 190500 h 1828800"/>
                        <a:gd name="connsiteX43" fmla="*/ 950119 w 2171700"/>
                        <a:gd name="connsiteY43" fmla="*/ 159543 h 1828800"/>
                        <a:gd name="connsiteX44" fmla="*/ 878682 w 2171700"/>
                        <a:gd name="connsiteY44" fmla="*/ 76200 h 1828800"/>
                        <a:gd name="connsiteX45" fmla="*/ 797719 w 2171700"/>
                        <a:gd name="connsiteY45" fmla="*/ 0 h 1828800"/>
                        <a:gd name="connsiteX46" fmla="*/ 685800 w 2171700"/>
                        <a:gd name="connsiteY46" fmla="*/ 0 h 1828800"/>
                        <a:gd name="connsiteX47" fmla="*/ 640557 w 2171700"/>
                        <a:gd name="connsiteY47" fmla="*/ 71437 h 1828800"/>
                        <a:gd name="connsiteX48" fmla="*/ 576263 w 2171700"/>
                        <a:gd name="connsiteY48" fmla="*/ 202406 h 1828800"/>
                        <a:gd name="connsiteX49" fmla="*/ 452438 w 2171700"/>
                        <a:gd name="connsiteY49" fmla="*/ 185737 h 1828800"/>
                        <a:gd name="connsiteX50" fmla="*/ 423863 w 2171700"/>
                        <a:gd name="connsiteY50" fmla="*/ 288131 h 1828800"/>
                        <a:gd name="connsiteX51" fmla="*/ 385763 w 2171700"/>
                        <a:gd name="connsiteY51" fmla="*/ 271462 h 1828800"/>
                        <a:gd name="connsiteX52" fmla="*/ 145257 w 2171700"/>
                        <a:gd name="connsiteY52" fmla="*/ 519112 h 1828800"/>
                        <a:gd name="connsiteX53" fmla="*/ 71438 w 2171700"/>
                        <a:gd name="connsiteY53" fmla="*/ 516731 h 1828800"/>
                        <a:gd name="connsiteX54" fmla="*/ 40482 w 2171700"/>
                        <a:gd name="connsiteY54" fmla="*/ 566737 h 1828800"/>
                        <a:gd name="connsiteX55" fmla="*/ 28575 w 2171700"/>
                        <a:gd name="connsiteY55" fmla="*/ 602456 h 1828800"/>
                        <a:gd name="connsiteX56" fmla="*/ 0 w 2171700"/>
                        <a:gd name="connsiteY56" fmla="*/ 652462 h 1828800"/>
                        <a:gd name="connsiteX0" fmla="*/ 0 w 2171700"/>
                        <a:gd name="connsiteY0" fmla="*/ 652462 h 1828800"/>
                        <a:gd name="connsiteX1" fmla="*/ 295275 w 2171700"/>
                        <a:gd name="connsiteY1" fmla="*/ 892968 h 1828800"/>
                        <a:gd name="connsiteX2" fmla="*/ 485775 w 2171700"/>
                        <a:gd name="connsiteY2" fmla="*/ 1054893 h 1828800"/>
                        <a:gd name="connsiteX3" fmla="*/ 547688 w 2171700"/>
                        <a:gd name="connsiteY3" fmla="*/ 1097756 h 1828800"/>
                        <a:gd name="connsiteX4" fmla="*/ 566738 w 2171700"/>
                        <a:gd name="connsiteY4" fmla="*/ 1140618 h 1828800"/>
                        <a:gd name="connsiteX5" fmla="*/ 545307 w 2171700"/>
                        <a:gd name="connsiteY5" fmla="*/ 1157287 h 1828800"/>
                        <a:gd name="connsiteX6" fmla="*/ 754857 w 2171700"/>
                        <a:gd name="connsiteY6" fmla="*/ 1423987 h 1828800"/>
                        <a:gd name="connsiteX7" fmla="*/ 909638 w 2171700"/>
                        <a:gd name="connsiteY7" fmla="*/ 1388268 h 1828800"/>
                        <a:gd name="connsiteX8" fmla="*/ 1023938 w 2171700"/>
                        <a:gd name="connsiteY8" fmla="*/ 1378743 h 1828800"/>
                        <a:gd name="connsiteX9" fmla="*/ 1109663 w 2171700"/>
                        <a:gd name="connsiteY9" fmla="*/ 1395412 h 1828800"/>
                        <a:gd name="connsiteX10" fmla="*/ 1228725 w 2171700"/>
                        <a:gd name="connsiteY10" fmla="*/ 1404937 h 1828800"/>
                        <a:gd name="connsiteX11" fmla="*/ 1328738 w 2171700"/>
                        <a:gd name="connsiteY11" fmla="*/ 1416843 h 1828800"/>
                        <a:gd name="connsiteX12" fmla="*/ 1428750 w 2171700"/>
                        <a:gd name="connsiteY12" fmla="*/ 1359693 h 1828800"/>
                        <a:gd name="connsiteX13" fmla="*/ 1500188 w 2171700"/>
                        <a:gd name="connsiteY13" fmla="*/ 1450181 h 1828800"/>
                        <a:gd name="connsiteX14" fmla="*/ 1590675 w 2171700"/>
                        <a:gd name="connsiteY14" fmla="*/ 1502568 h 1828800"/>
                        <a:gd name="connsiteX15" fmla="*/ 1643063 w 2171700"/>
                        <a:gd name="connsiteY15" fmla="*/ 1650206 h 1828800"/>
                        <a:gd name="connsiteX16" fmla="*/ 1728788 w 2171700"/>
                        <a:gd name="connsiteY16" fmla="*/ 1600200 h 1828800"/>
                        <a:gd name="connsiteX17" fmla="*/ 1709738 w 2171700"/>
                        <a:gd name="connsiteY17" fmla="*/ 1828800 h 1828800"/>
                        <a:gd name="connsiteX18" fmla="*/ 1909763 w 2171700"/>
                        <a:gd name="connsiteY18" fmla="*/ 1676400 h 1828800"/>
                        <a:gd name="connsiteX19" fmla="*/ 1985963 w 2171700"/>
                        <a:gd name="connsiteY19" fmla="*/ 1645443 h 1828800"/>
                        <a:gd name="connsiteX20" fmla="*/ 2131219 w 2171700"/>
                        <a:gd name="connsiteY20" fmla="*/ 1545431 h 1828800"/>
                        <a:gd name="connsiteX21" fmla="*/ 2081213 w 2171700"/>
                        <a:gd name="connsiteY21" fmla="*/ 1471612 h 1828800"/>
                        <a:gd name="connsiteX22" fmla="*/ 2169319 w 2171700"/>
                        <a:gd name="connsiteY22" fmla="*/ 1395412 h 1828800"/>
                        <a:gd name="connsiteX23" fmla="*/ 2162175 w 2171700"/>
                        <a:gd name="connsiteY23" fmla="*/ 1345406 h 1828800"/>
                        <a:gd name="connsiteX24" fmla="*/ 2169319 w 2171700"/>
                        <a:gd name="connsiteY24" fmla="*/ 1290637 h 1828800"/>
                        <a:gd name="connsiteX25" fmla="*/ 2171700 w 2171700"/>
                        <a:gd name="connsiteY25" fmla="*/ 1259681 h 1828800"/>
                        <a:gd name="connsiteX26" fmla="*/ 2062163 w 2171700"/>
                        <a:gd name="connsiteY26" fmla="*/ 1171575 h 1828800"/>
                        <a:gd name="connsiteX27" fmla="*/ 2059782 w 2171700"/>
                        <a:gd name="connsiteY27" fmla="*/ 947737 h 1828800"/>
                        <a:gd name="connsiteX28" fmla="*/ 1988344 w 2171700"/>
                        <a:gd name="connsiteY28" fmla="*/ 847725 h 1828800"/>
                        <a:gd name="connsiteX29" fmla="*/ 2019300 w 2171700"/>
                        <a:gd name="connsiteY29" fmla="*/ 657225 h 1828800"/>
                        <a:gd name="connsiteX30" fmla="*/ 1990725 w 2171700"/>
                        <a:gd name="connsiteY30" fmla="*/ 619125 h 1828800"/>
                        <a:gd name="connsiteX31" fmla="*/ 1976438 w 2171700"/>
                        <a:gd name="connsiteY31" fmla="*/ 597693 h 1828800"/>
                        <a:gd name="connsiteX32" fmla="*/ 1916907 w 2171700"/>
                        <a:gd name="connsiteY32" fmla="*/ 597693 h 1828800"/>
                        <a:gd name="connsiteX33" fmla="*/ 1864519 w 2171700"/>
                        <a:gd name="connsiteY33" fmla="*/ 590550 h 1828800"/>
                        <a:gd name="connsiteX34" fmla="*/ 1831182 w 2171700"/>
                        <a:gd name="connsiteY34" fmla="*/ 619125 h 1828800"/>
                        <a:gd name="connsiteX35" fmla="*/ 1621632 w 2171700"/>
                        <a:gd name="connsiteY35" fmla="*/ 609600 h 1828800"/>
                        <a:gd name="connsiteX36" fmla="*/ 1516857 w 2171700"/>
                        <a:gd name="connsiteY36" fmla="*/ 509587 h 1828800"/>
                        <a:gd name="connsiteX37" fmla="*/ 1250157 w 2171700"/>
                        <a:gd name="connsiteY37" fmla="*/ 390525 h 1828800"/>
                        <a:gd name="connsiteX38" fmla="*/ 1135857 w 2171700"/>
                        <a:gd name="connsiteY38" fmla="*/ 335756 h 1828800"/>
                        <a:gd name="connsiteX39" fmla="*/ 1083469 w 2171700"/>
                        <a:gd name="connsiteY39" fmla="*/ 273843 h 1828800"/>
                        <a:gd name="connsiteX40" fmla="*/ 1040607 w 2171700"/>
                        <a:gd name="connsiteY40" fmla="*/ 271462 h 1828800"/>
                        <a:gd name="connsiteX41" fmla="*/ 1042988 w 2171700"/>
                        <a:gd name="connsiteY41" fmla="*/ 242887 h 1828800"/>
                        <a:gd name="connsiteX42" fmla="*/ 947738 w 2171700"/>
                        <a:gd name="connsiteY42" fmla="*/ 190500 h 1828800"/>
                        <a:gd name="connsiteX43" fmla="*/ 950119 w 2171700"/>
                        <a:gd name="connsiteY43" fmla="*/ 159543 h 1828800"/>
                        <a:gd name="connsiteX44" fmla="*/ 878682 w 2171700"/>
                        <a:gd name="connsiteY44" fmla="*/ 76200 h 1828800"/>
                        <a:gd name="connsiteX45" fmla="*/ 797719 w 2171700"/>
                        <a:gd name="connsiteY45" fmla="*/ 0 h 1828800"/>
                        <a:gd name="connsiteX46" fmla="*/ 685800 w 2171700"/>
                        <a:gd name="connsiteY46" fmla="*/ 0 h 1828800"/>
                        <a:gd name="connsiteX47" fmla="*/ 640557 w 2171700"/>
                        <a:gd name="connsiteY47" fmla="*/ 71437 h 1828800"/>
                        <a:gd name="connsiteX48" fmla="*/ 576263 w 2171700"/>
                        <a:gd name="connsiteY48" fmla="*/ 202406 h 1828800"/>
                        <a:gd name="connsiteX49" fmla="*/ 452438 w 2171700"/>
                        <a:gd name="connsiteY49" fmla="*/ 185737 h 1828800"/>
                        <a:gd name="connsiteX50" fmla="*/ 423863 w 2171700"/>
                        <a:gd name="connsiteY50" fmla="*/ 288131 h 1828800"/>
                        <a:gd name="connsiteX51" fmla="*/ 385763 w 2171700"/>
                        <a:gd name="connsiteY51" fmla="*/ 271462 h 1828800"/>
                        <a:gd name="connsiteX52" fmla="*/ 145257 w 2171700"/>
                        <a:gd name="connsiteY52" fmla="*/ 519112 h 1828800"/>
                        <a:gd name="connsiteX53" fmla="*/ 71438 w 2171700"/>
                        <a:gd name="connsiteY53" fmla="*/ 516731 h 1828800"/>
                        <a:gd name="connsiteX54" fmla="*/ 40482 w 2171700"/>
                        <a:gd name="connsiteY54" fmla="*/ 566737 h 1828800"/>
                        <a:gd name="connsiteX55" fmla="*/ 28575 w 2171700"/>
                        <a:gd name="connsiteY55" fmla="*/ 602456 h 1828800"/>
                        <a:gd name="connsiteX56" fmla="*/ 0 w 2171700"/>
                        <a:gd name="connsiteY56" fmla="*/ 652462 h 1828800"/>
                        <a:gd name="connsiteX0" fmla="*/ 0 w 2171700"/>
                        <a:gd name="connsiteY0" fmla="*/ 652462 h 1828800"/>
                        <a:gd name="connsiteX1" fmla="*/ 295275 w 2171700"/>
                        <a:gd name="connsiteY1" fmla="*/ 892968 h 1828800"/>
                        <a:gd name="connsiteX2" fmla="*/ 485775 w 2171700"/>
                        <a:gd name="connsiteY2" fmla="*/ 1054893 h 1828800"/>
                        <a:gd name="connsiteX3" fmla="*/ 547688 w 2171700"/>
                        <a:gd name="connsiteY3" fmla="*/ 1097756 h 1828800"/>
                        <a:gd name="connsiteX4" fmla="*/ 566738 w 2171700"/>
                        <a:gd name="connsiteY4" fmla="*/ 1140618 h 1828800"/>
                        <a:gd name="connsiteX5" fmla="*/ 545307 w 2171700"/>
                        <a:gd name="connsiteY5" fmla="*/ 1157287 h 1828800"/>
                        <a:gd name="connsiteX6" fmla="*/ 754857 w 2171700"/>
                        <a:gd name="connsiteY6" fmla="*/ 1423987 h 1828800"/>
                        <a:gd name="connsiteX7" fmla="*/ 909638 w 2171700"/>
                        <a:gd name="connsiteY7" fmla="*/ 1388268 h 1828800"/>
                        <a:gd name="connsiteX8" fmla="*/ 1023938 w 2171700"/>
                        <a:gd name="connsiteY8" fmla="*/ 1378743 h 1828800"/>
                        <a:gd name="connsiteX9" fmla="*/ 1109663 w 2171700"/>
                        <a:gd name="connsiteY9" fmla="*/ 1395412 h 1828800"/>
                        <a:gd name="connsiteX10" fmla="*/ 1228725 w 2171700"/>
                        <a:gd name="connsiteY10" fmla="*/ 1404937 h 1828800"/>
                        <a:gd name="connsiteX11" fmla="*/ 1328738 w 2171700"/>
                        <a:gd name="connsiteY11" fmla="*/ 1416843 h 1828800"/>
                        <a:gd name="connsiteX12" fmla="*/ 1428750 w 2171700"/>
                        <a:gd name="connsiteY12" fmla="*/ 1359693 h 1828800"/>
                        <a:gd name="connsiteX13" fmla="*/ 1500188 w 2171700"/>
                        <a:gd name="connsiteY13" fmla="*/ 1450181 h 1828800"/>
                        <a:gd name="connsiteX14" fmla="*/ 1590675 w 2171700"/>
                        <a:gd name="connsiteY14" fmla="*/ 1502568 h 1828800"/>
                        <a:gd name="connsiteX15" fmla="*/ 1643063 w 2171700"/>
                        <a:gd name="connsiteY15" fmla="*/ 1650206 h 1828800"/>
                        <a:gd name="connsiteX16" fmla="*/ 1728788 w 2171700"/>
                        <a:gd name="connsiteY16" fmla="*/ 1600200 h 1828800"/>
                        <a:gd name="connsiteX17" fmla="*/ 1709738 w 2171700"/>
                        <a:gd name="connsiteY17" fmla="*/ 1828800 h 1828800"/>
                        <a:gd name="connsiteX18" fmla="*/ 1909763 w 2171700"/>
                        <a:gd name="connsiteY18" fmla="*/ 1676400 h 1828800"/>
                        <a:gd name="connsiteX19" fmla="*/ 1985963 w 2171700"/>
                        <a:gd name="connsiteY19" fmla="*/ 1645443 h 1828800"/>
                        <a:gd name="connsiteX20" fmla="*/ 2131219 w 2171700"/>
                        <a:gd name="connsiteY20" fmla="*/ 1545431 h 1828800"/>
                        <a:gd name="connsiteX21" fmla="*/ 2081213 w 2171700"/>
                        <a:gd name="connsiteY21" fmla="*/ 1471612 h 1828800"/>
                        <a:gd name="connsiteX22" fmla="*/ 2169319 w 2171700"/>
                        <a:gd name="connsiteY22" fmla="*/ 1395412 h 1828800"/>
                        <a:gd name="connsiteX23" fmla="*/ 2162175 w 2171700"/>
                        <a:gd name="connsiteY23" fmla="*/ 1345406 h 1828800"/>
                        <a:gd name="connsiteX24" fmla="*/ 2169319 w 2171700"/>
                        <a:gd name="connsiteY24" fmla="*/ 1290637 h 1828800"/>
                        <a:gd name="connsiteX25" fmla="*/ 2171700 w 2171700"/>
                        <a:gd name="connsiteY25" fmla="*/ 1259681 h 1828800"/>
                        <a:gd name="connsiteX26" fmla="*/ 2062163 w 2171700"/>
                        <a:gd name="connsiteY26" fmla="*/ 1171575 h 1828800"/>
                        <a:gd name="connsiteX27" fmla="*/ 2059782 w 2171700"/>
                        <a:gd name="connsiteY27" fmla="*/ 947737 h 1828800"/>
                        <a:gd name="connsiteX28" fmla="*/ 1988344 w 2171700"/>
                        <a:gd name="connsiteY28" fmla="*/ 847725 h 1828800"/>
                        <a:gd name="connsiteX29" fmla="*/ 2019300 w 2171700"/>
                        <a:gd name="connsiteY29" fmla="*/ 657225 h 1828800"/>
                        <a:gd name="connsiteX30" fmla="*/ 1990725 w 2171700"/>
                        <a:gd name="connsiteY30" fmla="*/ 619125 h 1828800"/>
                        <a:gd name="connsiteX31" fmla="*/ 1976438 w 2171700"/>
                        <a:gd name="connsiteY31" fmla="*/ 597693 h 1828800"/>
                        <a:gd name="connsiteX32" fmla="*/ 1916907 w 2171700"/>
                        <a:gd name="connsiteY32" fmla="*/ 597693 h 1828800"/>
                        <a:gd name="connsiteX33" fmla="*/ 1864519 w 2171700"/>
                        <a:gd name="connsiteY33" fmla="*/ 590550 h 1828800"/>
                        <a:gd name="connsiteX34" fmla="*/ 1831182 w 2171700"/>
                        <a:gd name="connsiteY34" fmla="*/ 619125 h 1828800"/>
                        <a:gd name="connsiteX35" fmla="*/ 1621632 w 2171700"/>
                        <a:gd name="connsiteY35" fmla="*/ 609600 h 1828800"/>
                        <a:gd name="connsiteX36" fmla="*/ 1516857 w 2171700"/>
                        <a:gd name="connsiteY36" fmla="*/ 509587 h 1828800"/>
                        <a:gd name="connsiteX37" fmla="*/ 1250157 w 2171700"/>
                        <a:gd name="connsiteY37" fmla="*/ 390525 h 1828800"/>
                        <a:gd name="connsiteX38" fmla="*/ 1135857 w 2171700"/>
                        <a:gd name="connsiteY38" fmla="*/ 335756 h 1828800"/>
                        <a:gd name="connsiteX39" fmla="*/ 1083469 w 2171700"/>
                        <a:gd name="connsiteY39" fmla="*/ 273843 h 1828800"/>
                        <a:gd name="connsiteX40" fmla="*/ 1040607 w 2171700"/>
                        <a:gd name="connsiteY40" fmla="*/ 271462 h 1828800"/>
                        <a:gd name="connsiteX41" fmla="*/ 1042988 w 2171700"/>
                        <a:gd name="connsiteY41" fmla="*/ 242887 h 1828800"/>
                        <a:gd name="connsiteX42" fmla="*/ 947738 w 2171700"/>
                        <a:gd name="connsiteY42" fmla="*/ 190500 h 1828800"/>
                        <a:gd name="connsiteX43" fmla="*/ 950119 w 2171700"/>
                        <a:gd name="connsiteY43" fmla="*/ 159543 h 1828800"/>
                        <a:gd name="connsiteX44" fmla="*/ 914400 w 2171700"/>
                        <a:gd name="connsiteY44" fmla="*/ 116681 h 1828800"/>
                        <a:gd name="connsiteX45" fmla="*/ 878682 w 2171700"/>
                        <a:gd name="connsiteY45" fmla="*/ 76200 h 1828800"/>
                        <a:gd name="connsiteX46" fmla="*/ 797719 w 2171700"/>
                        <a:gd name="connsiteY46" fmla="*/ 0 h 1828800"/>
                        <a:gd name="connsiteX47" fmla="*/ 685800 w 2171700"/>
                        <a:gd name="connsiteY47" fmla="*/ 0 h 1828800"/>
                        <a:gd name="connsiteX48" fmla="*/ 640557 w 2171700"/>
                        <a:gd name="connsiteY48" fmla="*/ 71437 h 1828800"/>
                        <a:gd name="connsiteX49" fmla="*/ 576263 w 2171700"/>
                        <a:gd name="connsiteY49" fmla="*/ 202406 h 1828800"/>
                        <a:gd name="connsiteX50" fmla="*/ 452438 w 2171700"/>
                        <a:gd name="connsiteY50" fmla="*/ 185737 h 1828800"/>
                        <a:gd name="connsiteX51" fmla="*/ 423863 w 2171700"/>
                        <a:gd name="connsiteY51" fmla="*/ 288131 h 1828800"/>
                        <a:gd name="connsiteX52" fmla="*/ 385763 w 2171700"/>
                        <a:gd name="connsiteY52" fmla="*/ 271462 h 1828800"/>
                        <a:gd name="connsiteX53" fmla="*/ 145257 w 2171700"/>
                        <a:gd name="connsiteY53" fmla="*/ 519112 h 1828800"/>
                        <a:gd name="connsiteX54" fmla="*/ 71438 w 2171700"/>
                        <a:gd name="connsiteY54" fmla="*/ 516731 h 1828800"/>
                        <a:gd name="connsiteX55" fmla="*/ 40482 w 2171700"/>
                        <a:gd name="connsiteY55" fmla="*/ 566737 h 1828800"/>
                        <a:gd name="connsiteX56" fmla="*/ 28575 w 2171700"/>
                        <a:gd name="connsiteY56" fmla="*/ 602456 h 1828800"/>
                        <a:gd name="connsiteX57" fmla="*/ 0 w 2171700"/>
                        <a:gd name="connsiteY57" fmla="*/ 652462 h 1828800"/>
                        <a:gd name="connsiteX0" fmla="*/ 0 w 2171700"/>
                        <a:gd name="connsiteY0" fmla="*/ 652462 h 1828800"/>
                        <a:gd name="connsiteX1" fmla="*/ 295275 w 2171700"/>
                        <a:gd name="connsiteY1" fmla="*/ 892968 h 1828800"/>
                        <a:gd name="connsiteX2" fmla="*/ 485775 w 2171700"/>
                        <a:gd name="connsiteY2" fmla="*/ 1054893 h 1828800"/>
                        <a:gd name="connsiteX3" fmla="*/ 547688 w 2171700"/>
                        <a:gd name="connsiteY3" fmla="*/ 1097756 h 1828800"/>
                        <a:gd name="connsiteX4" fmla="*/ 566738 w 2171700"/>
                        <a:gd name="connsiteY4" fmla="*/ 1140618 h 1828800"/>
                        <a:gd name="connsiteX5" fmla="*/ 545307 w 2171700"/>
                        <a:gd name="connsiteY5" fmla="*/ 1157287 h 1828800"/>
                        <a:gd name="connsiteX6" fmla="*/ 754857 w 2171700"/>
                        <a:gd name="connsiteY6" fmla="*/ 1423987 h 1828800"/>
                        <a:gd name="connsiteX7" fmla="*/ 909638 w 2171700"/>
                        <a:gd name="connsiteY7" fmla="*/ 1388268 h 1828800"/>
                        <a:gd name="connsiteX8" fmla="*/ 1023938 w 2171700"/>
                        <a:gd name="connsiteY8" fmla="*/ 1378743 h 1828800"/>
                        <a:gd name="connsiteX9" fmla="*/ 1109663 w 2171700"/>
                        <a:gd name="connsiteY9" fmla="*/ 1395412 h 1828800"/>
                        <a:gd name="connsiteX10" fmla="*/ 1228725 w 2171700"/>
                        <a:gd name="connsiteY10" fmla="*/ 1404937 h 1828800"/>
                        <a:gd name="connsiteX11" fmla="*/ 1328738 w 2171700"/>
                        <a:gd name="connsiteY11" fmla="*/ 1416843 h 1828800"/>
                        <a:gd name="connsiteX12" fmla="*/ 1428750 w 2171700"/>
                        <a:gd name="connsiteY12" fmla="*/ 1359693 h 1828800"/>
                        <a:gd name="connsiteX13" fmla="*/ 1500188 w 2171700"/>
                        <a:gd name="connsiteY13" fmla="*/ 1450181 h 1828800"/>
                        <a:gd name="connsiteX14" fmla="*/ 1590675 w 2171700"/>
                        <a:gd name="connsiteY14" fmla="*/ 1502568 h 1828800"/>
                        <a:gd name="connsiteX15" fmla="*/ 1643063 w 2171700"/>
                        <a:gd name="connsiteY15" fmla="*/ 1650206 h 1828800"/>
                        <a:gd name="connsiteX16" fmla="*/ 1728788 w 2171700"/>
                        <a:gd name="connsiteY16" fmla="*/ 1600200 h 1828800"/>
                        <a:gd name="connsiteX17" fmla="*/ 1709738 w 2171700"/>
                        <a:gd name="connsiteY17" fmla="*/ 1828800 h 1828800"/>
                        <a:gd name="connsiteX18" fmla="*/ 1909763 w 2171700"/>
                        <a:gd name="connsiteY18" fmla="*/ 1676400 h 1828800"/>
                        <a:gd name="connsiteX19" fmla="*/ 1985963 w 2171700"/>
                        <a:gd name="connsiteY19" fmla="*/ 1645443 h 1828800"/>
                        <a:gd name="connsiteX20" fmla="*/ 2131219 w 2171700"/>
                        <a:gd name="connsiteY20" fmla="*/ 1545431 h 1828800"/>
                        <a:gd name="connsiteX21" fmla="*/ 2081213 w 2171700"/>
                        <a:gd name="connsiteY21" fmla="*/ 1471612 h 1828800"/>
                        <a:gd name="connsiteX22" fmla="*/ 2169319 w 2171700"/>
                        <a:gd name="connsiteY22" fmla="*/ 1395412 h 1828800"/>
                        <a:gd name="connsiteX23" fmla="*/ 2162175 w 2171700"/>
                        <a:gd name="connsiteY23" fmla="*/ 1345406 h 1828800"/>
                        <a:gd name="connsiteX24" fmla="*/ 2169319 w 2171700"/>
                        <a:gd name="connsiteY24" fmla="*/ 1290637 h 1828800"/>
                        <a:gd name="connsiteX25" fmla="*/ 2171700 w 2171700"/>
                        <a:gd name="connsiteY25" fmla="*/ 1259681 h 1828800"/>
                        <a:gd name="connsiteX26" fmla="*/ 2062163 w 2171700"/>
                        <a:gd name="connsiteY26" fmla="*/ 1171575 h 1828800"/>
                        <a:gd name="connsiteX27" fmla="*/ 2059782 w 2171700"/>
                        <a:gd name="connsiteY27" fmla="*/ 947737 h 1828800"/>
                        <a:gd name="connsiteX28" fmla="*/ 1988344 w 2171700"/>
                        <a:gd name="connsiteY28" fmla="*/ 847725 h 1828800"/>
                        <a:gd name="connsiteX29" fmla="*/ 2019300 w 2171700"/>
                        <a:gd name="connsiteY29" fmla="*/ 657225 h 1828800"/>
                        <a:gd name="connsiteX30" fmla="*/ 1990725 w 2171700"/>
                        <a:gd name="connsiteY30" fmla="*/ 619125 h 1828800"/>
                        <a:gd name="connsiteX31" fmla="*/ 1976438 w 2171700"/>
                        <a:gd name="connsiteY31" fmla="*/ 597693 h 1828800"/>
                        <a:gd name="connsiteX32" fmla="*/ 1916907 w 2171700"/>
                        <a:gd name="connsiteY32" fmla="*/ 597693 h 1828800"/>
                        <a:gd name="connsiteX33" fmla="*/ 1864519 w 2171700"/>
                        <a:gd name="connsiteY33" fmla="*/ 590550 h 1828800"/>
                        <a:gd name="connsiteX34" fmla="*/ 1831182 w 2171700"/>
                        <a:gd name="connsiteY34" fmla="*/ 619125 h 1828800"/>
                        <a:gd name="connsiteX35" fmla="*/ 1621632 w 2171700"/>
                        <a:gd name="connsiteY35" fmla="*/ 609600 h 1828800"/>
                        <a:gd name="connsiteX36" fmla="*/ 1516857 w 2171700"/>
                        <a:gd name="connsiteY36" fmla="*/ 509587 h 1828800"/>
                        <a:gd name="connsiteX37" fmla="*/ 1250157 w 2171700"/>
                        <a:gd name="connsiteY37" fmla="*/ 390525 h 1828800"/>
                        <a:gd name="connsiteX38" fmla="*/ 1135857 w 2171700"/>
                        <a:gd name="connsiteY38" fmla="*/ 335756 h 1828800"/>
                        <a:gd name="connsiteX39" fmla="*/ 1083469 w 2171700"/>
                        <a:gd name="connsiteY39" fmla="*/ 273843 h 1828800"/>
                        <a:gd name="connsiteX40" fmla="*/ 1040607 w 2171700"/>
                        <a:gd name="connsiteY40" fmla="*/ 271462 h 1828800"/>
                        <a:gd name="connsiteX41" fmla="*/ 1042988 w 2171700"/>
                        <a:gd name="connsiteY41" fmla="*/ 242887 h 1828800"/>
                        <a:gd name="connsiteX42" fmla="*/ 947738 w 2171700"/>
                        <a:gd name="connsiteY42" fmla="*/ 190500 h 1828800"/>
                        <a:gd name="connsiteX43" fmla="*/ 950119 w 2171700"/>
                        <a:gd name="connsiteY43" fmla="*/ 159543 h 1828800"/>
                        <a:gd name="connsiteX44" fmla="*/ 923925 w 2171700"/>
                        <a:gd name="connsiteY44" fmla="*/ 114299 h 1828800"/>
                        <a:gd name="connsiteX45" fmla="*/ 878682 w 2171700"/>
                        <a:gd name="connsiteY45" fmla="*/ 76200 h 1828800"/>
                        <a:gd name="connsiteX46" fmla="*/ 797719 w 2171700"/>
                        <a:gd name="connsiteY46" fmla="*/ 0 h 1828800"/>
                        <a:gd name="connsiteX47" fmla="*/ 685800 w 2171700"/>
                        <a:gd name="connsiteY47" fmla="*/ 0 h 1828800"/>
                        <a:gd name="connsiteX48" fmla="*/ 640557 w 2171700"/>
                        <a:gd name="connsiteY48" fmla="*/ 71437 h 1828800"/>
                        <a:gd name="connsiteX49" fmla="*/ 576263 w 2171700"/>
                        <a:gd name="connsiteY49" fmla="*/ 202406 h 1828800"/>
                        <a:gd name="connsiteX50" fmla="*/ 452438 w 2171700"/>
                        <a:gd name="connsiteY50" fmla="*/ 185737 h 1828800"/>
                        <a:gd name="connsiteX51" fmla="*/ 423863 w 2171700"/>
                        <a:gd name="connsiteY51" fmla="*/ 288131 h 1828800"/>
                        <a:gd name="connsiteX52" fmla="*/ 385763 w 2171700"/>
                        <a:gd name="connsiteY52" fmla="*/ 271462 h 1828800"/>
                        <a:gd name="connsiteX53" fmla="*/ 145257 w 2171700"/>
                        <a:gd name="connsiteY53" fmla="*/ 519112 h 1828800"/>
                        <a:gd name="connsiteX54" fmla="*/ 71438 w 2171700"/>
                        <a:gd name="connsiteY54" fmla="*/ 516731 h 1828800"/>
                        <a:gd name="connsiteX55" fmla="*/ 40482 w 2171700"/>
                        <a:gd name="connsiteY55" fmla="*/ 566737 h 1828800"/>
                        <a:gd name="connsiteX56" fmla="*/ 28575 w 2171700"/>
                        <a:gd name="connsiteY56" fmla="*/ 602456 h 1828800"/>
                        <a:gd name="connsiteX57" fmla="*/ 0 w 2171700"/>
                        <a:gd name="connsiteY57" fmla="*/ 652462 h 18288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</a:cxnLst>
                      <a:rect l="l" t="t" r="r" b="b"/>
                      <a:pathLst>
                        <a:path w="2171700" h="1828800">
                          <a:moveTo>
                            <a:pt x="0" y="652462"/>
                          </a:moveTo>
                          <a:lnTo>
                            <a:pt x="295275" y="892968"/>
                          </a:lnTo>
                          <a:lnTo>
                            <a:pt x="485775" y="1054893"/>
                          </a:lnTo>
                          <a:lnTo>
                            <a:pt x="547688" y="1097756"/>
                          </a:lnTo>
                          <a:lnTo>
                            <a:pt x="566738" y="1140618"/>
                          </a:lnTo>
                          <a:lnTo>
                            <a:pt x="545307" y="1157287"/>
                          </a:lnTo>
                          <a:lnTo>
                            <a:pt x="754857" y="1423987"/>
                          </a:lnTo>
                          <a:lnTo>
                            <a:pt x="909638" y="1388268"/>
                          </a:lnTo>
                          <a:lnTo>
                            <a:pt x="1023938" y="1378743"/>
                          </a:lnTo>
                          <a:lnTo>
                            <a:pt x="1109663" y="1395412"/>
                          </a:lnTo>
                          <a:lnTo>
                            <a:pt x="1228725" y="1404937"/>
                          </a:lnTo>
                          <a:lnTo>
                            <a:pt x="1328738" y="1416843"/>
                          </a:lnTo>
                          <a:lnTo>
                            <a:pt x="1428750" y="1359693"/>
                          </a:lnTo>
                          <a:lnTo>
                            <a:pt x="1500188" y="1450181"/>
                          </a:lnTo>
                          <a:lnTo>
                            <a:pt x="1590675" y="1502568"/>
                          </a:lnTo>
                          <a:lnTo>
                            <a:pt x="1643063" y="1650206"/>
                          </a:lnTo>
                          <a:lnTo>
                            <a:pt x="1728788" y="1600200"/>
                          </a:lnTo>
                          <a:lnTo>
                            <a:pt x="1709738" y="1828800"/>
                          </a:lnTo>
                          <a:lnTo>
                            <a:pt x="1909763" y="1676400"/>
                          </a:lnTo>
                          <a:lnTo>
                            <a:pt x="1985963" y="1645443"/>
                          </a:lnTo>
                          <a:lnTo>
                            <a:pt x="2131219" y="1545431"/>
                          </a:lnTo>
                          <a:lnTo>
                            <a:pt x="2081213" y="1471612"/>
                          </a:lnTo>
                          <a:lnTo>
                            <a:pt x="2169319" y="1395412"/>
                          </a:lnTo>
                          <a:lnTo>
                            <a:pt x="2162175" y="1345406"/>
                          </a:lnTo>
                          <a:lnTo>
                            <a:pt x="2169319" y="1290637"/>
                          </a:lnTo>
                          <a:lnTo>
                            <a:pt x="2171700" y="1259681"/>
                          </a:lnTo>
                          <a:lnTo>
                            <a:pt x="2062163" y="1171575"/>
                          </a:lnTo>
                          <a:cubicBezTo>
                            <a:pt x="2061369" y="1096962"/>
                            <a:pt x="2060576" y="1022350"/>
                            <a:pt x="2059782" y="947737"/>
                          </a:cubicBezTo>
                          <a:lnTo>
                            <a:pt x="1988344" y="847725"/>
                          </a:lnTo>
                          <a:lnTo>
                            <a:pt x="2019300" y="657225"/>
                          </a:lnTo>
                          <a:lnTo>
                            <a:pt x="1990725" y="619125"/>
                          </a:lnTo>
                          <a:lnTo>
                            <a:pt x="1976438" y="597693"/>
                          </a:lnTo>
                          <a:lnTo>
                            <a:pt x="1916907" y="597693"/>
                          </a:lnTo>
                          <a:lnTo>
                            <a:pt x="1864519" y="590550"/>
                          </a:lnTo>
                          <a:lnTo>
                            <a:pt x="1831182" y="619125"/>
                          </a:lnTo>
                          <a:lnTo>
                            <a:pt x="1621632" y="609600"/>
                          </a:lnTo>
                          <a:lnTo>
                            <a:pt x="1516857" y="509587"/>
                          </a:lnTo>
                          <a:lnTo>
                            <a:pt x="1250157" y="390525"/>
                          </a:lnTo>
                          <a:lnTo>
                            <a:pt x="1135857" y="335756"/>
                          </a:lnTo>
                          <a:lnTo>
                            <a:pt x="1083469" y="273843"/>
                          </a:lnTo>
                          <a:lnTo>
                            <a:pt x="1040607" y="271462"/>
                          </a:lnTo>
                          <a:lnTo>
                            <a:pt x="1042988" y="242887"/>
                          </a:lnTo>
                          <a:lnTo>
                            <a:pt x="947738" y="190500"/>
                          </a:lnTo>
                          <a:lnTo>
                            <a:pt x="950119" y="159543"/>
                          </a:lnTo>
                          <a:lnTo>
                            <a:pt x="923925" y="114299"/>
                          </a:lnTo>
                          <a:lnTo>
                            <a:pt x="878682" y="76200"/>
                          </a:lnTo>
                          <a:lnTo>
                            <a:pt x="797719" y="0"/>
                          </a:lnTo>
                          <a:lnTo>
                            <a:pt x="685800" y="0"/>
                          </a:lnTo>
                          <a:lnTo>
                            <a:pt x="640557" y="71437"/>
                          </a:lnTo>
                          <a:lnTo>
                            <a:pt x="576263" y="202406"/>
                          </a:lnTo>
                          <a:lnTo>
                            <a:pt x="452438" y="185737"/>
                          </a:lnTo>
                          <a:lnTo>
                            <a:pt x="423863" y="288131"/>
                          </a:lnTo>
                          <a:lnTo>
                            <a:pt x="385763" y="271462"/>
                          </a:lnTo>
                          <a:lnTo>
                            <a:pt x="145257" y="519112"/>
                          </a:lnTo>
                          <a:lnTo>
                            <a:pt x="71438" y="516731"/>
                          </a:lnTo>
                          <a:lnTo>
                            <a:pt x="40482" y="566737"/>
                          </a:lnTo>
                          <a:lnTo>
                            <a:pt x="28575" y="602456"/>
                          </a:lnTo>
                          <a:lnTo>
                            <a:pt x="0" y="652462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27" name="Freeform 18"/>
                    <p:cNvSpPr/>
                    <p:nvPr/>
                  </p:nvSpPr>
                  <p:spPr>
                    <a:xfrm>
                      <a:off x="3517302" y="1773988"/>
                      <a:ext cx="2276039" cy="1182921"/>
                    </a:xfrm>
                    <a:custGeom>
                      <a:avLst/>
                      <a:gdLst>
                        <a:gd name="connsiteX0" fmla="*/ 1026319 w 3150394"/>
                        <a:gd name="connsiteY0" fmla="*/ 295275 h 1814512"/>
                        <a:gd name="connsiteX1" fmla="*/ 1081088 w 3150394"/>
                        <a:gd name="connsiteY1" fmla="*/ 240506 h 1814512"/>
                        <a:gd name="connsiteX2" fmla="*/ 1104900 w 3150394"/>
                        <a:gd name="connsiteY2" fmla="*/ 195262 h 1814512"/>
                        <a:gd name="connsiteX3" fmla="*/ 1150144 w 3150394"/>
                        <a:gd name="connsiteY3" fmla="*/ 180975 h 1814512"/>
                        <a:gd name="connsiteX4" fmla="*/ 1181100 w 3150394"/>
                        <a:gd name="connsiteY4" fmla="*/ 209550 h 1814512"/>
                        <a:gd name="connsiteX5" fmla="*/ 1197769 w 3150394"/>
                        <a:gd name="connsiteY5" fmla="*/ 250031 h 1814512"/>
                        <a:gd name="connsiteX6" fmla="*/ 1231106 w 3150394"/>
                        <a:gd name="connsiteY6" fmla="*/ 278606 h 1814512"/>
                        <a:gd name="connsiteX7" fmla="*/ 1252538 w 3150394"/>
                        <a:gd name="connsiteY7" fmla="*/ 280987 h 1814512"/>
                        <a:gd name="connsiteX8" fmla="*/ 1307306 w 3150394"/>
                        <a:gd name="connsiteY8" fmla="*/ 280987 h 1814512"/>
                        <a:gd name="connsiteX9" fmla="*/ 1338263 w 3150394"/>
                        <a:gd name="connsiteY9" fmla="*/ 314325 h 1814512"/>
                        <a:gd name="connsiteX10" fmla="*/ 1340644 w 3150394"/>
                        <a:gd name="connsiteY10" fmla="*/ 335756 h 1814512"/>
                        <a:gd name="connsiteX11" fmla="*/ 1352550 w 3150394"/>
                        <a:gd name="connsiteY11" fmla="*/ 373856 h 1814512"/>
                        <a:gd name="connsiteX12" fmla="*/ 1393031 w 3150394"/>
                        <a:gd name="connsiteY12" fmla="*/ 357187 h 1814512"/>
                        <a:gd name="connsiteX13" fmla="*/ 1452563 w 3150394"/>
                        <a:gd name="connsiteY13" fmla="*/ 373856 h 1814512"/>
                        <a:gd name="connsiteX14" fmla="*/ 1524000 w 3150394"/>
                        <a:gd name="connsiteY14" fmla="*/ 385762 h 1814512"/>
                        <a:gd name="connsiteX15" fmla="*/ 1564481 w 3150394"/>
                        <a:gd name="connsiteY15" fmla="*/ 369093 h 1814512"/>
                        <a:gd name="connsiteX16" fmla="*/ 1576388 w 3150394"/>
                        <a:gd name="connsiteY16" fmla="*/ 311943 h 1814512"/>
                        <a:gd name="connsiteX17" fmla="*/ 1581150 w 3150394"/>
                        <a:gd name="connsiteY17" fmla="*/ 285750 h 1814512"/>
                        <a:gd name="connsiteX18" fmla="*/ 1607344 w 3150394"/>
                        <a:gd name="connsiteY18" fmla="*/ 269081 h 1814512"/>
                        <a:gd name="connsiteX19" fmla="*/ 1735931 w 3150394"/>
                        <a:gd name="connsiteY19" fmla="*/ 178593 h 1814512"/>
                        <a:gd name="connsiteX20" fmla="*/ 1764506 w 3150394"/>
                        <a:gd name="connsiteY20" fmla="*/ 176212 h 1814512"/>
                        <a:gd name="connsiteX21" fmla="*/ 1774031 w 3150394"/>
                        <a:gd name="connsiteY21" fmla="*/ 228600 h 1814512"/>
                        <a:gd name="connsiteX22" fmla="*/ 1766888 w 3150394"/>
                        <a:gd name="connsiteY22" fmla="*/ 261937 h 1814512"/>
                        <a:gd name="connsiteX23" fmla="*/ 1843088 w 3150394"/>
                        <a:gd name="connsiteY23" fmla="*/ 280987 h 1814512"/>
                        <a:gd name="connsiteX24" fmla="*/ 1890713 w 3150394"/>
                        <a:gd name="connsiteY24" fmla="*/ 228600 h 1814512"/>
                        <a:gd name="connsiteX25" fmla="*/ 1943100 w 3150394"/>
                        <a:gd name="connsiteY25" fmla="*/ 183356 h 1814512"/>
                        <a:gd name="connsiteX26" fmla="*/ 1964531 w 3150394"/>
                        <a:gd name="connsiteY26" fmla="*/ 133350 h 1814512"/>
                        <a:gd name="connsiteX27" fmla="*/ 2014538 w 3150394"/>
                        <a:gd name="connsiteY27" fmla="*/ 109537 h 1814512"/>
                        <a:gd name="connsiteX28" fmla="*/ 2055019 w 3150394"/>
                        <a:gd name="connsiteY28" fmla="*/ 80962 h 1814512"/>
                        <a:gd name="connsiteX29" fmla="*/ 2100263 w 3150394"/>
                        <a:gd name="connsiteY29" fmla="*/ 33337 h 1814512"/>
                        <a:gd name="connsiteX30" fmla="*/ 2145506 w 3150394"/>
                        <a:gd name="connsiteY30" fmla="*/ 33337 h 1814512"/>
                        <a:gd name="connsiteX31" fmla="*/ 2181225 w 3150394"/>
                        <a:gd name="connsiteY31" fmla="*/ 0 h 1814512"/>
                        <a:gd name="connsiteX32" fmla="*/ 2247900 w 3150394"/>
                        <a:gd name="connsiteY32" fmla="*/ 71437 h 1814512"/>
                        <a:gd name="connsiteX33" fmla="*/ 2224088 w 3150394"/>
                        <a:gd name="connsiteY33" fmla="*/ 102393 h 1814512"/>
                        <a:gd name="connsiteX34" fmla="*/ 2216944 w 3150394"/>
                        <a:gd name="connsiteY34" fmla="*/ 138112 h 1814512"/>
                        <a:gd name="connsiteX35" fmla="*/ 2262188 w 3150394"/>
                        <a:gd name="connsiteY35" fmla="*/ 180975 h 1814512"/>
                        <a:gd name="connsiteX36" fmla="*/ 2326481 w 3150394"/>
                        <a:gd name="connsiteY36" fmla="*/ 178593 h 1814512"/>
                        <a:gd name="connsiteX37" fmla="*/ 2362200 w 3150394"/>
                        <a:gd name="connsiteY37" fmla="*/ 183356 h 1814512"/>
                        <a:gd name="connsiteX38" fmla="*/ 2440781 w 3150394"/>
                        <a:gd name="connsiteY38" fmla="*/ 230981 h 1814512"/>
                        <a:gd name="connsiteX39" fmla="*/ 2476500 w 3150394"/>
                        <a:gd name="connsiteY39" fmla="*/ 245268 h 1814512"/>
                        <a:gd name="connsiteX40" fmla="*/ 2478881 w 3150394"/>
                        <a:gd name="connsiteY40" fmla="*/ 292893 h 1814512"/>
                        <a:gd name="connsiteX41" fmla="*/ 2462213 w 3150394"/>
                        <a:gd name="connsiteY41" fmla="*/ 345281 h 1814512"/>
                        <a:gd name="connsiteX42" fmla="*/ 2507456 w 3150394"/>
                        <a:gd name="connsiteY42" fmla="*/ 359568 h 1814512"/>
                        <a:gd name="connsiteX43" fmla="*/ 2543175 w 3150394"/>
                        <a:gd name="connsiteY43" fmla="*/ 304800 h 1814512"/>
                        <a:gd name="connsiteX44" fmla="*/ 2586038 w 3150394"/>
                        <a:gd name="connsiteY44" fmla="*/ 295275 h 1814512"/>
                        <a:gd name="connsiteX45" fmla="*/ 2643188 w 3150394"/>
                        <a:gd name="connsiteY45" fmla="*/ 257175 h 1814512"/>
                        <a:gd name="connsiteX46" fmla="*/ 2705100 w 3150394"/>
                        <a:gd name="connsiteY46" fmla="*/ 266700 h 1814512"/>
                        <a:gd name="connsiteX47" fmla="*/ 2781300 w 3150394"/>
                        <a:gd name="connsiteY47" fmla="*/ 226218 h 1814512"/>
                        <a:gd name="connsiteX48" fmla="*/ 2809875 w 3150394"/>
                        <a:gd name="connsiteY48" fmla="*/ 166687 h 1814512"/>
                        <a:gd name="connsiteX49" fmla="*/ 2824163 w 3150394"/>
                        <a:gd name="connsiteY49" fmla="*/ 147637 h 1814512"/>
                        <a:gd name="connsiteX50" fmla="*/ 2831306 w 3150394"/>
                        <a:gd name="connsiteY50" fmla="*/ 142875 h 1814512"/>
                        <a:gd name="connsiteX51" fmla="*/ 2840831 w 3150394"/>
                        <a:gd name="connsiteY51" fmla="*/ 130968 h 1814512"/>
                        <a:gd name="connsiteX52" fmla="*/ 2855119 w 3150394"/>
                        <a:gd name="connsiteY52" fmla="*/ 92868 h 1814512"/>
                        <a:gd name="connsiteX53" fmla="*/ 2938463 w 3150394"/>
                        <a:gd name="connsiteY53" fmla="*/ 114300 h 1814512"/>
                        <a:gd name="connsiteX54" fmla="*/ 3009900 w 3150394"/>
                        <a:gd name="connsiteY54" fmla="*/ 130968 h 1814512"/>
                        <a:gd name="connsiteX55" fmla="*/ 3024188 w 3150394"/>
                        <a:gd name="connsiteY55" fmla="*/ 200025 h 1814512"/>
                        <a:gd name="connsiteX56" fmla="*/ 3059906 w 3150394"/>
                        <a:gd name="connsiteY56" fmla="*/ 252412 h 1814512"/>
                        <a:gd name="connsiteX57" fmla="*/ 3045619 w 3150394"/>
                        <a:gd name="connsiteY57" fmla="*/ 259556 h 1814512"/>
                        <a:gd name="connsiteX58" fmla="*/ 3005138 w 3150394"/>
                        <a:gd name="connsiteY58" fmla="*/ 283368 h 1814512"/>
                        <a:gd name="connsiteX59" fmla="*/ 2976563 w 3150394"/>
                        <a:gd name="connsiteY59" fmla="*/ 314325 h 1814512"/>
                        <a:gd name="connsiteX60" fmla="*/ 2947988 w 3150394"/>
                        <a:gd name="connsiteY60" fmla="*/ 354806 h 1814512"/>
                        <a:gd name="connsiteX61" fmla="*/ 2945606 w 3150394"/>
                        <a:gd name="connsiteY61" fmla="*/ 416718 h 1814512"/>
                        <a:gd name="connsiteX62" fmla="*/ 2959894 w 3150394"/>
                        <a:gd name="connsiteY62" fmla="*/ 466725 h 1814512"/>
                        <a:gd name="connsiteX63" fmla="*/ 2986088 w 3150394"/>
                        <a:gd name="connsiteY63" fmla="*/ 511968 h 1814512"/>
                        <a:gd name="connsiteX64" fmla="*/ 3009900 w 3150394"/>
                        <a:gd name="connsiteY64" fmla="*/ 535781 h 1814512"/>
                        <a:gd name="connsiteX65" fmla="*/ 2990850 w 3150394"/>
                        <a:gd name="connsiteY65" fmla="*/ 564356 h 1814512"/>
                        <a:gd name="connsiteX66" fmla="*/ 2969419 w 3150394"/>
                        <a:gd name="connsiteY66" fmla="*/ 590550 h 1814512"/>
                        <a:gd name="connsiteX67" fmla="*/ 2964656 w 3150394"/>
                        <a:gd name="connsiteY67" fmla="*/ 640556 h 1814512"/>
                        <a:gd name="connsiteX68" fmla="*/ 2978944 w 3150394"/>
                        <a:gd name="connsiteY68" fmla="*/ 666750 h 1814512"/>
                        <a:gd name="connsiteX69" fmla="*/ 3005138 w 3150394"/>
                        <a:gd name="connsiteY69" fmla="*/ 716756 h 1814512"/>
                        <a:gd name="connsiteX70" fmla="*/ 3028950 w 3150394"/>
                        <a:gd name="connsiteY70" fmla="*/ 733425 h 1814512"/>
                        <a:gd name="connsiteX71" fmla="*/ 3019425 w 3150394"/>
                        <a:gd name="connsiteY71" fmla="*/ 769143 h 1814512"/>
                        <a:gd name="connsiteX72" fmla="*/ 3012281 w 3150394"/>
                        <a:gd name="connsiteY72" fmla="*/ 790575 h 1814512"/>
                        <a:gd name="connsiteX73" fmla="*/ 2986088 w 3150394"/>
                        <a:gd name="connsiteY73" fmla="*/ 807243 h 1814512"/>
                        <a:gd name="connsiteX74" fmla="*/ 2959894 w 3150394"/>
                        <a:gd name="connsiteY74" fmla="*/ 828675 h 1814512"/>
                        <a:gd name="connsiteX75" fmla="*/ 2971800 w 3150394"/>
                        <a:gd name="connsiteY75" fmla="*/ 859631 h 1814512"/>
                        <a:gd name="connsiteX76" fmla="*/ 2981325 w 3150394"/>
                        <a:gd name="connsiteY76" fmla="*/ 883443 h 1814512"/>
                        <a:gd name="connsiteX77" fmla="*/ 3057525 w 3150394"/>
                        <a:gd name="connsiteY77" fmla="*/ 962025 h 1814512"/>
                        <a:gd name="connsiteX78" fmla="*/ 3009900 w 3150394"/>
                        <a:gd name="connsiteY78" fmla="*/ 1021556 h 1814512"/>
                        <a:gd name="connsiteX79" fmla="*/ 3007519 w 3150394"/>
                        <a:gd name="connsiteY79" fmla="*/ 1181100 h 1814512"/>
                        <a:gd name="connsiteX80" fmla="*/ 2967038 w 3150394"/>
                        <a:gd name="connsiteY80" fmla="*/ 1214437 h 1814512"/>
                        <a:gd name="connsiteX81" fmla="*/ 3028950 w 3150394"/>
                        <a:gd name="connsiteY81" fmla="*/ 1293018 h 1814512"/>
                        <a:gd name="connsiteX82" fmla="*/ 3086100 w 3150394"/>
                        <a:gd name="connsiteY82" fmla="*/ 1238250 h 1814512"/>
                        <a:gd name="connsiteX83" fmla="*/ 3150394 w 3150394"/>
                        <a:gd name="connsiteY83" fmla="*/ 1240631 h 1814512"/>
                        <a:gd name="connsiteX84" fmla="*/ 3143250 w 3150394"/>
                        <a:gd name="connsiteY84" fmla="*/ 1283493 h 1814512"/>
                        <a:gd name="connsiteX85" fmla="*/ 3143250 w 3150394"/>
                        <a:gd name="connsiteY85" fmla="*/ 1419225 h 1814512"/>
                        <a:gd name="connsiteX86" fmla="*/ 3107531 w 3150394"/>
                        <a:gd name="connsiteY86" fmla="*/ 1431131 h 1814512"/>
                        <a:gd name="connsiteX87" fmla="*/ 3021806 w 3150394"/>
                        <a:gd name="connsiteY87" fmla="*/ 1443037 h 1814512"/>
                        <a:gd name="connsiteX88" fmla="*/ 2693194 w 3150394"/>
                        <a:gd name="connsiteY88" fmla="*/ 1459706 h 1814512"/>
                        <a:gd name="connsiteX89" fmla="*/ 2586038 w 3150394"/>
                        <a:gd name="connsiteY89" fmla="*/ 1488281 h 1814512"/>
                        <a:gd name="connsiteX90" fmla="*/ 2347913 w 3150394"/>
                        <a:gd name="connsiteY90" fmla="*/ 1728787 h 1814512"/>
                        <a:gd name="connsiteX91" fmla="*/ 1462088 w 3150394"/>
                        <a:gd name="connsiteY91" fmla="*/ 1781175 h 1814512"/>
                        <a:gd name="connsiteX92" fmla="*/ 1307306 w 3150394"/>
                        <a:gd name="connsiteY92" fmla="*/ 1802606 h 1814512"/>
                        <a:gd name="connsiteX93" fmla="*/ 885825 w 3150394"/>
                        <a:gd name="connsiteY93" fmla="*/ 1814512 h 1814512"/>
                        <a:gd name="connsiteX94" fmla="*/ 847725 w 3150394"/>
                        <a:gd name="connsiteY94" fmla="*/ 1747837 h 1814512"/>
                        <a:gd name="connsiteX95" fmla="*/ 759619 w 3150394"/>
                        <a:gd name="connsiteY95" fmla="*/ 1747837 h 1814512"/>
                        <a:gd name="connsiteX96" fmla="*/ 735806 w 3150394"/>
                        <a:gd name="connsiteY96" fmla="*/ 1738312 h 1814512"/>
                        <a:gd name="connsiteX97" fmla="*/ 681038 w 3150394"/>
                        <a:gd name="connsiteY97" fmla="*/ 1776412 h 1814512"/>
                        <a:gd name="connsiteX98" fmla="*/ 492919 w 3150394"/>
                        <a:gd name="connsiteY98" fmla="*/ 1764506 h 1814512"/>
                        <a:gd name="connsiteX99" fmla="*/ 416719 w 3150394"/>
                        <a:gd name="connsiteY99" fmla="*/ 1690687 h 1814512"/>
                        <a:gd name="connsiteX100" fmla="*/ 242888 w 3150394"/>
                        <a:gd name="connsiteY100" fmla="*/ 1581150 h 1814512"/>
                        <a:gd name="connsiteX101" fmla="*/ 61913 w 3150394"/>
                        <a:gd name="connsiteY101" fmla="*/ 1514475 h 1814512"/>
                        <a:gd name="connsiteX102" fmla="*/ 0 w 3150394"/>
                        <a:gd name="connsiteY102" fmla="*/ 1478756 h 1814512"/>
                        <a:gd name="connsiteX0" fmla="*/ 1026319 w 3150394"/>
                        <a:gd name="connsiteY0" fmla="*/ 295275 h 1814512"/>
                        <a:gd name="connsiteX1" fmla="*/ 1081088 w 3150394"/>
                        <a:gd name="connsiteY1" fmla="*/ 240506 h 1814512"/>
                        <a:gd name="connsiteX2" fmla="*/ 1104900 w 3150394"/>
                        <a:gd name="connsiteY2" fmla="*/ 195262 h 1814512"/>
                        <a:gd name="connsiteX3" fmla="*/ 1150144 w 3150394"/>
                        <a:gd name="connsiteY3" fmla="*/ 180975 h 1814512"/>
                        <a:gd name="connsiteX4" fmla="*/ 1181100 w 3150394"/>
                        <a:gd name="connsiteY4" fmla="*/ 209550 h 1814512"/>
                        <a:gd name="connsiteX5" fmla="*/ 1197769 w 3150394"/>
                        <a:gd name="connsiteY5" fmla="*/ 250031 h 1814512"/>
                        <a:gd name="connsiteX6" fmla="*/ 1231106 w 3150394"/>
                        <a:gd name="connsiteY6" fmla="*/ 278606 h 1814512"/>
                        <a:gd name="connsiteX7" fmla="*/ 1252538 w 3150394"/>
                        <a:gd name="connsiteY7" fmla="*/ 280987 h 1814512"/>
                        <a:gd name="connsiteX8" fmla="*/ 1307306 w 3150394"/>
                        <a:gd name="connsiteY8" fmla="*/ 280987 h 1814512"/>
                        <a:gd name="connsiteX9" fmla="*/ 1338263 w 3150394"/>
                        <a:gd name="connsiteY9" fmla="*/ 314325 h 1814512"/>
                        <a:gd name="connsiteX10" fmla="*/ 1340644 w 3150394"/>
                        <a:gd name="connsiteY10" fmla="*/ 335756 h 1814512"/>
                        <a:gd name="connsiteX11" fmla="*/ 1352550 w 3150394"/>
                        <a:gd name="connsiteY11" fmla="*/ 373856 h 1814512"/>
                        <a:gd name="connsiteX12" fmla="*/ 1393031 w 3150394"/>
                        <a:gd name="connsiteY12" fmla="*/ 357187 h 1814512"/>
                        <a:gd name="connsiteX13" fmla="*/ 1452563 w 3150394"/>
                        <a:gd name="connsiteY13" fmla="*/ 373856 h 1814512"/>
                        <a:gd name="connsiteX14" fmla="*/ 1524000 w 3150394"/>
                        <a:gd name="connsiteY14" fmla="*/ 385762 h 1814512"/>
                        <a:gd name="connsiteX15" fmla="*/ 1564481 w 3150394"/>
                        <a:gd name="connsiteY15" fmla="*/ 369093 h 1814512"/>
                        <a:gd name="connsiteX16" fmla="*/ 1576388 w 3150394"/>
                        <a:gd name="connsiteY16" fmla="*/ 311943 h 1814512"/>
                        <a:gd name="connsiteX17" fmla="*/ 1581150 w 3150394"/>
                        <a:gd name="connsiteY17" fmla="*/ 285750 h 1814512"/>
                        <a:gd name="connsiteX18" fmla="*/ 1607344 w 3150394"/>
                        <a:gd name="connsiteY18" fmla="*/ 269081 h 1814512"/>
                        <a:gd name="connsiteX19" fmla="*/ 1735931 w 3150394"/>
                        <a:gd name="connsiteY19" fmla="*/ 178593 h 1814512"/>
                        <a:gd name="connsiteX20" fmla="*/ 1764506 w 3150394"/>
                        <a:gd name="connsiteY20" fmla="*/ 176212 h 1814512"/>
                        <a:gd name="connsiteX21" fmla="*/ 1774031 w 3150394"/>
                        <a:gd name="connsiteY21" fmla="*/ 228600 h 1814512"/>
                        <a:gd name="connsiteX22" fmla="*/ 1766888 w 3150394"/>
                        <a:gd name="connsiteY22" fmla="*/ 261937 h 1814512"/>
                        <a:gd name="connsiteX23" fmla="*/ 1843088 w 3150394"/>
                        <a:gd name="connsiteY23" fmla="*/ 280987 h 1814512"/>
                        <a:gd name="connsiteX24" fmla="*/ 1890713 w 3150394"/>
                        <a:gd name="connsiteY24" fmla="*/ 228600 h 1814512"/>
                        <a:gd name="connsiteX25" fmla="*/ 1943100 w 3150394"/>
                        <a:gd name="connsiteY25" fmla="*/ 183356 h 1814512"/>
                        <a:gd name="connsiteX26" fmla="*/ 1964531 w 3150394"/>
                        <a:gd name="connsiteY26" fmla="*/ 133350 h 1814512"/>
                        <a:gd name="connsiteX27" fmla="*/ 2014538 w 3150394"/>
                        <a:gd name="connsiteY27" fmla="*/ 109537 h 1814512"/>
                        <a:gd name="connsiteX28" fmla="*/ 2055019 w 3150394"/>
                        <a:gd name="connsiteY28" fmla="*/ 80962 h 1814512"/>
                        <a:gd name="connsiteX29" fmla="*/ 2100263 w 3150394"/>
                        <a:gd name="connsiteY29" fmla="*/ 33337 h 1814512"/>
                        <a:gd name="connsiteX30" fmla="*/ 2145506 w 3150394"/>
                        <a:gd name="connsiteY30" fmla="*/ 33337 h 1814512"/>
                        <a:gd name="connsiteX31" fmla="*/ 2181225 w 3150394"/>
                        <a:gd name="connsiteY31" fmla="*/ 0 h 1814512"/>
                        <a:gd name="connsiteX32" fmla="*/ 2247900 w 3150394"/>
                        <a:gd name="connsiteY32" fmla="*/ 71437 h 1814512"/>
                        <a:gd name="connsiteX33" fmla="*/ 2224088 w 3150394"/>
                        <a:gd name="connsiteY33" fmla="*/ 102393 h 1814512"/>
                        <a:gd name="connsiteX34" fmla="*/ 2216944 w 3150394"/>
                        <a:gd name="connsiteY34" fmla="*/ 138112 h 1814512"/>
                        <a:gd name="connsiteX35" fmla="*/ 2262188 w 3150394"/>
                        <a:gd name="connsiteY35" fmla="*/ 180975 h 1814512"/>
                        <a:gd name="connsiteX36" fmla="*/ 2326481 w 3150394"/>
                        <a:gd name="connsiteY36" fmla="*/ 178593 h 1814512"/>
                        <a:gd name="connsiteX37" fmla="*/ 2362200 w 3150394"/>
                        <a:gd name="connsiteY37" fmla="*/ 183356 h 1814512"/>
                        <a:gd name="connsiteX38" fmla="*/ 2440781 w 3150394"/>
                        <a:gd name="connsiteY38" fmla="*/ 230981 h 1814512"/>
                        <a:gd name="connsiteX39" fmla="*/ 2476500 w 3150394"/>
                        <a:gd name="connsiteY39" fmla="*/ 245268 h 1814512"/>
                        <a:gd name="connsiteX40" fmla="*/ 2478881 w 3150394"/>
                        <a:gd name="connsiteY40" fmla="*/ 292893 h 1814512"/>
                        <a:gd name="connsiteX41" fmla="*/ 2462213 w 3150394"/>
                        <a:gd name="connsiteY41" fmla="*/ 345281 h 1814512"/>
                        <a:gd name="connsiteX42" fmla="*/ 2507456 w 3150394"/>
                        <a:gd name="connsiteY42" fmla="*/ 359568 h 1814512"/>
                        <a:gd name="connsiteX43" fmla="*/ 2543175 w 3150394"/>
                        <a:gd name="connsiteY43" fmla="*/ 304800 h 1814512"/>
                        <a:gd name="connsiteX44" fmla="*/ 2586038 w 3150394"/>
                        <a:gd name="connsiteY44" fmla="*/ 295275 h 1814512"/>
                        <a:gd name="connsiteX45" fmla="*/ 2643188 w 3150394"/>
                        <a:gd name="connsiteY45" fmla="*/ 257175 h 1814512"/>
                        <a:gd name="connsiteX46" fmla="*/ 2705100 w 3150394"/>
                        <a:gd name="connsiteY46" fmla="*/ 266700 h 1814512"/>
                        <a:gd name="connsiteX47" fmla="*/ 2781300 w 3150394"/>
                        <a:gd name="connsiteY47" fmla="*/ 226218 h 1814512"/>
                        <a:gd name="connsiteX48" fmla="*/ 2809875 w 3150394"/>
                        <a:gd name="connsiteY48" fmla="*/ 166687 h 1814512"/>
                        <a:gd name="connsiteX49" fmla="*/ 2824163 w 3150394"/>
                        <a:gd name="connsiteY49" fmla="*/ 147637 h 1814512"/>
                        <a:gd name="connsiteX50" fmla="*/ 2831306 w 3150394"/>
                        <a:gd name="connsiteY50" fmla="*/ 142875 h 1814512"/>
                        <a:gd name="connsiteX51" fmla="*/ 2840831 w 3150394"/>
                        <a:gd name="connsiteY51" fmla="*/ 130968 h 1814512"/>
                        <a:gd name="connsiteX52" fmla="*/ 2855119 w 3150394"/>
                        <a:gd name="connsiteY52" fmla="*/ 92868 h 1814512"/>
                        <a:gd name="connsiteX53" fmla="*/ 2938463 w 3150394"/>
                        <a:gd name="connsiteY53" fmla="*/ 114300 h 1814512"/>
                        <a:gd name="connsiteX54" fmla="*/ 3009900 w 3150394"/>
                        <a:gd name="connsiteY54" fmla="*/ 130968 h 1814512"/>
                        <a:gd name="connsiteX55" fmla="*/ 3024188 w 3150394"/>
                        <a:gd name="connsiteY55" fmla="*/ 200025 h 1814512"/>
                        <a:gd name="connsiteX56" fmla="*/ 3059906 w 3150394"/>
                        <a:gd name="connsiteY56" fmla="*/ 252412 h 1814512"/>
                        <a:gd name="connsiteX57" fmla="*/ 3045619 w 3150394"/>
                        <a:gd name="connsiteY57" fmla="*/ 259556 h 1814512"/>
                        <a:gd name="connsiteX58" fmla="*/ 3005138 w 3150394"/>
                        <a:gd name="connsiteY58" fmla="*/ 283368 h 1814512"/>
                        <a:gd name="connsiteX59" fmla="*/ 2976563 w 3150394"/>
                        <a:gd name="connsiteY59" fmla="*/ 314325 h 1814512"/>
                        <a:gd name="connsiteX60" fmla="*/ 2947988 w 3150394"/>
                        <a:gd name="connsiteY60" fmla="*/ 354806 h 1814512"/>
                        <a:gd name="connsiteX61" fmla="*/ 2945606 w 3150394"/>
                        <a:gd name="connsiteY61" fmla="*/ 416718 h 1814512"/>
                        <a:gd name="connsiteX62" fmla="*/ 2959894 w 3150394"/>
                        <a:gd name="connsiteY62" fmla="*/ 466725 h 1814512"/>
                        <a:gd name="connsiteX63" fmla="*/ 2986088 w 3150394"/>
                        <a:gd name="connsiteY63" fmla="*/ 511968 h 1814512"/>
                        <a:gd name="connsiteX64" fmla="*/ 3009900 w 3150394"/>
                        <a:gd name="connsiteY64" fmla="*/ 535781 h 1814512"/>
                        <a:gd name="connsiteX65" fmla="*/ 2990850 w 3150394"/>
                        <a:gd name="connsiteY65" fmla="*/ 564356 h 1814512"/>
                        <a:gd name="connsiteX66" fmla="*/ 2969419 w 3150394"/>
                        <a:gd name="connsiteY66" fmla="*/ 590550 h 1814512"/>
                        <a:gd name="connsiteX67" fmla="*/ 2964656 w 3150394"/>
                        <a:gd name="connsiteY67" fmla="*/ 640556 h 1814512"/>
                        <a:gd name="connsiteX68" fmla="*/ 2978944 w 3150394"/>
                        <a:gd name="connsiteY68" fmla="*/ 666750 h 1814512"/>
                        <a:gd name="connsiteX69" fmla="*/ 3005138 w 3150394"/>
                        <a:gd name="connsiteY69" fmla="*/ 716756 h 1814512"/>
                        <a:gd name="connsiteX70" fmla="*/ 3028950 w 3150394"/>
                        <a:gd name="connsiteY70" fmla="*/ 733425 h 1814512"/>
                        <a:gd name="connsiteX71" fmla="*/ 3019425 w 3150394"/>
                        <a:gd name="connsiteY71" fmla="*/ 769143 h 1814512"/>
                        <a:gd name="connsiteX72" fmla="*/ 3012281 w 3150394"/>
                        <a:gd name="connsiteY72" fmla="*/ 790575 h 1814512"/>
                        <a:gd name="connsiteX73" fmla="*/ 2986088 w 3150394"/>
                        <a:gd name="connsiteY73" fmla="*/ 807243 h 1814512"/>
                        <a:gd name="connsiteX74" fmla="*/ 2959894 w 3150394"/>
                        <a:gd name="connsiteY74" fmla="*/ 828675 h 1814512"/>
                        <a:gd name="connsiteX75" fmla="*/ 2971800 w 3150394"/>
                        <a:gd name="connsiteY75" fmla="*/ 859631 h 1814512"/>
                        <a:gd name="connsiteX76" fmla="*/ 2981325 w 3150394"/>
                        <a:gd name="connsiteY76" fmla="*/ 883443 h 1814512"/>
                        <a:gd name="connsiteX77" fmla="*/ 3057525 w 3150394"/>
                        <a:gd name="connsiteY77" fmla="*/ 962025 h 1814512"/>
                        <a:gd name="connsiteX78" fmla="*/ 3009900 w 3150394"/>
                        <a:gd name="connsiteY78" fmla="*/ 1021556 h 1814512"/>
                        <a:gd name="connsiteX79" fmla="*/ 3007519 w 3150394"/>
                        <a:gd name="connsiteY79" fmla="*/ 1181100 h 1814512"/>
                        <a:gd name="connsiteX80" fmla="*/ 2967038 w 3150394"/>
                        <a:gd name="connsiteY80" fmla="*/ 1214437 h 1814512"/>
                        <a:gd name="connsiteX81" fmla="*/ 3028950 w 3150394"/>
                        <a:gd name="connsiteY81" fmla="*/ 1293018 h 1814512"/>
                        <a:gd name="connsiteX82" fmla="*/ 3086100 w 3150394"/>
                        <a:gd name="connsiteY82" fmla="*/ 1238250 h 1814512"/>
                        <a:gd name="connsiteX83" fmla="*/ 3150394 w 3150394"/>
                        <a:gd name="connsiteY83" fmla="*/ 1240631 h 1814512"/>
                        <a:gd name="connsiteX84" fmla="*/ 3143250 w 3150394"/>
                        <a:gd name="connsiteY84" fmla="*/ 1283493 h 1814512"/>
                        <a:gd name="connsiteX85" fmla="*/ 3143250 w 3150394"/>
                        <a:gd name="connsiteY85" fmla="*/ 1419225 h 1814512"/>
                        <a:gd name="connsiteX86" fmla="*/ 3107531 w 3150394"/>
                        <a:gd name="connsiteY86" fmla="*/ 1431131 h 1814512"/>
                        <a:gd name="connsiteX87" fmla="*/ 3021806 w 3150394"/>
                        <a:gd name="connsiteY87" fmla="*/ 1443037 h 1814512"/>
                        <a:gd name="connsiteX88" fmla="*/ 2693194 w 3150394"/>
                        <a:gd name="connsiteY88" fmla="*/ 1459706 h 1814512"/>
                        <a:gd name="connsiteX89" fmla="*/ 2586038 w 3150394"/>
                        <a:gd name="connsiteY89" fmla="*/ 1488281 h 1814512"/>
                        <a:gd name="connsiteX90" fmla="*/ 2347913 w 3150394"/>
                        <a:gd name="connsiteY90" fmla="*/ 1728787 h 1814512"/>
                        <a:gd name="connsiteX91" fmla="*/ 1462088 w 3150394"/>
                        <a:gd name="connsiteY91" fmla="*/ 1781175 h 1814512"/>
                        <a:gd name="connsiteX92" fmla="*/ 1307306 w 3150394"/>
                        <a:gd name="connsiteY92" fmla="*/ 1802606 h 1814512"/>
                        <a:gd name="connsiteX93" fmla="*/ 885825 w 3150394"/>
                        <a:gd name="connsiteY93" fmla="*/ 1814512 h 1814512"/>
                        <a:gd name="connsiteX94" fmla="*/ 847725 w 3150394"/>
                        <a:gd name="connsiteY94" fmla="*/ 1747837 h 1814512"/>
                        <a:gd name="connsiteX95" fmla="*/ 759619 w 3150394"/>
                        <a:gd name="connsiteY95" fmla="*/ 1747837 h 1814512"/>
                        <a:gd name="connsiteX96" fmla="*/ 735806 w 3150394"/>
                        <a:gd name="connsiteY96" fmla="*/ 1738312 h 1814512"/>
                        <a:gd name="connsiteX97" fmla="*/ 681038 w 3150394"/>
                        <a:gd name="connsiteY97" fmla="*/ 1776412 h 1814512"/>
                        <a:gd name="connsiteX98" fmla="*/ 492919 w 3150394"/>
                        <a:gd name="connsiteY98" fmla="*/ 1764506 h 1814512"/>
                        <a:gd name="connsiteX99" fmla="*/ 416719 w 3150394"/>
                        <a:gd name="connsiteY99" fmla="*/ 1690687 h 1814512"/>
                        <a:gd name="connsiteX100" fmla="*/ 242888 w 3150394"/>
                        <a:gd name="connsiteY100" fmla="*/ 1581150 h 1814512"/>
                        <a:gd name="connsiteX101" fmla="*/ 61913 w 3150394"/>
                        <a:gd name="connsiteY101" fmla="*/ 1514475 h 1814512"/>
                        <a:gd name="connsiteX102" fmla="*/ 0 w 3150394"/>
                        <a:gd name="connsiteY102" fmla="*/ 1478756 h 1814512"/>
                        <a:gd name="connsiteX103" fmla="*/ 1026319 w 3150394"/>
                        <a:gd name="connsiteY103" fmla="*/ 295275 h 1814512"/>
                        <a:gd name="connsiteX0" fmla="*/ 1026319 w 3150394"/>
                        <a:gd name="connsiteY0" fmla="*/ 295275 h 1814512"/>
                        <a:gd name="connsiteX1" fmla="*/ 1081088 w 3150394"/>
                        <a:gd name="connsiteY1" fmla="*/ 240506 h 1814512"/>
                        <a:gd name="connsiteX2" fmla="*/ 1104900 w 3150394"/>
                        <a:gd name="connsiteY2" fmla="*/ 195262 h 1814512"/>
                        <a:gd name="connsiteX3" fmla="*/ 1150144 w 3150394"/>
                        <a:gd name="connsiteY3" fmla="*/ 180975 h 1814512"/>
                        <a:gd name="connsiteX4" fmla="*/ 1181100 w 3150394"/>
                        <a:gd name="connsiteY4" fmla="*/ 209550 h 1814512"/>
                        <a:gd name="connsiteX5" fmla="*/ 1197769 w 3150394"/>
                        <a:gd name="connsiteY5" fmla="*/ 250031 h 1814512"/>
                        <a:gd name="connsiteX6" fmla="*/ 1231106 w 3150394"/>
                        <a:gd name="connsiteY6" fmla="*/ 278606 h 1814512"/>
                        <a:gd name="connsiteX7" fmla="*/ 1252538 w 3150394"/>
                        <a:gd name="connsiteY7" fmla="*/ 280987 h 1814512"/>
                        <a:gd name="connsiteX8" fmla="*/ 1307306 w 3150394"/>
                        <a:gd name="connsiteY8" fmla="*/ 280987 h 1814512"/>
                        <a:gd name="connsiteX9" fmla="*/ 1338263 w 3150394"/>
                        <a:gd name="connsiteY9" fmla="*/ 314325 h 1814512"/>
                        <a:gd name="connsiteX10" fmla="*/ 1340644 w 3150394"/>
                        <a:gd name="connsiteY10" fmla="*/ 335756 h 1814512"/>
                        <a:gd name="connsiteX11" fmla="*/ 1352550 w 3150394"/>
                        <a:gd name="connsiteY11" fmla="*/ 373856 h 1814512"/>
                        <a:gd name="connsiteX12" fmla="*/ 1393031 w 3150394"/>
                        <a:gd name="connsiteY12" fmla="*/ 357187 h 1814512"/>
                        <a:gd name="connsiteX13" fmla="*/ 1452563 w 3150394"/>
                        <a:gd name="connsiteY13" fmla="*/ 373856 h 1814512"/>
                        <a:gd name="connsiteX14" fmla="*/ 1524000 w 3150394"/>
                        <a:gd name="connsiteY14" fmla="*/ 385762 h 1814512"/>
                        <a:gd name="connsiteX15" fmla="*/ 1564481 w 3150394"/>
                        <a:gd name="connsiteY15" fmla="*/ 369093 h 1814512"/>
                        <a:gd name="connsiteX16" fmla="*/ 1576388 w 3150394"/>
                        <a:gd name="connsiteY16" fmla="*/ 311943 h 1814512"/>
                        <a:gd name="connsiteX17" fmla="*/ 1581150 w 3150394"/>
                        <a:gd name="connsiteY17" fmla="*/ 285750 h 1814512"/>
                        <a:gd name="connsiteX18" fmla="*/ 1607344 w 3150394"/>
                        <a:gd name="connsiteY18" fmla="*/ 269081 h 1814512"/>
                        <a:gd name="connsiteX19" fmla="*/ 1735931 w 3150394"/>
                        <a:gd name="connsiteY19" fmla="*/ 178593 h 1814512"/>
                        <a:gd name="connsiteX20" fmla="*/ 1764506 w 3150394"/>
                        <a:gd name="connsiteY20" fmla="*/ 176212 h 1814512"/>
                        <a:gd name="connsiteX21" fmla="*/ 1774031 w 3150394"/>
                        <a:gd name="connsiteY21" fmla="*/ 228600 h 1814512"/>
                        <a:gd name="connsiteX22" fmla="*/ 1766888 w 3150394"/>
                        <a:gd name="connsiteY22" fmla="*/ 261937 h 1814512"/>
                        <a:gd name="connsiteX23" fmla="*/ 1843088 w 3150394"/>
                        <a:gd name="connsiteY23" fmla="*/ 280987 h 1814512"/>
                        <a:gd name="connsiteX24" fmla="*/ 1890713 w 3150394"/>
                        <a:gd name="connsiteY24" fmla="*/ 228600 h 1814512"/>
                        <a:gd name="connsiteX25" fmla="*/ 1943100 w 3150394"/>
                        <a:gd name="connsiteY25" fmla="*/ 183356 h 1814512"/>
                        <a:gd name="connsiteX26" fmla="*/ 1964531 w 3150394"/>
                        <a:gd name="connsiteY26" fmla="*/ 133350 h 1814512"/>
                        <a:gd name="connsiteX27" fmla="*/ 2014538 w 3150394"/>
                        <a:gd name="connsiteY27" fmla="*/ 109537 h 1814512"/>
                        <a:gd name="connsiteX28" fmla="*/ 2055019 w 3150394"/>
                        <a:gd name="connsiteY28" fmla="*/ 80962 h 1814512"/>
                        <a:gd name="connsiteX29" fmla="*/ 2100263 w 3150394"/>
                        <a:gd name="connsiteY29" fmla="*/ 33337 h 1814512"/>
                        <a:gd name="connsiteX30" fmla="*/ 2145506 w 3150394"/>
                        <a:gd name="connsiteY30" fmla="*/ 33337 h 1814512"/>
                        <a:gd name="connsiteX31" fmla="*/ 2181225 w 3150394"/>
                        <a:gd name="connsiteY31" fmla="*/ 0 h 1814512"/>
                        <a:gd name="connsiteX32" fmla="*/ 2247900 w 3150394"/>
                        <a:gd name="connsiteY32" fmla="*/ 71437 h 1814512"/>
                        <a:gd name="connsiteX33" fmla="*/ 2224088 w 3150394"/>
                        <a:gd name="connsiteY33" fmla="*/ 102393 h 1814512"/>
                        <a:gd name="connsiteX34" fmla="*/ 2216944 w 3150394"/>
                        <a:gd name="connsiteY34" fmla="*/ 138112 h 1814512"/>
                        <a:gd name="connsiteX35" fmla="*/ 2262188 w 3150394"/>
                        <a:gd name="connsiteY35" fmla="*/ 180975 h 1814512"/>
                        <a:gd name="connsiteX36" fmla="*/ 2326481 w 3150394"/>
                        <a:gd name="connsiteY36" fmla="*/ 178593 h 1814512"/>
                        <a:gd name="connsiteX37" fmla="*/ 2362200 w 3150394"/>
                        <a:gd name="connsiteY37" fmla="*/ 183356 h 1814512"/>
                        <a:gd name="connsiteX38" fmla="*/ 2440781 w 3150394"/>
                        <a:gd name="connsiteY38" fmla="*/ 230981 h 1814512"/>
                        <a:gd name="connsiteX39" fmla="*/ 2476500 w 3150394"/>
                        <a:gd name="connsiteY39" fmla="*/ 245268 h 1814512"/>
                        <a:gd name="connsiteX40" fmla="*/ 2478881 w 3150394"/>
                        <a:gd name="connsiteY40" fmla="*/ 292893 h 1814512"/>
                        <a:gd name="connsiteX41" fmla="*/ 2462213 w 3150394"/>
                        <a:gd name="connsiteY41" fmla="*/ 345281 h 1814512"/>
                        <a:gd name="connsiteX42" fmla="*/ 2507456 w 3150394"/>
                        <a:gd name="connsiteY42" fmla="*/ 359568 h 1814512"/>
                        <a:gd name="connsiteX43" fmla="*/ 2543175 w 3150394"/>
                        <a:gd name="connsiteY43" fmla="*/ 304800 h 1814512"/>
                        <a:gd name="connsiteX44" fmla="*/ 2586038 w 3150394"/>
                        <a:gd name="connsiteY44" fmla="*/ 295275 h 1814512"/>
                        <a:gd name="connsiteX45" fmla="*/ 2643188 w 3150394"/>
                        <a:gd name="connsiteY45" fmla="*/ 257175 h 1814512"/>
                        <a:gd name="connsiteX46" fmla="*/ 2705100 w 3150394"/>
                        <a:gd name="connsiteY46" fmla="*/ 266700 h 1814512"/>
                        <a:gd name="connsiteX47" fmla="*/ 2781300 w 3150394"/>
                        <a:gd name="connsiteY47" fmla="*/ 226218 h 1814512"/>
                        <a:gd name="connsiteX48" fmla="*/ 2809875 w 3150394"/>
                        <a:gd name="connsiteY48" fmla="*/ 166687 h 1814512"/>
                        <a:gd name="connsiteX49" fmla="*/ 2824163 w 3150394"/>
                        <a:gd name="connsiteY49" fmla="*/ 147637 h 1814512"/>
                        <a:gd name="connsiteX50" fmla="*/ 2831306 w 3150394"/>
                        <a:gd name="connsiteY50" fmla="*/ 142875 h 1814512"/>
                        <a:gd name="connsiteX51" fmla="*/ 2840831 w 3150394"/>
                        <a:gd name="connsiteY51" fmla="*/ 130968 h 1814512"/>
                        <a:gd name="connsiteX52" fmla="*/ 2855119 w 3150394"/>
                        <a:gd name="connsiteY52" fmla="*/ 92868 h 1814512"/>
                        <a:gd name="connsiteX53" fmla="*/ 2938463 w 3150394"/>
                        <a:gd name="connsiteY53" fmla="*/ 114300 h 1814512"/>
                        <a:gd name="connsiteX54" fmla="*/ 3009900 w 3150394"/>
                        <a:gd name="connsiteY54" fmla="*/ 130968 h 1814512"/>
                        <a:gd name="connsiteX55" fmla="*/ 3024188 w 3150394"/>
                        <a:gd name="connsiteY55" fmla="*/ 200025 h 1814512"/>
                        <a:gd name="connsiteX56" fmla="*/ 3059906 w 3150394"/>
                        <a:gd name="connsiteY56" fmla="*/ 252412 h 1814512"/>
                        <a:gd name="connsiteX57" fmla="*/ 3045619 w 3150394"/>
                        <a:gd name="connsiteY57" fmla="*/ 259556 h 1814512"/>
                        <a:gd name="connsiteX58" fmla="*/ 3005138 w 3150394"/>
                        <a:gd name="connsiteY58" fmla="*/ 283368 h 1814512"/>
                        <a:gd name="connsiteX59" fmla="*/ 2976563 w 3150394"/>
                        <a:gd name="connsiteY59" fmla="*/ 314325 h 1814512"/>
                        <a:gd name="connsiteX60" fmla="*/ 2947988 w 3150394"/>
                        <a:gd name="connsiteY60" fmla="*/ 354806 h 1814512"/>
                        <a:gd name="connsiteX61" fmla="*/ 2945606 w 3150394"/>
                        <a:gd name="connsiteY61" fmla="*/ 416718 h 1814512"/>
                        <a:gd name="connsiteX62" fmla="*/ 2959894 w 3150394"/>
                        <a:gd name="connsiteY62" fmla="*/ 466725 h 1814512"/>
                        <a:gd name="connsiteX63" fmla="*/ 2986088 w 3150394"/>
                        <a:gd name="connsiteY63" fmla="*/ 511968 h 1814512"/>
                        <a:gd name="connsiteX64" fmla="*/ 3009900 w 3150394"/>
                        <a:gd name="connsiteY64" fmla="*/ 535781 h 1814512"/>
                        <a:gd name="connsiteX65" fmla="*/ 2990850 w 3150394"/>
                        <a:gd name="connsiteY65" fmla="*/ 564356 h 1814512"/>
                        <a:gd name="connsiteX66" fmla="*/ 2969419 w 3150394"/>
                        <a:gd name="connsiteY66" fmla="*/ 590550 h 1814512"/>
                        <a:gd name="connsiteX67" fmla="*/ 2964656 w 3150394"/>
                        <a:gd name="connsiteY67" fmla="*/ 640556 h 1814512"/>
                        <a:gd name="connsiteX68" fmla="*/ 2978944 w 3150394"/>
                        <a:gd name="connsiteY68" fmla="*/ 666750 h 1814512"/>
                        <a:gd name="connsiteX69" fmla="*/ 3005138 w 3150394"/>
                        <a:gd name="connsiteY69" fmla="*/ 716756 h 1814512"/>
                        <a:gd name="connsiteX70" fmla="*/ 3028950 w 3150394"/>
                        <a:gd name="connsiteY70" fmla="*/ 733425 h 1814512"/>
                        <a:gd name="connsiteX71" fmla="*/ 3019425 w 3150394"/>
                        <a:gd name="connsiteY71" fmla="*/ 769143 h 1814512"/>
                        <a:gd name="connsiteX72" fmla="*/ 3012281 w 3150394"/>
                        <a:gd name="connsiteY72" fmla="*/ 790575 h 1814512"/>
                        <a:gd name="connsiteX73" fmla="*/ 2986088 w 3150394"/>
                        <a:gd name="connsiteY73" fmla="*/ 807243 h 1814512"/>
                        <a:gd name="connsiteX74" fmla="*/ 2959894 w 3150394"/>
                        <a:gd name="connsiteY74" fmla="*/ 828675 h 1814512"/>
                        <a:gd name="connsiteX75" fmla="*/ 2971800 w 3150394"/>
                        <a:gd name="connsiteY75" fmla="*/ 859631 h 1814512"/>
                        <a:gd name="connsiteX76" fmla="*/ 2981325 w 3150394"/>
                        <a:gd name="connsiteY76" fmla="*/ 883443 h 1814512"/>
                        <a:gd name="connsiteX77" fmla="*/ 3057525 w 3150394"/>
                        <a:gd name="connsiteY77" fmla="*/ 962025 h 1814512"/>
                        <a:gd name="connsiteX78" fmla="*/ 3009900 w 3150394"/>
                        <a:gd name="connsiteY78" fmla="*/ 1021556 h 1814512"/>
                        <a:gd name="connsiteX79" fmla="*/ 3007519 w 3150394"/>
                        <a:gd name="connsiteY79" fmla="*/ 1181100 h 1814512"/>
                        <a:gd name="connsiteX80" fmla="*/ 2967038 w 3150394"/>
                        <a:gd name="connsiteY80" fmla="*/ 1214437 h 1814512"/>
                        <a:gd name="connsiteX81" fmla="*/ 3028950 w 3150394"/>
                        <a:gd name="connsiteY81" fmla="*/ 1293018 h 1814512"/>
                        <a:gd name="connsiteX82" fmla="*/ 3086100 w 3150394"/>
                        <a:gd name="connsiteY82" fmla="*/ 1238250 h 1814512"/>
                        <a:gd name="connsiteX83" fmla="*/ 3150394 w 3150394"/>
                        <a:gd name="connsiteY83" fmla="*/ 1240631 h 1814512"/>
                        <a:gd name="connsiteX84" fmla="*/ 3143250 w 3150394"/>
                        <a:gd name="connsiteY84" fmla="*/ 1283493 h 1814512"/>
                        <a:gd name="connsiteX85" fmla="*/ 3143250 w 3150394"/>
                        <a:gd name="connsiteY85" fmla="*/ 1419225 h 1814512"/>
                        <a:gd name="connsiteX86" fmla="*/ 3107531 w 3150394"/>
                        <a:gd name="connsiteY86" fmla="*/ 1431131 h 1814512"/>
                        <a:gd name="connsiteX87" fmla="*/ 3021806 w 3150394"/>
                        <a:gd name="connsiteY87" fmla="*/ 1443037 h 1814512"/>
                        <a:gd name="connsiteX88" fmla="*/ 2693194 w 3150394"/>
                        <a:gd name="connsiteY88" fmla="*/ 1459706 h 1814512"/>
                        <a:gd name="connsiteX89" fmla="*/ 2586038 w 3150394"/>
                        <a:gd name="connsiteY89" fmla="*/ 1488281 h 1814512"/>
                        <a:gd name="connsiteX90" fmla="*/ 2347913 w 3150394"/>
                        <a:gd name="connsiteY90" fmla="*/ 1728787 h 1814512"/>
                        <a:gd name="connsiteX91" fmla="*/ 1462088 w 3150394"/>
                        <a:gd name="connsiteY91" fmla="*/ 1781175 h 1814512"/>
                        <a:gd name="connsiteX92" fmla="*/ 1307306 w 3150394"/>
                        <a:gd name="connsiteY92" fmla="*/ 1802606 h 1814512"/>
                        <a:gd name="connsiteX93" fmla="*/ 885825 w 3150394"/>
                        <a:gd name="connsiteY93" fmla="*/ 1814512 h 1814512"/>
                        <a:gd name="connsiteX94" fmla="*/ 847725 w 3150394"/>
                        <a:gd name="connsiteY94" fmla="*/ 1747837 h 1814512"/>
                        <a:gd name="connsiteX95" fmla="*/ 759619 w 3150394"/>
                        <a:gd name="connsiteY95" fmla="*/ 1747837 h 1814512"/>
                        <a:gd name="connsiteX96" fmla="*/ 735806 w 3150394"/>
                        <a:gd name="connsiteY96" fmla="*/ 1738312 h 1814512"/>
                        <a:gd name="connsiteX97" fmla="*/ 681038 w 3150394"/>
                        <a:gd name="connsiteY97" fmla="*/ 1776412 h 1814512"/>
                        <a:gd name="connsiteX98" fmla="*/ 492919 w 3150394"/>
                        <a:gd name="connsiteY98" fmla="*/ 1764506 h 1814512"/>
                        <a:gd name="connsiteX99" fmla="*/ 416719 w 3150394"/>
                        <a:gd name="connsiteY99" fmla="*/ 1690687 h 1814512"/>
                        <a:gd name="connsiteX100" fmla="*/ 242888 w 3150394"/>
                        <a:gd name="connsiteY100" fmla="*/ 1581150 h 1814512"/>
                        <a:gd name="connsiteX101" fmla="*/ 61913 w 3150394"/>
                        <a:gd name="connsiteY101" fmla="*/ 1514475 h 1814512"/>
                        <a:gd name="connsiteX102" fmla="*/ 0 w 3150394"/>
                        <a:gd name="connsiteY102" fmla="*/ 1478756 h 1814512"/>
                        <a:gd name="connsiteX103" fmla="*/ 64294 w 3150394"/>
                        <a:gd name="connsiteY103" fmla="*/ 1402556 h 1814512"/>
                        <a:gd name="connsiteX104" fmla="*/ 1026319 w 3150394"/>
                        <a:gd name="connsiteY104" fmla="*/ 295275 h 1814512"/>
                        <a:gd name="connsiteX0" fmla="*/ 1071753 w 3195828"/>
                        <a:gd name="connsiteY0" fmla="*/ 295275 h 1814512"/>
                        <a:gd name="connsiteX1" fmla="*/ 1126522 w 3195828"/>
                        <a:gd name="connsiteY1" fmla="*/ 240506 h 1814512"/>
                        <a:gd name="connsiteX2" fmla="*/ 1150334 w 3195828"/>
                        <a:gd name="connsiteY2" fmla="*/ 195262 h 1814512"/>
                        <a:gd name="connsiteX3" fmla="*/ 1195578 w 3195828"/>
                        <a:gd name="connsiteY3" fmla="*/ 180975 h 1814512"/>
                        <a:gd name="connsiteX4" fmla="*/ 1226534 w 3195828"/>
                        <a:gd name="connsiteY4" fmla="*/ 209550 h 1814512"/>
                        <a:gd name="connsiteX5" fmla="*/ 1243203 w 3195828"/>
                        <a:gd name="connsiteY5" fmla="*/ 250031 h 1814512"/>
                        <a:gd name="connsiteX6" fmla="*/ 1276540 w 3195828"/>
                        <a:gd name="connsiteY6" fmla="*/ 278606 h 1814512"/>
                        <a:gd name="connsiteX7" fmla="*/ 1297972 w 3195828"/>
                        <a:gd name="connsiteY7" fmla="*/ 280987 h 1814512"/>
                        <a:gd name="connsiteX8" fmla="*/ 1352740 w 3195828"/>
                        <a:gd name="connsiteY8" fmla="*/ 280987 h 1814512"/>
                        <a:gd name="connsiteX9" fmla="*/ 1383697 w 3195828"/>
                        <a:gd name="connsiteY9" fmla="*/ 314325 h 1814512"/>
                        <a:gd name="connsiteX10" fmla="*/ 1386078 w 3195828"/>
                        <a:gd name="connsiteY10" fmla="*/ 335756 h 1814512"/>
                        <a:gd name="connsiteX11" fmla="*/ 1397984 w 3195828"/>
                        <a:gd name="connsiteY11" fmla="*/ 373856 h 1814512"/>
                        <a:gd name="connsiteX12" fmla="*/ 1438465 w 3195828"/>
                        <a:gd name="connsiteY12" fmla="*/ 357187 h 1814512"/>
                        <a:gd name="connsiteX13" fmla="*/ 1497997 w 3195828"/>
                        <a:gd name="connsiteY13" fmla="*/ 373856 h 1814512"/>
                        <a:gd name="connsiteX14" fmla="*/ 1569434 w 3195828"/>
                        <a:gd name="connsiteY14" fmla="*/ 385762 h 1814512"/>
                        <a:gd name="connsiteX15" fmla="*/ 1609915 w 3195828"/>
                        <a:gd name="connsiteY15" fmla="*/ 369093 h 1814512"/>
                        <a:gd name="connsiteX16" fmla="*/ 1621822 w 3195828"/>
                        <a:gd name="connsiteY16" fmla="*/ 311943 h 1814512"/>
                        <a:gd name="connsiteX17" fmla="*/ 1626584 w 3195828"/>
                        <a:gd name="connsiteY17" fmla="*/ 285750 h 1814512"/>
                        <a:gd name="connsiteX18" fmla="*/ 1652778 w 3195828"/>
                        <a:gd name="connsiteY18" fmla="*/ 269081 h 1814512"/>
                        <a:gd name="connsiteX19" fmla="*/ 1781365 w 3195828"/>
                        <a:gd name="connsiteY19" fmla="*/ 178593 h 1814512"/>
                        <a:gd name="connsiteX20" fmla="*/ 1809940 w 3195828"/>
                        <a:gd name="connsiteY20" fmla="*/ 176212 h 1814512"/>
                        <a:gd name="connsiteX21" fmla="*/ 1819465 w 3195828"/>
                        <a:gd name="connsiteY21" fmla="*/ 228600 h 1814512"/>
                        <a:gd name="connsiteX22" fmla="*/ 1812322 w 3195828"/>
                        <a:gd name="connsiteY22" fmla="*/ 261937 h 1814512"/>
                        <a:gd name="connsiteX23" fmla="*/ 1888522 w 3195828"/>
                        <a:gd name="connsiteY23" fmla="*/ 280987 h 1814512"/>
                        <a:gd name="connsiteX24" fmla="*/ 1936147 w 3195828"/>
                        <a:gd name="connsiteY24" fmla="*/ 228600 h 1814512"/>
                        <a:gd name="connsiteX25" fmla="*/ 1988534 w 3195828"/>
                        <a:gd name="connsiteY25" fmla="*/ 183356 h 1814512"/>
                        <a:gd name="connsiteX26" fmla="*/ 2009965 w 3195828"/>
                        <a:gd name="connsiteY26" fmla="*/ 133350 h 1814512"/>
                        <a:gd name="connsiteX27" fmla="*/ 2059972 w 3195828"/>
                        <a:gd name="connsiteY27" fmla="*/ 109537 h 1814512"/>
                        <a:gd name="connsiteX28" fmla="*/ 2100453 w 3195828"/>
                        <a:gd name="connsiteY28" fmla="*/ 80962 h 1814512"/>
                        <a:gd name="connsiteX29" fmla="*/ 2145697 w 3195828"/>
                        <a:gd name="connsiteY29" fmla="*/ 33337 h 1814512"/>
                        <a:gd name="connsiteX30" fmla="*/ 2190940 w 3195828"/>
                        <a:gd name="connsiteY30" fmla="*/ 33337 h 1814512"/>
                        <a:gd name="connsiteX31" fmla="*/ 2226659 w 3195828"/>
                        <a:gd name="connsiteY31" fmla="*/ 0 h 1814512"/>
                        <a:gd name="connsiteX32" fmla="*/ 2293334 w 3195828"/>
                        <a:gd name="connsiteY32" fmla="*/ 71437 h 1814512"/>
                        <a:gd name="connsiteX33" fmla="*/ 2269522 w 3195828"/>
                        <a:gd name="connsiteY33" fmla="*/ 102393 h 1814512"/>
                        <a:gd name="connsiteX34" fmla="*/ 2262378 w 3195828"/>
                        <a:gd name="connsiteY34" fmla="*/ 138112 h 1814512"/>
                        <a:gd name="connsiteX35" fmla="*/ 2307622 w 3195828"/>
                        <a:gd name="connsiteY35" fmla="*/ 180975 h 1814512"/>
                        <a:gd name="connsiteX36" fmla="*/ 2371915 w 3195828"/>
                        <a:gd name="connsiteY36" fmla="*/ 178593 h 1814512"/>
                        <a:gd name="connsiteX37" fmla="*/ 2407634 w 3195828"/>
                        <a:gd name="connsiteY37" fmla="*/ 183356 h 1814512"/>
                        <a:gd name="connsiteX38" fmla="*/ 2486215 w 3195828"/>
                        <a:gd name="connsiteY38" fmla="*/ 230981 h 1814512"/>
                        <a:gd name="connsiteX39" fmla="*/ 2521934 w 3195828"/>
                        <a:gd name="connsiteY39" fmla="*/ 245268 h 1814512"/>
                        <a:gd name="connsiteX40" fmla="*/ 2524315 w 3195828"/>
                        <a:gd name="connsiteY40" fmla="*/ 292893 h 1814512"/>
                        <a:gd name="connsiteX41" fmla="*/ 2507647 w 3195828"/>
                        <a:gd name="connsiteY41" fmla="*/ 345281 h 1814512"/>
                        <a:gd name="connsiteX42" fmla="*/ 2552890 w 3195828"/>
                        <a:gd name="connsiteY42" fmla="*/ 359568 h 1814512"/>
                        <a:gd name="connsiteX43" fmla="*/ 2588609 w 3195828"/>
                        <a:gd name="connsiteY43" fmla="*/ 304800 h 1814512"/>
                        <a:gd name="connsiteX44" fmla="*/ 2631472 w 3195828"/>
                        <a:gd name="connsiteY44" fmla="*/ 295275 h 1814512"/>
                        <a:gd name="connsiteX45" fmla="*/ 2688622 w 3195828"/>
                        <a:gd name="connsiteY45" fmla="*/ 257175 h 1814512"/>
                        <a:gd name="connsiteX46" fmla="*/ 2750534 w 3195828"/>
                        <a:gd name="connsiteY46" fmla="*/ 266700 h 1814512"/>
                        <a:gd name="connsiteX47" fmla="*/ 2826734 w 3195828"/>
                        <a:gd name="connsiteY47" fmla="*/ 226218 h 1814512"/>
                        <a:gd name="connsiteX48" fmla="*/ 2855309 w 3195828"/>
                        <a:gd name="connsiteY48" fmla="*/ 166687 h 1814512"/>
                        <a:gd name="connsiteX49" fmla="*/ 2869597 w 3195828"/>
                        <a:gd name="connsiteY49" fmla="*/ 147637 h 1814512"/>
                        <a:gd name="connsiteX50" fmla="*/ 2876740 w 3195828"/>
                        <a:gd name="connsiteY50" fmla="*/ 142875 h 1814512"/>
                        <a:gd name="connsiteX51" fmla="*/ 2886265 w 3195828"/>
                        <a:gd name="connsiteY51" fmla="*/ 130968 h 1814512"/>
                        <a:gd name="connsiteX52" fmla="*/ 2900553 w 3195828"/>
                        <a:gd name="connsiteY52" fmla="*/ 92868 h 1814512"/>
                        <a:gd name="connsiteX53" fmla="*/ 2983897 w 3195828"/>
                        <a:gd name="connsiteY53" fmla="*/ 114300 h 1814512"/>
                        <a:gd name="connsiteX54" fmla="*/ 3055334 w 3195828"/>
                        <a:gd name="connsiteY54" fmla="*/ 130968 h 1814512"/>
                        <a:gd name="connsiteX55" fmla="*/ 3069622 w 3195828"/>
                        <a:gd name="connsiteY55" fmla="*/ 200025 h 1814512"/>
                        <a:gd name="connsiteX56" fmla="*/ 3105340 w 3195828"/>
                        <a:gd name="connsiteY56" fmla="*/ 252412 h 1814512"/>
                        <a:gd name="connsiteX57" fmla="*/ 3091053 w 3195828"/>
                        <a:gd name="connsiteY57" fmla="*/ 259556 h 1814512"/>
                        <a:gd name="connsiteX58" fmla="*/ 3050572 w 3195828"/>
                        <a:gd name="connsiteY58" fmla="*/ 283368 h 1814512"/>
                        <a:gd name="connsiteX59" fmla="*/ 3021997 w 3195828"/>
                        <a:gd name="connsiteY59" fmla="*/ 314325 h 1814512"/>
                        <a:gd name="connsiteX60" fmla="*/ 2993422 w 3195828"/>
                        <a:gd name="connsiteY60" fmla="*/ 354806 h 1814512"/>
                        <a:gd name="connsiteX61" fmla="*/ 2991040 w 3195828"/>
                        <a:gd name="connsiteY61" fmla="*/ 416718 h 1814512"/>
                        <a:gd name="connsiteX62" fmla="*/ 3005328 w 3195828"/>
                        <a:gd name="connsiteY62" fmla="*/ 466725 h 1814512"/>
                        <a:gd name="connsiteX63" fmla="*/ 3031522 w 3195828"/>
                        <a:gd name="connsiteY63" fmla="*/ 511968 h 1814512"/>
                        <a:gd name="connsiteX64" fmla="*/ 3055334 w 3195828"/>
                        <a:gd name="connsiteY64" fmla="*/ 535781 h 1814512"/>
                        <a:gd name="connsiteX65" fmla="*/ 3036284 w 3195828"/>
                        <a:gd name="connsiteY65" fmla="*/ 564356 h 1814512"/>
                        <a:gd name="connsiteX66" fmla="*/ 3014853 w 3195828"/>
                        <a:gd name="connsiteY66" fmla="*/ 590550 h 1814512"/>
                        <a:gd name="connsiteX67" fmla="*/ 3010090 w 3195828"/>
                        <a:gd name="connsiteY67" fmla="*/ 640556 h 1814512"/>
                        <a:gd name="connsiteX68" fmla="*/ 3024378 w 3195828"/>
                        <a:gd name="connsiteY68" fmla="*/ 666750 h 1814512"/>
                        <a:gd name="connsiteX69" fmla="*/ 3050572 w 3195828"/>
                        <a:gd name="connsiteY69" fmla="*/ 716756 h 1814512"/>
                        <a:gd name="connsiteX70" fmla="*/ 3074384 w 3195828"/>
                        <a:gd name="connsiteY70" fmla="*/ 733425 h 1814512"/>
                        <a:gd name="connsiteX71" fmla="*/ 3064859 w 3195828"/>
                        <a:gd name="connsiteY71" fmla="*/ 769143 h 1814512"/>
                        <a:gd name="connsiteX72" fmla="*/ 3057715 w 3195828"/>
                        <a:gd name="connsiteY72" fmla="*/ 790575 h 1814512"/>
                        <a:gd name="connsiteX73" fmla="*/ 3031522 w 3195828"/>
                        <a:gd name="connsiteY73" fmla="*/ 807243 h 1814512"/>
                        <a:gd name="connsiteX74" fmla="*/ 3005328 w 3195828"/>
                        <a:gd name="connsiteY74" fmla="*/ 828675 h 1814512"/>
                        <a:gd name="connsiteX75" fmla="*/ 3017234 w 3195828"/>
                        <a:gd name="connsiteY75" fmla="*/ 859631 h 1814512"/>
                        <a:gd name="connsiteX76" fmla="*/ 3026759 w 3195828"/>
                        <a:gd name="connsiteY76" fmla="*/ 883443 h 1814512"/>
                        <a:gd name="connsiteX77" fmla="*/ 3102959 w 3195828"/>
                        <a:gd name="connsiteY77" fmla="*/ 962025 h 1814512"/>
                        <a:gd name="connsiteX78" fmla="*/ 3055334 w 3195828"/>
                        <a:gd name="connsiteY78" fmla="*/ 1021556 h 1814512"/>
                        <a:gd name="connsiteX79" fmla="*/ 3052953 w 3195828"/>
                        <a:gd name="connsiteY79" fmla="*/ 1181100 h 1814512"/>
                        <a:gd name="connsiteX80" fmla="*/ 3012472 w 3195828"/>
                        <a:gd name="connsiteY80" fmla="*/ 1214437 h 1814512"/>
                        <a:gd name="connsiteX81" fmla="*/ 3074384 w 3195828"/>
                        <a:gd name="connsiteY81" fmla="*/ 1293018 h 1814512"/>
                        <a:gd name="connsiteX82" fmla="*/ 3131534 w 3195828"/>
                        <a:gd name="connsiteY82" fmla="*/ 1238250 h 1814512"/>
                        <a:gd name="connsiteX83" fmla="*/ 3195828 w 3195828"/>
                        <a:gd name="connsiteY83" fmla="*/ 1240631 h 1814512"/>
                        <a:gd name="connsiteX84" fmla="*/ 3188684 w 3195828"/>
                        <a:gd name="connsiteY84" fmla="*/ 1283493 h 1814512"/>
                        <a:gd name="connsiteX85" fmla="*/ 3188684 w 3195828"/>
                        <a:gd name="connsiteY85" fmla="*/ 1419225 h 1814512"/>
                        <a:gd name="connsiteX86" fmla="*/ 3152965 w 3195828"/>
                        <a:gd name="connsiteY86" fmla="*/ 1431131 h 1814512"/>
                        <a:gd name="connsiteX87" fmla="*/ 3067240 w 3195828"/>
                        <a:gd name="connsiteY87" fmla="*/ 1443037 h 1814512"/>
                        <a:gd name="connsiteX88" fmla="*/ 2738628 w 3195828"/>
                        <a:gd name="connsiteY88" fmla="*/ 1459706 h 1814512"/>
                        <a:gd name="connsiteX89" fmla="*/ 2631472 w 3195828"/>
                        <a:gd name="connsiteY89" fmla="*/ 1488281 h 1814512"/>
                        <a:gd name="connsiteX90" fmla="*/ 2393347 w 3195828"/>
                        <a:gd name="connsiteY90" fmla="*/ 1728787 h 1814512"/>
                        <a:gd name="connsiteX91" fmla="*/ 1507522 w 3195828"/>
                        <a:gd name="connsiteY91" fmla="*/ 1781175 h 1814512"/>
                        <a:gd name="connsiteX92" fmla="*/ 1352740 w 3195828"/>
                        <a:gd name="connsiteY92" fmla="*/ 1802606 h 1814512"/>
                        <a:gd name="connsiteX93" fmla="*/ 931259 w 3195828"/>
                        <a:gd name="connsiteY93" fmla="*/ 1814512 h 1814512"/>
                        <a:gd name="connsiteX94" fmla="*/ 893159 w 3195828"/>
                        <a:gd name="connsiteY94" fmla="*/ 1747837 h 1814512"/>
                        <a:gd name="connsiteX95" fmla="*/ 805053 w 3195828"/>
                        <a:gd name="connsiteY95" fmla="*/ 1747837 h 1814512"/>
                        <a:gd name="connsiteX96" fmla="*/ 781240 w 3195828"/>
                        <a:gd name="connsiteY96" fmla="*/ 1738312 h 1814512"/>
                        <a:gd name="connsiteX97" fmla="*/ 726472 w 3195828"/>
                        <a:gd name="connsiteY97" fmla="*/ 1776412 h 1814512"/>
                        <a:gd name="connsiteX98" fmla="*/ 538353 w 3195828"/>
                        <a:gd name="connsiteY98" fmla="*/ 1764506 h 1814512"/>
                        <a:gd name="connsiteX99" fmla="*/ 462153 w 3195828"/>
                        <a:gd name="connsiteY99" fmla="*/ 1690687 h 1814512"/>
                        <a:gd name="connsiteX100" fmla="*/ 288322 w 3195828"/>
                        <a:gd name="connsiteY100" fmla="*/ 1581150 h 1814512"/>
                        <a:gd name="connsiteX101" fmla="*/ 107347 w 3195828"/>
                        <a:gd name="connsiteY101" fmla="*/ 1514475 h 1814512"/>
                        <a:gd name="connsiteX102" fmla="*/ 45434 w 3195828"/>
                        <a:gd name="connsiteY102" fmla="*/ 1478756 h 1814512"/>
                        <a:gd name="connsiteX103" fmla="*/ 2572 w 3195828"/>
                        <a:gd name="connsiteY103" fmla="*/ 1426368 h 1814512"/>
                        <a:gd name="connsiteX104" fmla="*/ 109728 w 3195828"/>
                        <a:gd name="connsiteY104" fmla="*/ 1402556 h 1814512"/>
                        <a:gd name="connsiteX105" fmla="*/ 1071753 w 3195828"/>
                        <a:gd name="connsiteY105" fmla="*/ 295275 h 1814512"/>
                        <a:gd name="connsiteX0" fmla="*/ 1112043 w 3236118"/>
                        <a:gd name="connsiteY0" fmla="*/ 295275 h 1814512"/>
                        <a:gd name="connsiteX1" fmla="*/ 1166812 w 3236118"/>
                        <a:gd name="connsiteY1" fmla="*/ 240506 h 1814512"/>
                        <a:gd name="connsiteX2" fmla="*/ 1190624 w 3236118"/>
                        <a:gd name="connsiteY2" fmla="*/ 195262 h 1814512"/>
                        <a:gd name="connsiteX3" fmla="*/ 1235868 w 3236118"/>
                        <a:gd name="connsiteY3" fmla="*/ 180975 h 1814512"/>
                        <a:gd name="connsiteX4" fmla="*/ 1266824 w 3236118"/>
                        <a:gd name="connsiteY4" fmla="*/ 209550 h 1814512"/>
                        <a:gd name="connsiteX5" fmla="*/ 1283493 w 3236118"/>
                        <a:gd name="connsiteY5" fmla="*/ 250031 h 1814512"/>
                        <a:gd name="connsiteX6" fmla="*/ 1316830 w 3236118"/>
                        <a:gd name="connsiteY6" fmla="*/ 278606 h 1814512"/>
                        <a:gd name="connsiteX7" fmla="*/ 1338262 w 3236118"/>
                        <a:gd name="connsiteY7" fmla="*/ 280987 h 1814512"/>
                        <a:gd name="connsiteX8" fmla="*/ 1393030 w 3236118"/>
                        <a:gd name="connsiteY8" fmla="*/ 280987 h 1814512"/>
                        <a:gd name="connsiteX9" fmla="*/ 1423987 w 3236118"/>
                        <a:gd name="connsiteY9" fmla="*/ 314325 h 1814512"/>
                        <a:gd name="connsiteX10" fmla="*/ 1426368 w 3236118"/>
                        <a:gd name="connsiteY10" fmla="*/ 335756 h 1814512"/>
                        <a:gd name="connsiteX11" fmla="*/ 1438274 w 3236118"/>
                        <a:gd name="connsiteY11" fmla="*/ 373856 h 1814512"/>
                        <a:gd name="connsiteX12" fmla="*/ 1478755 w 3236118"/>
                        <a:gd name="connsiteY12" fmla="*/ 357187 h 1814512"/>
                        <a:gd name="connsiteX13" fmla="*/ 1538287 w 3236118"/>
                        <a:gd name="connsiteY13" fmla="*/ 373856 h 1814512"/>
                        <a:gd name="connsiteX14" fmla="*/ 1609724 w 3236118"/>
                        <a:gd name="connsiteY14" fmla="*/ 385762 h 1814512"/>
                        <a:gd name="connsiteX15" fmla="*/ 1650205 w 3236118"/>
                        <a:gd name="connsiteY15" fmla="*/ 369093 h 1814512"/>
                        <a:gd name="connsiteX16" fmla="*/ 1662112 w 3236118"/>
                        <a:gd name="connsiteY16" fmla="*/ 311943 h 1814512"/>
                        <a:gd name="connsiteX17" fmla="*/ 1666874 w 3236118"/>
                        <a:gd name="connsiteY17" fmla="*/ 285750 h 1814512"/>
                        <a:gd name="connsiteX18" fmla="*/ 1693068 w 3236118"/>
                        <a:gd name="connsiteY18" fmla="*/ 269081 h 1814512"/>
                        <a:gd name="connsiteX19" fmla="*/ 1821655 w 3236118"/>
                        <a:gd name="connsiteY19" fmla="*/ 178593 h 1814512"/>
                        <a:gd name="connsiteX20" fmla="*/ 1850230 w 3236118"/>
                        <a:gd name="connsiteY20" fmla="*/ 176212 h 1814512"/>
                        <a:gd name="connsiteX21" fmla="*/ 1859755 w 3236118"/>
                        <a:gd name="connsiteY21" fmla="*/ 228600 h 1814512"/>
                        <a:gd name="connsiteX22" fmla="*/ 1852612 w 3236118"/>
                        <a:gd name="connsiteY22" fmla="*/ 261937 h 1814512"/>
                        <a:gd name="connsiteX23" fmla="*/ 1928812 w 3236118"/>
                        <a:gd name="connsiteY23" fmla="*/ 280987 h 1814512"/>
                        <a:gd name="connsiteX24" fmla="*/ 1976437 w 3236118"/>
                        <a:gd name="connsiteY24" fmla="*/ 228600 h 1814512"/>
                        <a:gd name="connsiteX25" fmla="*/ 2028824 w 3236118"/>
                        <a:gd name="connsiteY25" fmla="*/ 183356 h 1814512"/>
                        <a:gd name="connsiteX26" fmla="*/ 2050255 w 3236118"/>
                        <a:gd name="connsiteY26" fmla="*/ 133350 h 1814512"/>
                        <a:gd name="connsiteX27" fmla="*/ 2100262 w 3236118"/>
                        <a:gd name="connsiteY27" fmla="*/ 109537 h 1814512"/>
                        <a:gd name="connsiteX28" fmla="*/ 2140743 w 3236118"/>
                        <a:gd name="connsiteY28" fmla="*/ 80962 h 1814512"/>
                        <a:gd name="connsiteX29" fmla="*/ 2185987 w 3236118"/>
                        <a:gd name="connsiteY29" fmla="*/ 33337 h 1814512"/>
                        <a:gd name="connsiteX30" fmla="*/ 2231230 w 3236118"/>
                        <a:gd name="connsiteY30" fmla="*/ 33337 h 1814512"/>
                        <a:gd name="connsiteX31" fmla="*/ 2266949 w 3236118"/>
                        <a:gd name="connsiteY31" fmla="*/ 0 h 1814512"/>
                        <a:gd name="connsiteX32" fmla="*/ 2333624 w 3236118"/>
                        <a:gd name="connsiteY32" fmla="*/ 71437 h 1814512"/>
                        <a:gd name="connsiteX33" fmla="*/ 2309812 w 3236118"/>
                        <a:gd name="connsiteY33" fmla="*/ 102393 h 1814512"/>
                        <a:gd name="connsiteX34" fmla="*/ 2302668 w 3236118"/>
                        <a:gd name="connsiteY34" fmla="*/ 138112 h 1814512"/>
                        <a:gd name="connsiteX35" fmla="*/ 2347912 w 3236118"/>
                        <a:gd name="connsiteY35" fmla="*/ 180975 h 1814512"/>
                        <a:gd name="connsiteX36" fmla="*/ 2412205 w 3236118"/>
                        <a:gd name="connsiteY36" fmla="*/ 178593 h 1814512"/>
                        <a:gd name="connsiteX37" fmla="*/ 2447924 w 3236118"/>
                        <a:gd name="connsiteY37" fmla="*/ 183356 h 1814512"/>
                        <a:gd name="connsiteX38" fmla="*/ 2526505 w 3236118"/>
                        <a:gd name="connsiteY38" fmla="*/ 230981 h 1814512"/>
                        <a:gd name="connsiteX39" fmla="*/ 2562224 w 3236118"/>
                        <a:gd name="connsiteY39" fmla="*/ 245268 h 1814512"/>
                        <a:gd name="connsiteX40" fmla="*/ 2564605 w 3236118"/>
                        <a:gd name="connsiteY40" fmla="*/ 292893 h 1814512"/>
                        <a:gd name="connsiteX41" fmla="*/ 2547937 w 3236118"/>
                        <a:gd name="connsiteY41" fmla="*/ 345281 h 1814512"/>
                        <a:gd name="connsiteX42" fmla="*/ 2593180 w 3236118"/>
                        <a:gd name="connsiteY42" fmla="*/ 359568 h 1814512"/>
                        <a:gd name="connsiteX43" fmla="*/ 2628899 w 3236118"/>
                        <a:gd name="connsiteY43" fmla="*/ 304800 h 1814512"/>
                        <a:gd name="connsiteX44" fmla="*/ 2671762 w 3236118"/>
                        <a:gd name="connsiteY44" fmla="*/ 295275 h 1814512"/>
                        <a:gd name="connsiteX45" fmla="*/ 2728912 w 3236118"/>
                        <a:gd name="connsiteY45" fmla="*/ 257175 h 1814512"/>
                        <a:gd name="connsiteX46" fmla="*/ 2790824 w 3236118"/>
                        <a:gd name="connsiteY46" fmla="*/ 266700 h 1814512"/>
                        <a:gd name="connsiteX47" fmla="*/ 2867024 w 3236118"/>
                        <a:gd name="connsiteY47" fmla="*/ 226218 h 1814512"/>
                        <a:gd name="connsiteX48" fmla="*/ 2895599 w 3236118"/>
                        <a:gd name="connsiteY48" fmla="*/ 166687 h 1814512"/>
                        <a:gd name="connsiteX49" fmla="*/ 2909887 w 3236118"/>
                        <a:gd name="connsiteY49" fmla="*/ 147637 h 1814512"/>
                        <a:gd name="connsiteX50" fmla="*/ 2917030 w 3236118"/>
                        <a:gd name="connsiteY50" fmla="*/ 142875 h 1814512"/>
                        <a:gd name="connsiteX51" fmla="*/ 2926555 w 3236118"/>
                        <a:gd name="connsiteY51" fmla="*/ 130968 h 1814512"/>
                        <a:gd name="connsiteX52" fmla="*/ 2940843 w 3236118"/>
                        <a:gd name="connsiteY52" fmla="*/ 92868 h 1814512"/>
                        <a:gd name="connsiteX53" fmla="*/ 3024187 w 3236118"/>
                        <a:gd name="connsiteY53" fmla="*/ 114300 h 1814512"/>
                        <a:gd name="connsiteX54" fmla="*/ 3095624 w 3236118"/>
                        <a:gd name="connsiteY54" fmla="*/ 130968 h 1814512"/>
                        <a:gd name="connsiteX55" fmla="*/ 3109912 w 3236118"/>
                        <a:gd name="connsiteY55" fmla="*/ 200025 h 1814512"/>
                        <a:gd name="connsiteX56" fmla="*/ 3145630 w 3236118"/>
                        <a:gd name="connsiteY56" fmla="*/ 252412 h 1814512"/>
                        <a:gd name="connsiteX57" fmla="*/ 3131343 w 3236118"/>
                        <a:gd name="connsiteY57" fmla="*/ 259556 h 1814512"/>
                        <a:gd name="connsiteX58" fmla="*/ 3090862 w 3236118"/>
                        <a:gd name="connsiteY58" fmla="*/ 283368 h 1814512"/>
                        <a:gd name="connsiteX59" fmla="*/ 3062287 w 3236118"/>
                        <a:gd name="connsiteY59" fmla="*/ 314325 h 1814512"/>
                        <a:gd name="connsiteX60" fmla="*/ 3033712 w 3236118"/>
                        <a:gd name="connsiteY60" fmla="*/ 354806 h 1814512"/>
                        <a:gd name="connsiteX61" fmla="*/ 3031330 w 3236118"/>
                        <a:gd name="connsiteY61" fmla="*/ 416718 h 1814512"/>
                        <a:gd name="connsiteX62" fmla="*/ 3045618 w 3236118"/>
                        <a:gd name="connsiteY62" fmla="*/ 466725 h 1814512"/>
                        <a:gd name="connsiteX63" fmla="*/ 3071812 w 3236118"/>
                        <a:gd name="connsiteY63" fmla="*/ 511968 h 1814512"/>
                        <a:gd name="connsiteX64" fmla="*/ 3095624 w 3236118"/>
                        <a:gd name="connsiteY64" fmla="*/ 535781 h 1814512"/>
                        <a:gd name="connsiteX65" fmla="*/ 3076574 w 3236118"/>
                        <a:gd name="connsiteY65" fmla="*/ 564356 h 1814512"/>
                        <a:gd name="connsiteX66" fmla="*/ 3055143 w 3236118"/>
                        <a:gd name="connsiteY66" fmla="*/ 590550 h 1814512"/>
                        <a:gd name="connsiteX67" fmla="*/ 3050380 w 3236118"/>
                        <a:gd name="connsiteY67" fmla="*/ 640556 h 1814512"/>
                        <a:gd name="connsiteX68" fmla="*/ 3064668 w 3236118"/>
                        <a:gd name="connsiteY68" fmla="*/ 666750 h 1814512"/>
                        <a:gd name="connsiteX69" fmla="*/ 3090862 w 3236118"/>
                        <a:gd name="connsiteY69" fmla="*/ 716756 h 1814512"/>
                        <a:gd name="connsiteX70" fmla="*/ 3114674 w 3236118"/>
                        <a:gd name="connsiteY70" fmla="*/ 733425 h 1814512"/>
                        <a:gd name="connsiteX71" fmla="*/ 3105149 w 3236118"/>
                        <a:gd name="connsiteY71" fmla="*/ 769143 h 1814512"/>
                        <a:gd name="connsiteX72" fmla="*/ 3098005 w 3236118"/>
                        <a:gd name="connsiteY72" fmla="*/ 790575 h 1814512"/>
                        <a:gd name="connsiteX73" fmla="*/ 3071812 w 3236118"/>
                        <a:gd name="connsiteY73" fmla="*/ 807243 h 1814512"/>
                        <a:gd name="connsiteX74" fmla="*/ 3045618 w 3236118"/>
                        <a:gd name="connsiteY74" fmla="*/ 828675 h 1814512"/>
                        <a:gd name="connsiteX75" fmla="*/ 3057524 w 3236118"/>
                        <a:gd name="connsiteY75" fmla="*/ 859631 h 1814512"/>
                        <a:gd name="connsiteX76" fmla="*/ 3067049 w 3236118"/>
                        <a:gd name="connsiteY76" fmla="*/ 883443 h 1814512"/>
                        <a:gd name="connsiteX77" fmla="*/ 3143249 w 3236118"/>
                        <a:gd name="connsiteY77" fmla="*/ 962025 h 1814512"/>
                        <a:gd name="connsiteX78" fmla="*/ 3095624 w 3236118"/>
                        <a:gd name="connsiteY78" fmla="*/ 1021556 h 1814512"/>
                        <a:gd name="connsiteX79" fmla="*/ 3093243 w 3236118"/>
                        <a:gd name="connsiteY79" fmla="*/ 1181100 h 1814512"/>
                        <a:gd name="connsiteX80" fmla="*/ 3052762 w 3236118"/>
                        <a:gd name="connsiteY80" fmla="*/ 1214437 h 1814512"/>
                        <a:gd name="connsiteX81" fmla="*/ 3114674 w 3236118"/>
                        <a:gd name="connsiteY81" fmla="*/ 1293018 h 1814512"/>
                        <a:gd name="connsiteX82" fmla="*/ 3171824 w 3236118"/>
                        <a:gd name="connsiteY82" fmla="*/ 1238250 h 1814512"/>
                        <a:gd name="connsiteX83" fmla="*/ 3236118 w 3236118"/>
                        <a:gd name="connsiteY83" fmla="*/ 1240631 h 1814512"/>
                        <a:gd name="connsiteX84" fmla="*/ 3228974 w 3236118"/>
                        <a:gd name="connsiteY84" fmla="*/ 1283493 h 1814512"/>
                        <a:gd name="connsiteX85" fmla="*/ 3228974 w 3236118"/>
                        <a:gd name="connsiteY85" fmla="*/ 1419225 h 1814512"/>
                        <a:gd name="connsiteX86" fmla="*/ 3193255 w 3236118"/>
                        <a:gd name="connsiteY86" fmla="*/ 1431131 h 1814512"/>
                        <a:gd name="connsiteX87" fmla="*/ 3107530 w 3236118"/>
                        <a:gd name="connsiteY87" fmla="*/ 1443037 h 1814512"/>
                        <a:gd name="connsiteX88" fmla="*/ 2778918 w 3236118"/>
                        <a:gd name="connsiteY88" fmla="*/ 1459706 h 1814512"/>
                        <a:gd name="connsiteX89" fmla="*/ 2671762 w 3236118"/>
                        <a:gd name="connsiteY89" fmla="*/ 1488281 h 1814512"/>
                        <a:gd name="connsiteX90" fmla="*/ 2433637 w 3236118"/>
                        <a:gd name="connsiteY90" fmla="*/ 1728787 h 1814512"/>
                        <a:gd name="connsiteX91" fmla="*/ 1547812 w 3236118"/>
                        <a:gd name="connsiteY91" fmla="*/ 1781175 h 1814512"/>
                        <a:gd name="connsiteX92" fmla="*/ 1393030 w 3236118"/>
                        <a:gd name="connsiteY92" fmla="*/ 1802606 h 1814512"/>
                        <a:gd name="connsiteX93" fmla="*/ 971549 w 3236118"/>
                        <a:gd name="connsiteY93" fmla="*/ 1814512 h 1814512"/>
                        <a:gd name="connsiteX94" fmla="*/ 933449 w 3236118"/>
                        <a:gd name="connsiteY94" fmla="*/ 1747837 h 1814512"/>
                        <a:gd name="connsiteX95" fmla="*/ 845343 w 3236118"/>
                        <a:gd name="connsiteY95" fmla="*/ 1747837 h 1814512"/>
                        <a:gd name="connsiteX96" fmla="*/ 821530 w 3236118"/>
                        <a:gd name="connsiteY96" fmla="*/ 1738312 h 1814512"/>
                        <a:gd name="connsiteX97" fmla="*/ 766762 w 3236118"/>
                        <a:gd name="connsiteY97" fmla="*/ 1776412 h 1814512"/>
                        <a:gd name="connsiteX98" fmla="*/ 578643 w 3236118"/>
                        <a:gd name="connsiteY98" fmla="*/ 1764506 h 1814512"/>
                        <a:gd name="connsiteX99" fmla="*/ 502443 w 3236118"/>
                        <a:gd name="connsiteY99" fmla="*/ 1690687 h 1814512"/>
                        <a:gd name="connsiteX100" fmla="*/ 328612 w 3236118"/>
                        <a:gd name="connsiteY100" fmla="*/ 1581150 h 1814512"/>
                        <a:gd name="connsiteX101" fmla="*/ 147637 w 3236118"/>
                        <a:gd name="connsiteY101" fmla="*/ 1514475 h 1814512"/>
                        <a:gd name="connsiteX102" fmla="*/ 85724 w 3236118"/>
                        <a:gd name="connsiteY102" fmla="*/ 1478756 h 1814512"/>
                        <a:gd name="connsiteX103" fmla="*/ 42862 w 3236118"/>
                        <a:gd name="connsiteY103" fmla="*/ 1426368 h 1814512"/>
                        <a:gd name="connsiteX104" fmla="*/ 0 w 3236118"/>
                        <a:gd name="connsiteY104" fmla="*/ 1428749 h 1814512"/>
                        <a:gd name="connsiteX105" fmla="*/ 1112043 w 3236118"/>
                        <a:gd name="connsiteY105" fmla="*/ 295275 h 1814512"/>
                        <a:gd name="connsiteX0" fmla="*/ 1112043 w 3236118"/>
                        <a:gd name="connsiteY0" fmla="*/ 295275 h 1814512"/>
                        <a:gd name="connsiteX1" fmla="*/ 1166812 w 3236118"/>
                        <a:gd name="connsiteY1" fmla="*/ 240506 h 1814512"/>
                        <a:gd name="connsiteX2" fmla="*/ 1190624 w 3236118"/>
                        <a:gd name="connsiteY2" fmla="*/ 195262 h 1814512"/>
                        <a:gd name="connsiteX3" fmla="*/ 1235868 w 3236118"/>
                        <a:gd name="connsiteY3" fmla="*/ 180975 h 1814512"/>
                        <a:gd name="connsiteX4" fmla="*/ 1266824 w 3236118"/>
                        <a:gd name="connsiteY4" fmla="*/ 209550 h 1814512"/>
                        <a:gd name="connsiteX5" fmla="*/ 1283493 w 3236118"/>
                        <a:gd name="connsiteY5" fmla="*/ 250031 h 1814512"/>
                        <a:gd name="connsiteX6" fmla="*/ 1316830 w 3236118"/>
                        <a:gd name="connsiteY6" fmla="*/ 278606 h 1814512"/>
                        <a:gd name="connsiteX7" fmla="*/ 1338262 w 3236118"/>
                        <a:gd name="connsiteY7" fmla="*/ 280987 h 1814512"/>
                        <a:gd name="connsiteX8" fmla="*/ 1393030 w 3236118"/>
                        <a:gd name="connsiteY8" fmla="*/ 280987 h 1814512"/>
                        <a:gd name="connsiteX9" fmla="*/ 1423987 w 3236118"/>
                        <a:gd name="connsiteY9" fmla="*/ 314325 h 1814512"/>
                        <a:gd name="connsiteX10" fmla="*/ 1426368 w 3236118"/>
                        <a:gd name="connsiteY10" fmla="*/ 335756 h 1814512"/>
                        <a:gd name="connsiteX11" fmla="*/ 1438274 w 3236118"/>
                        <a:gd name="connsiteY11" fmla="*/ 373856 h 1814512"/>
                        <a:gd name="connsiteX12" fmla="*/ 1478755 w 3236118"/>
                        <a:gd name="connsiteY12" fmla="*/ 357187 h 1814512"/>
                        <a:gd name="connsiteX13" fmla="*/ 1538287 w 3236118"/>
                        <a:gd name="connsiteY13" fmla="*/ 373856 h 1814512"/>
                        <a:gd name="connsiteX14" fmla="*/ 1609724 w 3236118"/>
                        <a:gd name="connsiteY14" fmla="*/ 385762 h 1814512"/>
                        <a:gd name="connsiteX15" fmla="*/ 1650205 w 3236118"/>
                        <a:gd name="connsiteY15" fmla="*/ 369093 h 1814512"/>
                        <a:gd name="connsiteX16" fmla="*/ 1662112 w 3236118"/>
                        <a:gd name="connsiteY16" fmla="*/ 311943 h 1814512"/>
                        <a:gd name="connsiteX17" fmla="*/ 1666874 w 3236118"/>
                        <a:gd name="connsiteY17" fmla="*/ 285750 h 1814512"/>
                        <a:gd name="connsiteX18" fmla="*/ 1693068 w 3236118"/>
                        <a:gd name="connsiteY18" fmla="*/ 269081 h 1814512"/>
                        <a:gd name="connsiteX19" fmla="*/ 1821655 w 3236118"/>
                        <a:gd name="connsiteY19" fmla="*/ 178593 h 1814512"/>
                        <a:gd name="connsiteX20" fmla="*/ 1850230 w 3236118"/>
                        <a:gd name="connsiteY20" fmla="*/ 176212 h 1814512"/>
                        <a:gd name="connsiteX21" fmla="*/ 1859755 w 3236118"/>
                        <a:gd name="connsiteY21" fmla="*/ 228600 h 1814512"/>
                        <a:gd name="connsiteX22" fmla="*/ 1852612 w 3236118"/>
                        <a:gd name="connsiteY22" fmla="*/ 261937 h 1814512"/>
                        <a:gd name="connsiteX23" fmla="*/ 1928812 w 3236118"/>
                        <a:gd name="connsiteY23" fmla="*/ 280987 h 1814512"/>
                        <a:gd name="connsiteX24" fmla="*/ 1976437 w 3236118"/>
                        <a:gd name="connsiteY24" fmla="*/ 228600 h 1814512"/>
                        <a:gd name="connsiteX25" fmla="*/ 2028824 w 3236118"/>
                        <a:gd name="connsiteY25" fmla="*/ 183356 h 1814512"/>
                        <a:gd name="connsiteX26" fmla="*/ 2050255 w 3236118"/>
                        <a:gd name="connsiteY26" fmla="*/ 133350 h 1814512"/>
                        <a:gd name="connsiteX27" fmla="*/ 2100262 w 3236118"/>
                        <a:gd name="connsiteY27" fmla="*/ 109537 h 1814512"/>
                        <a:gd name="connsiteX28" fmla="*/ 2140743 w 3236118"/>
                        <a:gd name="connsiteY28" fmla="*/ 80962 h 1814512"/>
                        <a:gd name="connsiteX29" fmla="*/ 2185987 w 3236118"/>
                        <a:gd name="connsiteY29" fmla="*/ 33337 h 1814512"/>
                        <a:gd name="connsiteX30" fmla="*/ 2231230 w 3236118"/>
                        <a:gd name="connsiteY30" fmla="*/ 33337 h 1814512"/>
                        <a:gd name="connsiteX31" fmla="*/ 2266949 w 3236118"/>
                        <a:gd name="connsiteY31" fmla="*/ 0 h 1814512"/>
                        <a:gd name="connsiteX32" fmla="*/ 2333624 w 3236118"/>
                        <a:gd name="connsiteY32" fmla="*/ 71437 h 1814512"/>
                        <a:gd name="connsiteX33" fmla="*/ 2309812 w 3236118"/>
                        <a:gd name="connsiteY33" fmla="*/ 102393 h 1814512"/>
                        <a:gd name="connsiteX34" fmla="*/ 2302668 w 3236118"/>
                        <a:gd name="connsiteY34" fmla="*/ 138112 h 1814512"/>
                        <a:gd name="connsiteX35" fmla="*/ 2347912 w 3236118"/>
                        <a:gd name="connsiteY35" fmla="*/ 180975 h 1814512"/>
                        <a:gd name="connsiteX36" fmla="*/ 2412205 w 3236118"/>
                        <a:gd name="connsiteY36" fmla="*/ 178593 h 1814512"/>
                        <a:gd name="connsiteX37" fmla="*/ 2447924 w 3236118"/>
                        <a:gd name="connsiteY37" fmla="*/ 183356 h 1814512"/>
                        <a:gd name="connsiteX38" fmla="*/ 2526505 w 3236118"/>
                        <a:gd name="connsiteY38" fmla="*/ 230981 h 1814512"/>
                        <a:gd name="connsiteX39" fmla="*/ 2562224 w 3236118"/>
                        <a:gd name="connsiteY39" fmla="*/ 245268 h 1814512"/>
                        <a:gd name="connsiteX40" fmla="*/ 2564605 w 3236118"/>
                        <a:gd name="connsiteY40" fmla="*/ 292893 h 1814512"/>
                        <a:gd name="connsiteX41" fmla="*/ 2547937 w 3236118"/>
                        <a:gd name="connsiteY41" fmla="*/ 345281 h 1814512"/>
                        <a:gd name="connsiteX42" fmla="*/ 2593180 w 3236118"/>
                        <a:gd name="connsiteY42" fmla="*/ 359568 h 1814512"/>
                        <a:gd name="connsiteX43" fmla="*/ 2628899 w 3236118"/>
                        <a:gd name="connsiteY43" fmla="*/ 304800 h 1814512"/>
                        <a:gd name="connsiteX44" fmla="*/ 2671762 w 3236118"/>
                        <a:gd name="connsiteY44" fmla="*/ 295275 h 1814512"/>
                        <a:gd name="connsiteX45" fmla="*/ 2728912 w 3236118"/>
                        <a:gd name="connsiteY45" fmla="*/ 257175 h 1814512"/>
                        <a:gd name="connsiteX46" fmla="*/ 2790824 w 3236118"/>
                        <a:gd name="connsiteY46" fmla="*/ 266700 h 1814512"/>
                        <a:gd name="connsiteX47" fmla="*/ 2867024 w 3236118"/>
                        <a:gd name="connsiteY47" fmla="*/ 226218 h 1814512"/>
                        <a:gd name="connsiteX48" fmla="*/ 2895599 w 3236118"/>
                        <a:gd name="connsiteY48" fmla="*/ 166687 h 1814512"/>
                        <a:gd name="connsiteX49" fmla="*/ 2909887 w 3236118"/>
                        <a:gd name="connsiteY49" fmla="*/ 147637 h 1814512"/>
                        <a:gd name="connsiteX50" fmla="*/ 2917030 w 3236118"/>
                        <a:gd name="connsiteY50" fmla="*/ 142875 h 1814512"/>
                        <a:gd name="connsiteX51" fmla="*/ 2926555 w 3236118"/>
                        <a:gd name="connsiteY51" fmla="*/ 130968 h 1814512"/>
                        <a:gd name="connsiteX52" fmla="*/ 2940843 w 3236118"/>
                        <a:gd name="connsiteY52" fmla="*/ 92868 h 1814512"/>
                        <a:gd name="connsiteX53" fmla="*/ 3024187 w 3236118"/>
                        <a:gd name="connsiteY53" fmla="*/ 114300 h 1814512"/>
                        <a:gd name="connsiteX54" fmla="*/ 3095624 w 3236118"/>
                        <a:gd name="connsiteY54" fmla="*/ 130968 h 1814512"/>
                        <a:gd name="connsiteX55" fmla="*/ 3109912 w 3236118"/>
                        <a:gd name="connsiteY55" fmla="*/ 200025 h 1814512"/>
                        <a:gd name="connsiteX56" fmla="*/ 3145630 w 3236118"/>
                        <a:gd name="connsiteY56" fmla="*/ 252412 h 1814512"/>
                        <a:gd name="connsiteX57" fmla="*/ 3131343 w 3236118"/>
                        <a:gd name="connsiteY57" fmla="*/ 259556 h 1814512"/>
                        <a:gd name="connsiteX58" fmla="*/ 3090862 w 3236118"/>
                        <a:gd name="connsiteY58" fmla="*/ 283368 h 1814512"/>
                        <a:gd name="connsiteX59" fmla="*/ 3062287 w 3236118"/>
                        <a:gd name="connsiteY59" fmla="*/ 314325 h 1814512"/>
                        <a:gd name="connsiteX60" fmla="*/ 3033712 w 3236118"/>
                        <a:gd name="connsiteY60" fmla="*/ 354806 h 1814512"/>
                        <a:gd name="connsiteX61" fmla="*/ 3031330 w 3236118"/>
                        <a:gd name="connsiteY61" fmla="*/ 416718 h 1814512"/>
                        <a:gd name="connsiteX62" fmla="*/ 3045618 w 3236118"/>
                        <a:gd name="connsiteY62" fmla="*/ 466725 h 1814512"/>
                        <a:gd name="connsiteX63" fmla="*/ 3071812 w 3236118"/>
                        <a:gd name="connsiteY63" fmla="*/ 511968 h 1814512"/>
                        <a:gd name="connsiteX64" fmla="*/ 3095624 w 3236118"/>
                        <a:gd name="connsiteY64" fmla="*/ 535781 h 1814512"/>
                        <a:gd name="connsiteX65" fmla="*/ 3076574 w 3236118"/>
                        <a:gd name="connsiteY65" fmla="*/ 564356 h 1814512"/>
                        <a:gd name="connsiteX66" fmla="*/ 3055143 w 3236118"/>
                        <a:gd name="connsiteY66" fmla="*/ 590550 h 1814512"/>
                        <a:gd name="connsiteX67" fmla="*/ 3050380 w 3236118"/>
                        <a:gd name="connsiteY67" fmla="*/ 640556 h 1814512"/>
                        <a:gd name="connsiteX68" fmla="*/ 3064668 w 3236118"/>
                        <a:gd name="connsiteY68" fmla="*/ 666750 h 1814512"/>
                        <a:gd name="connsiteX69" fmla="*/ 3090862 w 3236118"/>
                        <a:gd name="connsiteY69" fmla="*/ 716756 h 1814512"/>
                        <a:gd name="connsiteX70" fmla="*/ 3114674 w 3236118"/>
                        <a:gd name="connsiteY70" fmla="*/ 733425 h 1814512"/>
                        <a:gd name="connsiteX71" fmla="*/ 3105149 w 3236118"/>
                        <a:gd name="connsiteY71" fmla="*/ 769143 h 1814512"/>
                        <a:gd name="connsiteX72" fmla="*/ 3098005 w 3236118"/>
                        <a:gd name="connsiteY72" fmla="*/ 790575 h 1814512"/>
                        <a:gd name="connsiteX73" fmla="*/ 3071812 w 3236118"/>
                        <a:gd name="connsiteY73" fmla="*/ 807243 h 1814512"/>
                        <a:gd name="connsiteX74" fmla="*/ 3045618 w 3236118"/>
                        <a:gd name="connsiteY74" fmla="*/ 828675 h 1814512"/>
                        <a:gd name="connsiteX75" fmla="*/ 3057524 w 3236118"/>
                        <a:gd name="connsiteY75" fmla="*/ 859631 h 1814512"/>
                        <a:gd name="connsiteX76" fmla="*/ 3067049 w 3236118"/>
                        <a:gd name="connsiteY76" fmla="*/ 883443 h 1814512"/>
                        <a:gd name="connsiteX77" fmla="*/ 3143249 w 3236118"/>
                        <a:gd name="connsiteY77" fmla="*/ 962025 h 1814512"/>
                        <a:gd name="connsiteX78" fmla="*/ 3095624 w 3236118"/>
                        <a:gd name="connsiteY78" fmla="*/ 1021556 h 1814512"/>
                        <a:gd name="connsiteX79" fmla="*/ 3093243 w 3236118"/>
                        <a:gd name="connsiteY79" fmla="*/ 1181100 h 1814512"/>
                        <a:gd name="connsiteX80" fmla="*/ 3052762 w 3236118"/>
                        <a:gd name="connsiteY80" fmla="*/ 1214437 h 1814512"/>
                        <a:gd name="connsiteX81" fmla="*/ 3114674 w 3236118"/>
                        <a:gd name="connsiteY81" fmla="*/ 1293018 h 1814512"/>
                        <a:gd name="connsiteX82" fmla="*/ 3171824 w 3236118"/>
                        <a:gd name="connsiteY82" fmla="*/ 1238250 h 1814512"/>
                        <a:gd name="connsiteX83" fmla="*/ 3236118 w 3236118"/>
                        <a:gd name="connsiteY83" fmla="*/ 1240631 h 1814512"/>
                        <a:gd name="connsiteX84" fmla="*/ 3228974 w 3236118"/>
                        <a:gd name="connsiteY84" fmla="*/ 1283493 h 1814512"/>
                        <a:gd name="connsiteX85" fmla="*/ 3228974 w 3236118"/>
                        <a:gd name="connsiteY85" fmla="*/ 1419225 h 1814512"/>
                        <a:gd name="connsiteX86" fmla="*/ 3193255 w 3236118"/>
                        <a:gd name="connsiteY86" fmla="*/ 1431131 h 1814512"/>
                        <a:gd name="connsiteX87" fmla="*/ 3107530 w 3236118"/>
                        <a:gd name="connsiteY87" fmla="*/ 1443037 h 1814512"/>
                        <a:gd name="connsiteX88" fmla="*/ 2778918 w 3236118"/>
                        <a:gd name="connsiteY88" fmla="*/ 1459706 h 1814512"/>
                        <a:gd name="connsiteX89" fmla="*/ 2671762 w 3236118"/>
                        <a:gd name="connsiteY89" fmla="*/ 1488281 h 1814512"/>
                        <a:gd name="connsiteX90" fmla="*/ 2433637 w 3236118"/>
                        <a:gd name="connsiteY90" fmla="*/ 1728787 h 1814512"/>
                        <a:gd name="connsiteX91" fmla="*/ 1547812 w 3236118"/>
                        <a:gd name="connsiteY91" fmla="*/ 1781175 h 1814512"/>
                        <a:gd name="connsiteX92" fmla="*/ 1393030 w 3236118"/>
                        <a:gd name="connsiteY92" fmla="*/ 1802606 h 1814512"/>
                        <a:gd name="connsiteX93" fmla="*/ 971549 w 3236118"/>
                        <a:gd name="connsiteY93" fmla="*/ 1814512 h 1814512"/>
                        <a:gd name="connsiteX94" fmla="*/ 933449 w 3236118"/>
                        <a:gd name="connsiteY94" fmla="*/ 1747837 h 1814512"/>
                        <a:gd name="connsiteX95" fmla="*/ 845343 w 3236118"/>
                        <a:gd name="connsiteY95" fmla="*/ 1747837 h 1814512"/>
                        <a:gd name="connsiteX96" fmla="*/ 821530 w 3236118"/>
                        <a:gd name="connsiteY96" fmla="*/ 1738312 h 1814512"/>
                        <a:gd name="connsiteX97" fmla="*/ 766762 w 3236118"/>
                        <a:gd name="connsiteY97" fmla="*/ 1776412 h 1814512"/>
                        <a:gd name="connsiteX98" fmla="*/ 578643 w 3236118"/>
                        <a:gd name="connsiteY98" fmla="*/ 1764506 h 1814512"/>
                        <a:gd name="connsiteX99" fmla="*/ 502443 w 3236118"/>
                        <a:gd name="connsiteY99" fmla="*/ 1690687 h 1814512"/>
                        <a:gd name="connsiteX100" fmla="*/ 328612 w 3236118"/>
                        <a:gd name="connsiteY100" fmla="*/ 1581150 h 1814512"/>
                        <a:gd name="connsiteX101" fmla="*/ 147637 w 3236118"/>
                        <a:gd name="connsiteY101" fmla="*/ 1514475 h 1814512"/>
                        <a:gd name="connsiteX102" fmla="*/ 85724 w 3236118"/>
                        <a:gd name="connsiteY102" fmla="*/ 1478756 h 1814512"/>
                        <a:gd name="connsiteX103" fmla="*/ 42862 w 3236118"/>
                        <a:gd name="connsiteY103" fmla="*/ 1426368 h 1814512"/>
                        <a:gd name="connsiteX104" fmla="*/ 0 w 3236118"/>
                        <a:gd name="connsiteY104" fmla="*/ 1428749 h 1814512"/>
                        <a:gd name="connsiteX105" fmla="*/ 78580 w 3236118"/>
                        <a:gd name="connsiteY105" fmla="*/ 1352550 h 1814512"/>
                        <a:gd name="connsiteX106" fmla="*/ 1112043 w 3236118"/>
                        <a:gd name="connsiteY10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1112044 w 3236119"/>
                        <a:gd name="connsiteY10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147639 w 3236119"/>
                        <a:gd name="connsiteY106" fmla="*/ 1245393 h 1814512"/>
                        <a:gd name="connsiteX107" fmla="*/ 1112044 w 3236119"/>
                        <a:gd name="connsiteY10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1112044 w 3236119"/>
                        <a:gd name="connsiteY10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73857 w 3236119"/>
                        <a:gd name="connsiteY107" fmla="*/ 1092993 h 1814512"/>
                        <a:gd name="connsiteX108" fmla="*/ 1112044 w 3236119"/>
                        <a:gd name="connsiteY10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261939 w 3236119"/>
                        <a:gd name="connsiteY107" fmla="*/ 1112043 h 1814512"/>
                        <a:gd name="connsiteX108" fmla="*/ 1112044 w 3236119"/>
                        <a:gd name="connsiteY10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288132 w 3236119"/>
                        <a:gd name="connsiteY107" fmla="*/ 1152525 h 1814512"/>
                        <a:gd name="connsiteX108" fmla="*/ 261939 w 3236119"/>
                        <a:gd name="connsiteY108" fmla="*/ 1112043 h 1814512"/>
                        <a:gd name="connsiteX109" fmla="*/ 1112044 w 3236119"/>
                        <a:gd name="connsiteY10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61939 w 3236119"/>
                        <a:gd name="connsiteY108" fmla="*/ 1112043 h 1814512"/>
                        <a:gd name="connsiteX109" fmla="*/ 1112044 w 3236119"/>
                        <a:gd name="connsiteY10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61939 w 3236119"/>
                        <a:gd name="connsiteY108" fmla="*/ 1112043 h 1814512"/>
                        <a:gd name="connsiteX109" fmla="*/ 316707 w 3236119"/>
                        <a:gd name="connsiteY109" fmla="*/ 1064418 h 1814512"/>
                        <a:gd name="connsiteX110" fmla="*/ 1112044 w 3236119"/>
                        <a:gd name="connsiteY11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61939 w 3236119"/>
                        <a:gd name="connsiteY108" fmla="*/ 1112043 h 1814512"/>
                        <a:gd name="connsiteX109" fmla="*/ 259557 w 3236119"/>
                        <a:gd name="connsiteY109" fmla="*/ 1057275 h 1814512"/>
                        <a:gd name="connsiteX110" fmla="*/ 1112044 w 3236119"/>
                        <a:gd name="connsiteY11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1112044 w 3236119"/>
                        <a:gd name="connsiteY11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14326 w 3236119"/>
                        <a:gd name="connsiteY110" fmla="*/ 1009650 h 1814512"/>
                        <a:gd name="connsiteX111" fmla="*/ 1112044 w 3236119"/>
                        <a:gd name="connsiteY111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1112044 w 3236119"/>
                        <a:gd name="connsiteY111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71476 w 3236119"/>
                        <a:gd name="connsiteY111" fmla="*/ 976312 h 1814512"/>
                        <a:gd name="connsiteX112" fmla="*/ 1112044 w 3236119"/>
                        <a:gd name="connsiteY112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1112044 w 3236119"/>
                        <a:gd name="connsiteY112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402432 w 3236119"/>
                        <a:gd name="connsiteY112" fmla="*/ 907256 h 1814512"/>
                        <a:gd name="connsiteX113" fmla="*/ 1112044 w 3236119"/>
                        <a:gd name="connsiteY113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1112044 w 3236119"/>
                        <a:gd name="connsiteY113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47676 w 3236119"/>
                        <a:gd name="connsiteY113" fmla="*/ 847725 h 1814512"/>
                        <a:gd name="connsiteX114" fmla="*/ 1112044 w 3236119"/>
                        <a:gd name="connsiteY114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1112044 w 3236119"/>
                        <a:gd name="connsiteY114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7676 w 3236119"/>
                        <a:gd name="connsiteY114" fmla="*/ 790575 h 1814512"/>
                        <a:gd name="connsiteX115" fmla="*/ 1112044 w 3236119"/>
                        <a:gd name="connsiteY115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5295 w 3236119"/>
                        <a:gd name="connsiteY114" fmla="*/ 812006 h 1814512"/>
                        <a:gd name="connsiteX115" fmla="*/ 1112044 w 3236119"/>
                        <a:gd name="connsiteY115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5295 w 3236119"/>
                        <a:gd name="connsiteY114" fmla="*/ 812006 h 1814512"/>
                        <a:gd name="connsiteX115" fmla="*/ 490539 w 3236119"/>
                        <a:gd name="connsiteY115" fmla="*/ 778668 h 1814512"/>
                        <a:gd name="connsiteX116" fmla="*/ 1112044 w 3236119"/>
                        <a:gd name="connsiteY11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5295 w 3236119"/>
                        <a:gd name="connsiteY114" fmla="*/ 812006 h 1814512"/>
                        <a:gd name="connsiteX115" fmla="*/ 471489 w 3236119"/>
                        <a:gd name="connsiteY115" fmla="*/ 850106 h 1814512"/>
                        <a:gd name="connsiteX116" fmla="*/ 1112044 w 3236119"/>
                        <a:gd name="connsiteY11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5295 w 3236119"/>
                        <a:gd name="connsiteY114" fmla="*/ 812006 h 1814512"/>
                        <a:gd name="connsiteX115" fmla="*/ 471489 w 3236119"/>
                        <a:gd name="connsiteY115" fmla="*/ 850106 h 1814512"/>
                        <a:gd name="connsiteX116" fmla="*/ 521495 w 3236119"/>
                        <a:gd name="connsiteY116" fmla="*/ 804862 h 1814512"/>
                        <a:gd name="connsiteX117" fmla="*/ 1112044 w 3236119"/>
                        <a:gd name="connsiteY11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5295 w 3236119"/>
                        <a:gd name="connsiteY114" fmla="*/ 812006 h 1814512"/>
                        <a:gd name="connsiteX115" fmla="*/ 471489 w 3236119"/>
                        <a:gd name="connsiteY115" fmla="*/ 850106 h 1814512"/>
                        <a:gd name="connsiteX116" fmla="*/ 600076 w 3236119"/>
                        <a:gd name="connsiteY116" fmla="*/ 866775 h 1814512"/>
                        <a:gd name="connsiteX117" fmla="*/ 1112044 w 3236119"/>
                        <a:gd name="connsiteY11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397670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1112044 w 3236119"/>
                        <a:gd name="connsiteY11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1112044 w 3236119"/>
                        <a:gd name="connsiteY11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719139 w 3236119"/>
                        <a:gd name="connsiteY118" fmla="*/ 731043 h 1814512"/>
                        <a:gd name="connsiteX119" fmla="*/ 1112044 w 3236119"/>
                        <a:gd name="connsiteY11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1112044 w 3236119"/>
                        <a:gd name="connsiteY11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57226 w 3236119"/>
                        <a:gd name="connsiteY119" fmla="*/ 781050 h 1814512"/>
                        <a:gd name="connsiteX120" fmla="*/ 1112044 w 3236119"/>
                        <a:gd name="connsiteY12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1112044 w 3236119"/>
                        <a:gd name="connsiteY12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33426 w 3236119"/>
                        <a:gd name="connsiteY120" fmla="*/ 773906 h 1814512"/>
                        <a:gd name="connsiteX121" fmla="*/ 1112044 w 3236119"/>
                        <a:gd name="connsiteY121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1112044 w 3236119"/>
                        <a:gd name="connsiteY121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66764 w 3236119"/>
                        <a:gd name="connsiteY121" fmla="*/ 702468 h 1814512"/>
                        <a:gd name="connsiteX122" fmla="*/ 1112044 w 3236119"/>
                        <a:gd name="connsiteY122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1112044 w 3236119"/>
                        <a:gd name="connsiteY122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819151 w 3236119"/>
                        <a:gd name="connsiteY122" fmla="*/ 671512 h 1814512"/>
                        <a:gd name="connsiteX123" fmla="*/ 1112044 w 3236119"/>
                        <a:gd name="connsiteY123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1112044 w 3236119"/>
                        <a:gd name="connsiteY123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847726 w 3236119"/>
                        <a:gd name="connsiteY123" fmla="*/ 588168 h 1814512"/>
                        <a:gd name="connsiteX124" fmla="*/ 1112044 w 3236119"/>
                        <a:gd name="connsiteY124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16782 w 3236119"/>
                        <a:gd name="connsiteY123" fmla="*/ 540543 h 1814512"/>
                        <a:gd name="connsiteX124" fmla="*/ 1112044 w 3236119"/>
                        <a:gd name="connsiteY124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16782 w 3236119"/>
                        <a:gd name="connsiteY123" fmla="*/ 540543 h 1814512"/>
                        <a:gd name="connsiteX124" fmla="*/ 1007270 w 3236119"/>
                        <a:gd name="connsiteY124" fmla="*/ 419100 h 1814512"/>
                        <a:gd name="connsiteX125" fmla="*/ 1112044 w 3236119"/>
                        <a:gd name="connsiteY125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16782 w 3236119"/>
                        <a:gd name="connsiteY123" fmla="*/ 540543 h 1814512"/>
                        <a:gd name="connsiteX124" fmla="*/ 1000126 w 3236119"/>
                        <a:gd name="connsiteY124" fmla="*/ 397668 h 1814512"/>
                        <a:gd name="connsiteX125" fmla="*/ 1112044 w 3236119"/>
                        <a:gd name="connsiteY125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112044 w 3236119"/>
                        <a:gd name="connsiteY125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64420 w 3236119"/>
                        <a:gd name="connsiteY125" fmla="*/ 333375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88232 w 3236119"/>
                        <a:gd name="connsiteY125" fmla="*/ 342900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73944 w 3236119"/>
                        <a:gd name="connsiteY125" fmla="*/ 342900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2432 w 3236119"/>
                        <a:gd name="connsiteY113" fmla="*/ 864393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73944 w 3236119"/>
                        <a:gd name="connsiteY125" fmla="*/ 342900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7176 w 3236119"/>
                        <a:gd name="connsiteY109" fmla="*/ 1052513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2432 w 3236119"/>
                        <a:gd name="connsiteY113" fmla="*/ 864393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73944 w 3236119"/>
                        <a:gd name="connsiteY125" fmla="*/ 342900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30995 w 3236119"/>
                        <a:gd name="connsiteY100" fmla="*/ 1578769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7176 w 3236119"/>
                        <a:gd name="connsiteY109" fmla="*/ 1052513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2432 w 3236119"/>
                        <a:gd name="connsiteY113" fmla="*/ 864393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73944 w 3236119"/>
                        <a:gd name="connsiteY125" fmla="*/ 342900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61951 w 3236119"/>
                        <a:gd name="connsiteY100" fmla="*/ 1597818 h 1814512"/>
                        <a:gd name="connsiteX101" fmla="*/ 330995 w 3236119"/>
                        <a:gd name="connsiteY101" fmla="*/ 1578769 h 1814512"/>
                        <a:gd name="connsiteX102" fmla="*/ 147638 w 3236119"/>
                        <a:gd name="connsiteY102" fmla="*/ 1514475 h 1814512"/>
                        <a:gd name="connsiteX103" fmla="*/ 85725 w 3236119"/>
                        <a:gd name="connsiteY103" fmla="*/ 1478756 h 1814512"/>
                        <a:gd name="connsiteX104" fmla="*/ 42863 w 3236119"/>
                        <a:gd name="connsiteY104" fmla="*/ 1426368 h 1814512"/>
                        <a:gd name="connsiteX105" fmla="*/ 1 w 3236119"/>
                        <a:gd name="connsiteY105" fmla="*/ 1428749 h 1814512"/>
                        <a:gd name="connsiteX106" fmla="*/ 0 w 3236119"/>
                        <a:gd name="connsiteY106" fmla="*/ 1397793 h 1814512"/>
                        <a:gd name="connsiteX107" fmla="*/ 307182 w 3236119"/>
                        <a:gd name="connsiteY107" fmla="*/ 1171575 h 1814512"/>
                        <a:gd name="connsiteX108" fmla="*/ 300039 w 3236119"/>
                        <a:gd name="connsiteY108" fmla="*/ 1143000 h 1814512"/>
                        <a:gd name="connsiteX109" fmla="*/ 252414 w 3236119"/>
                        <a:gd name="connsiteY109" fmla="*/ 1100137 h 1814512"/>
                        <a:gd name="connsiteX110" fmla="*/ 257176 w 3236119"/>
                        <a:gd name="connsiteY110" fmla="*/ 1052513 h 1814512"/>
                        <a:gd name="connsiteX111" fmla="*/ 307182 w 3236119"/>
                        <a:gd name="connsiteY111" fmla="*/ 1038225 h 1814512"/>
                        <a:gd name="connsiteX112" fmla="*/ 314326 w 3236119"/>
                        <a:gd name="connsiteY112" fmla="*/ 985837 h 1814512"/>
                        <a:gd name="connsiteX113" fmla="*/ 390526 w 3236119"/>
                        <a:gd name="connsiteY113" fmla="*/ 900112 h 1814512"/>
                        <a:gd name="connsiteX114" fmla="*/ 402432 w 3236119"/>
                        <a:gd name="connsiteY114" fmla="*/ 864393 h 1814512"/>
                        <a:gd name="connsiteX115" fmla="*/ 404814 w 3236119"/>
                        <a:gd name="connsiteY115" fmla="*/ 823912 h 1814512"/>
                        <a:gd name="connsiteX116" fmla="*/ 445295 w 3236119"/>
                        <a:gd name="connsiteY116" fmla="*/ 812006 h 1814512"/>
                        <a:gd name="connsiteX117" fmla="*/ 471489 w 3236119"/>
                        <a:gd name="connsiteY117" fmla="*/ 850106 h 1814512"/>
                        <a:gd name="connsiteX118" fmla="*/ 600076 w 3236119"/>
                        <a:gd name="connsiteY118" fmla="*/ 866775 h 1814512"/>
                        <a:gd name="connsiteX119" fmla="*/ 638176 w 3236119"/>
                        <a:gd name="connsiteY119" fmla="*/ 804862 h 1814512"/>
                        <a:gd name="connsiteX120" fmla="*/ 692945 w 3236119"/>
                        <a:gd name="connsiteY120" fmla="*/ 828675 h 1814512"/>
                        <a:gd name="connsiteX121" fmla="*/ 709614 w 3236119"/>
                        <a:gd name="connsiteY121" fmla="*/ 769143 h 1814512"/>
                        <a:gd name="connsiteX122" fmla="*/ 778670 w 3236119"/>
                        <a:gd name="connsiteY122" fmla="*/ 723900 h 1814512"/>
                        <a:gd name="connsiteX123" fmla="*/ 783432 w 3236119"/>
                        <a:gd name="connsiteY123" fmla="*/ 661987 h 1814512"/>
                        <a:gd name="connsiteX124" fmla="*/ 933450 w 3236119"/>
                        <a:gd name="connsiteY124" fmla="*/ 533399 h 1814512"/>
                        <a:gd name="connsiteX125" fmla="*/ 1000126 w 3236119"/>
                        <a:gd name="connsiteY125" fmla="*/ 397668 h 1814512"/>
                        <a:gd name="connsiteX126" fmla="*/ 1073944 w 3236119"/>
                        <a:gd name="connsiteY126" fmla="*/ 342900 h 1814512"/>
                        <a:gd name="connsiteX127" fmla="*/ 1112044 w 3236119"/>
                        <a:gd name="connsiteY12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30995 w 3236119"/>
                        <a:gd name="connsiteY101" fmla="*/ 1578769 h 1814512"/>
                        <a:gd name="connsiteX102" fmla="*/ 147638 w 3236119"/>
                        <a:gd name="connsiteY102" fmla="*/ 1514475 h 1814512"/>
                        <a:gd name="connsiteX103" fmla="*/ 85725 w 3236119"/>
                        <a:gd name="connsiteY103" fmla="*/ 1478756 h 1814512"/>
                        <a:gd name="connsiteX104" fmla="*/ 42863 w 3236119"/>
                        <a:gd name="connsiteY104" fmla="*/ 1426368 h 1814512"/>
                        <a:gd name="connsiteX105" fmla="*/ 1 w 3236119"/>
                        <a:gd name="connsiteY105" fmla="*/ 1428749 h 1814512"/>
                        <a:gd name="connsiteX106" fmla="*/ 0 w 3236119"/>
                        <a:gd name="connsiteY106" fmla="*/ 1397793 h 1814512"/>
                        <a:gd name="connsiteX107" fmla="*/ 307182 w 3236119"/>
                        <a:gd name="connsiteY107" fmla="*/ 1171575 h 1814512"/>
                        <a:gd name="connsiteX108" fmla="*/ 300039 w 3236119"/>
                        <a:gd name="connsiteY108" fmla="*/ 1143000 h 1814512"/>
                        <a:gd name="connsiteX109" fmla="*/ 252414 w 3236119"/>
                        <a:gd name="connsiteY109" fmla="*/ 1100137 h 1814512"/>
                        <a:gd name="connsiteX110" fmla="*/ 257176 w 3236119"/>
                        <a:gd name="connsiteY110" fmla="*/ 1052513 h 1814512"/>
                        <a:gd name="connsiteX111" fmla="*/ 307182 w 3236119"/>
                        <a:gd name="connsiteY111" fmla="*/ 1038225 h 1814512"/>
                        <a:gd name="connsiteX112" fmla="*/ 314326 w 3236119"/>
                        <a:gd name="connsiteY112" fmla="*/ 985837 h 1814512"/>
                        <a:gd name="connsiteX113" fmla="*/ 390526 w 3236119"/>
                        <a:gd name="connsiteY113" fmla="*/ 900112 h 1814512"/>
                        <a:gd name="connsiteX114" fmla="*/ 402432 w 3236119"/>
                        <a:gd name="connsiteY114" fmla="*/ 864393 h 1814512"/>
                        <a:gd name="connsiteX115" fmla="*/ 404814 w 3236119"/>
                        <a:gd name="connsiteY115" fmla="*/ 823912 h 1814512"/>
                        <a:gd name="connsiteX116" fmla="*/ 445295 w 3236119"/>
                        <a:gd name="connsiteY116" fmla="*/ 812006 h 1814512"/>
                        <a:gd name="connsiteX117" fmla="*/ 471489 w 3236119"/>
                        <a:gd name="connsiteY117" fmla="*/ 850106 h 1814512"/>
                        <a:gd name="connsiteX118" fmla="*/ 600076 w 3236119"/>
                        <a:gd name="connsiteY118" fmla="*/ 866775 h 1814512"/>
                        <a:gd name="connsiteX119" fmla="*/ 638176 w 3236119"/>
                        <a:gd name="connsiteY119" fmla="*/ 804862 h 1814512"/>
                        <a:gd name="connsiteX120" fmla="*/ 692945 w 3236119"/>
                        <a:gd name="connsiteY120" fmla="*/ 828675 h 1814512"/>
                        <a:gd name="connsiteX121" fmla="*/ 709614 w 3236119"/>
                        <a:gd name="connsiteY121" fmla="*/ 769143 h 1814512"/>
                        <a:gd name="connsiteX122" fmla="*/ 778670 w 3236119"/>
                        <a:gd name="connsiteY122" fmla="*/ 723900 h 1814512"/>
                        <a:gd name="connsiteX123" fmla="*/ 783432 w 3236119"/>
                        <a:gd name="connsiteY123" fmla="*/ 661987 h 1814512"/>
                        <a:gd name="connsiteX124" fmla="*/ 933450 w 3236119"/>
                        <a:gd name="connsiteY124" fmla="*/ 533399 h 1814512"/>
                        <a:gd name="connsiteX125" fmla="*/ 1000126 w 3236119"/>
                        <a:gd name="connsiteY125" fmla="*/ 397668 h 1814512"/>
                        <a:gd name="connsiteX126" fmla="*/ 1073944 w 3236119"/>
                        <a:gd name="connsiteY126" fmla="*/ 342900 h 1814512"/>
                        <a:gd name="connsiteX127" fmla="*/ 1112044 w 3236119"/>
                        <a:gd name="connsiteY12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30995 w 3236119"/>
                        <a:gd name="connsiteY101" fmla="*/ 1578769 h 1814512"/>
                        <a:gd name="connsiteX102" fmla="*/ 283370 w 3236119"/>
                        <a:gd name="connsiteY102" fmla="*/ 1559718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42863 w 3236119"/>
                        <a:gd name="connsiteY105" fmla="*/ 1426368 h 1814512"/>
                        <a:gd name="connsiteX106" fmla="*/ 1 w 3236119"/>
                        <a:gd name="connsiteY106" fmla="*/ 1428749 h 1814512"/>
                        <a:gd name="connsiteX107" fmla="*/ 0 w 3236119"/>
                        <a:gd name="connsiteY107" fmla="*/ 1397793 h 1814512"/>
                        <a:gd name="connsiteX108" fmla="*/ 307182 w 3236119"/>
                        <a:gd name="connsiteY108" fmla="*/ 1171575 h 1814512"/>
                        <a:gd name="connsiteX109" fmla="*/ 300039 w 3236119"/>
                        <a:gd name="connsiteY109" fmla="*/ 1143000 h 1814512"/>
                        <a:gd name="connsiteX110" fmla="*/ 252414 w 3236119"/>
                        <a:gd name="connsiteY110" fmla="*/ 1100137 h 1814512"/>
                        <a:gd name="connsiteX111" fmla="*/ 257176 w 3236119"/>
                        <a:gd name="connsiteY111" fmla="*/ 1052513 h 1814512"/>
                        <a:gd name="connsiteX112" fmla="*/ 307182 w 3236119"/>
                        <a:gd name="connsiteY112" fmla="*/ 1038225 h 1814512"/>
                        <a:gd name="connsiteX113" fmla="*/ 314326 w 3236119"/>
                        <a:gd name="connsiteY113" fmla="*/ 985837 h 1814512"/>
                        <a:gd name="connsiteX114" fmla="*/ 390526 w 3236119"/>
                        <a:gd name="connsiteY114" fmla="*/ 900112 h 1814512"/>
                        <a:gd name="connsiteX115" fmla="*/ 402432 w 3236119"/>
                        <a:gd name="connsiteY115" fmla="*/ 864393 h 1814512"/>
                        <a:gd name="connsiteX116" fmla="*/ 404814 w 3236119"/>
                        <a:gd name="connsiteY116" fmla="*/ 823912 h 1814512"/>
                        <a:gd name="connsiteX117" fmla="*/ 445295 w 3236119"/>
                        <a:gd name="connsiteY117" fmla="*/ 812006 h 1814512"/>
                        <a:gd name="connsiteX118" fmla="*/ 471489 w 3236119"/>
                        <a:gd name="connsiteY118" fmla="*/ 850106 h 1814512"/>
                        <a:gd name="connsiteX119" fmla="*/ 600076 w 3236119"/>
                        <a:gd name="connsiteY119" fmla="*/ 866775 h 1814512"/>
                        <a:gd name="connsiteX120" fmla="*/ 638176 w 3236119"/>
                        <a:gd name="connsiteY120" fmla="*/ 804862 h 1814512"/>
                        <a:gd name="connsiteX121" fmla="*/ 692945 w 3236119"/>
                        <a:gd name="connsiteY121" fmla="*/ 828675 h 1814512"/>
                        <a:gd name="connsiteX122" fmla="*/ 709614 w 3236119"/>
                        <a:gd name="connsiteY122" fmla="*/ 769143 h 1814512"/>
                        <a:gd name="connsiteX123" fmla="*/ 778670 w 3236119"/>
                        <a:gd name="connsiteY123" fmla="*/ 723900 h 1814512"/>
                        <a:gd name="connsiteX124" fmla="*/ 783432 w 3236119"/>
                        <a:gd name="connsiteY124" fmla="*/ 661987 h 1814512"/>
                        <a:gd name="connsiteX125" fmla="*/ 933450 w 3236119"/>
                        <a:gd name="connsiteY125" fmla="*/ 533399 h 1814512"/>
                        <a:gd name="connsiteX126" fmla="*/ 1000126 w 3236119"/>
                        <a:gd name="connsiteY126" fmla="*/ 397668 h 1814512"/>
                        <a:gd name="connsiteX127" fmla="*/ 1073944 w 3236119"/>
                        <a:gd name="connsiteY127" fmla="*/ 342900 h 1814512"/>
                        <a:gd name="connsiteX128" fmla="*/ 1112044 w 3236119"/>
                        <a:gd name="connsiteY12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30995 w 3236119"/>
                        <a:gd name="connsiteY101" fmla="*/ 1578769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42863 w 3236119"/>
                        <a:gd name="connsiteY105" fmla="*/ 1426368 h 1814512"/>
                        <a:gd name="connsiteX106" fmla="*/ 1 w 3236119"/>
                        <a:gd name="connsiteY106" fmla="*/ 1428749 h 1814512"/>
                        <a:gd name="connsiteX107" fmla="*/ 0 w 3236119"/>
                        <a:gd name="connsiteY107" fmla="*/ 1397793 h 1814512"/>
                        <a:gd name="connsiteX108" fmla="*/ 307182 w 3236119"/>
                        <a:gd name="connsiteY108" fmla="*/ 1171575 h 1814512"/>
                        <a:gd name="connsiteX109" fmla="*/ 300039 w 3236119"/>
                        <a:gd name="connsiteY109" fmla="*/ 1143000 h 1814512"/>
                        <a:gd name="connsiteX110" fmla="*/ 252414 w 3236119"/>
                        <a:gd name="connsiteY110" fmla="*/ 1100137 h 1814512"/>
                        <a:gd name="connsiteX111" fmla="*/ 257176 w 3236119"/>
                        <a:gd name="connsiteY111" fmla="*/ 1052513 h 1814512"/>
                        <a:gd name="connsiteX112" fmla="*/ 307182 w 3236119"/>
                        <a:gd name="connsiteY112" fmla="*/ 1038225 h 1814512"/>
                        <a:gd name="connsiteX113" fmla="*/ 314326 w 3236119"/>
                        <a:gd name="connsiteY113" fmla="*/ 985837 h 1814512"/>
                        <a:gd name="connsiteX114" fmla="*/ 390526 w 3236119"/>
                        <a:gd name="connsiteY114" fmla="*/ 900112 h 1814512"/>
                        <a:gd name="connsiteX115" fmla="*/ 402432 w 3236119"/>
                        <a:gd name="connsiteY115" fmla="*/ 864393 h 1814512"/>
                        <a:gd name="connsiteX116" fmla="*/ 404814 w 3236119"/>
                        <a:gd name="connsiteY116" fmla="*/ 823912 h 1814512"/>
                        <a:gd name="connsiteX117" fmla="*/ 445295 w 3236119"/>
                        <a:gd name="connsiteY117" fmla="*/ 812006 h 1814512"/>
                        <a:gd name="connsiteX118" fmla="*/ 471489 w 3236119"/>
                        <a:gd name="connsiteY118" fmla="*/ 850106 h 1814512"/>
                        <a:gd name="connsiteX119" fmla="*/ 600076 w 3236119"/>
                        <a:gd name="connsiteY119" fmla="*/ 866775 h 1814512"/>
                        <a:gd name="connsiteX120" fmla="*/ 638176 w 3236119"/>
                        <a:gd name="connsiteY120" fmla="*/ 804862 h 1814512"/>
                        <a:gd name="connsiteX121" fmla="*/ 692945 w 3236119"/>
                        <a:gd name="connsiteY121" fmla="*/ 828675 h 1814512"/>
                        <a:gd name="connsiteX122" fmla="*/ 709614 w 3236119"/>
                        <a:gd name="connsiteY122" fmla="*/ 769143 h 1814512"/>
                        <a:gd name="connsiteX123" fmla="*/ 778670 w 3236119"/>
                        <a:gd name="connsiteY123" fmla="*/ 723900 h 1814512"/>
                        <a:gd name="connsiteX124" fmla="*/ 783432 w 3236119"/>
                        <a:gd name="connsiteY124" fmla="*/ 661987 h 1814512"/>
                        <a:gd name="connsiteX125" fmla="*/ 933450 w 3236119"/>
                        <a:gd name="connsiteY125" fmla="*/ 533399 h 1814512"/>
                        <a:gd name="connsiteX126" fmla="*/ 1000126 w 3236119"/>
                        <a:gd name="connsiteY126" fmla="*/ 397668 h 1814512"/>
                        <a:gd name="connsiteX127" fmla="*/ 1073944 w 3236119"/>
                        <a:gd name="connsiteY127" fmla="*/ 342900 h 1814512"/>
                        <a:gd name="connsiteX128" fmla="*/ 1112044 w 3236119"/>
                        <a:gd name="connsiteY12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42863 w 3236119"/>
                        <a:gd name="connsiteY105" fmla="*/ 1426368 h 1814512"/>
                        <a:gd name="connsiteX106" fmla="*/ 1 w 3236119"/>
                        <a:gd name="connsiteY106" fmla="*/ 1428749 h 1814512"/>
                        <a:gd name="connsiteX107" fmla="*/ 0 w 3236119"/>
                        <a:gd name="connsiteY107" fmla="*/ 1397793 h 1814512"/>
                        <a:gd name="connsiteX108" fmla="*/ 307182 w 3236119"/>
                        <a:gd name="connsiteY108" fmla="*/ 1171575 h 1814512"/>
                        <a:gd name="connsiteX109" fmla="*/ 300039 w 3236119"/>
                        <a:gd name="connsiteY109" fmla="*/ 1143000 h 1814512"/>
                        <a:gd name="connsiteX110" fmla="*/ 252414 w 3236119"/>
                        <a:gd name="connsiteY110" fmla="*/ 1100137 h 1814512"/>
                        <a:gd name="connsiteX111" fmla="*/ 257176 w 3236119"/>
                        <a:gd name="connsiteY111" fmla="*/ 1052513 h 1814512"/>
                        <a:gd name="connsiteX112" fmla="*/ 307182 w 3236119"/>
                        <a:gd name="connsiteY112" fmla="*/ 1038225 h 1814512"/>
                        <a:gd name="connsiteX113" fmla="*/ 314326 w 3236119"/>
                        <a:gd name="connsiteY113" fmla="*/ 985837 h 1814512"/>
                        <a:gd name="connsiteX114" fmla="*/ 390526 w 3236119"/>
                        <a:gd name="connsiteY114" fmla="*/ 900112 h 1814512"/>
                        <a:gd name="connsiteX115" fmla="*/ 402432 w 3236119"/>
                        <a:gd name="connsiteY115" fmla="*/ 864393 h 1814512"/>
                        <a:gd name="connsiteX116" fmla="*/ 404814 w 3236119"/>
                        <a:gd name="connsiteY116" fmla="*/ 823912 h 1814512"/>
                        <a:gd name="connsiteX117" fmla="*/ 445295 w 3236119"/>
                        <a:gd name="connsiteY117" fmla="*/ 812006 h 1814512"/>
                        <a:gd name="connsiteX118" fmla="*/ 471489 w 3236119"/>
                        <a:gd name="connsiteY118" fmla="*/ 850106 h 1814512"/>
                        <a:gd name="connsiteX119" fmla="*/ 600076 w 3236119"/>
                        <a:gd name="connsiteY119" fmla="*/ 866775 h 1814512"/>
                        <a:gd name="connsiteX120" fmla="*/ 638176 w 3236119"/>
                        <a:gd name="connsiteY120" fmla="*/ 804862 h 1814512"/>
                        <a:gd name="connsiteX121" fmla="*/ 692945 w 3236119"/>
                        <a:gd name="connsiteY121" fmla="*/ 828675 h 1814512"/>
                        <a:gd name="connsiteX122" fmla="*/ 709614 w 3236119"/>
                        <a:gd name="connsiteY122" fmla="*/ 769143 h 1814512"/>
                        <a:gd name="connsiteX123" fmla="*/ 778670 w 3236119"/>
                        <a:gd name="connsiteY123" fmla="*/ 723900 h 1814512"/>
                        <a:gd name="connsiteX124" fmla="*/ 783432 w 3236119"/>
                        <a:gd name="connsiteY124" fmla="*/ 661987 h 1814512"/>
                        <a:gd name="connsiteX125" fmla="*/ 933450 w 3236119"/>
                        <a:gd name="connsiteY125" fmla="*/ 533399 h 1814512"/>
                        <a:gd name="connsiteX126" fmla="*/ 1000126 w 3236119"/>
                        <a:gd name="connsiteY126" fmla="*/ 397668 h 1814512"/>
                        <a:gd name="connsiteX127" fmla="*/ 1073944 w 3236119"/>
                        <a:gd name="connsiteY127" fmla="*/ 342900 h 1814512"/>
                        <a:gd name="connsiteX128" fmla="*/ 1112044 w 3236119"/>
                        <a:gd name="connsiteY12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71439 w 3236119"/>
                        <a:gd name="connsiteY105" fmla="*/ 1450181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8670 w 3236119"/>
                        <a:gd name="connsiteY124" fmla="*/ 723900 h 1814512"/>
                        <a:gd name="connsiteX125" fmla="*/ 783432 w 3236119"/>
                        <a:gd name="connsiteY125" fmla="*/ 661987 h 1814512"/>
                        <a:gd name="connsiteX126" fmla="*/ 933450 w 3236119"/>
                        <a:gd name="connsiteY126" fmla="*/ 533399 h 1814512"/>
                        <a:gd name="connsiteX127" fmla="*/ 1000126 w 3236119"/>
                        <a:gd name="connsiteY127" fmla="*/ 397668 h 1814512"/>
                        <a:gd name="connsiteX128" fmla="*/ 1073944 w 3236119"/>
                        <a:gd name="connsiteY128" fmla="*/ 342900 h 1814512"/>
                        <a:gd name="connsiteX129" fmla="*/ 1112044 w 3236119"/>
                        <a:gd name="connsiteY12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8670 w 3236119"/>
                        <a:gd name="connsiteY124" fmla="*/ 723900 h 1814512"/>
                        <a:gd name="connsiteX125" fmla="*/ 783432 w 3236119"/>
                        <a:gd name="connsiteY125" fmla="*/ 661987 h 1814512"/>
                        <a:gd name="connsiteX126" fmla="*/ 933450 w 3236119"/>
                        <a:gd name="connsiteY126" fmla="*/ 533399 h 1814512"/>
                        <a:gd name="connsiteX127" fmla="*/ 1000126 w 3236119"/>
                        <a:gd name="connsiteY127" fmla="*/ 397668 h 1814512"/>
                        <a:gd name="connsiteX128" fmla="*/ 1073944 w 3236119"/>
                        <a:gd name="connsiteY128" fmla="*/ 342900 h 1814512"/>
                        <a:gd name="connsiteX129" fmla="*/ 1112044 w 3236119"/>
                        <a:gd name="connsiteY12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8670 w 3236119"/>
                        <a:gd name="connsiteY124" fmla="*/ 723900 h 1814512"/>
                        <a:gd name="connsiteX125" fmla="*/ 783432 w 3236119"/>
                        <a:gd name="connsiteY125" fmla="*/ 661987 h 1814512"/>
                        <a:gd name="connsiteX126" fmla="*/ 845345 w 3236119"/>
                        <a:gd name="connsiteY126" fmla="*/ 604837 h 1814512"/>
                        <a:gd name="connsiteX127" fmla="*/ 933450 w 3236119"/>
                        <a:gd name="connsiteY127" fmla="*/ 533399 h 1814512"/>
                        <a:gd name="connsiteX128" fmla="*/ 1000126 w 3236119"/>
                        <a:gd name="connsiteY128" fmla="*/ 397668 h 1814512"/>
                        <a:gd name="connsiteX129" fmla="*/ 1073944 w 3236119"/>
                        <a:gd name="connsiteY129" fmla="*/ 342900 h 1814512"/>
                        <a:gd name="connsiteX130" fmla="*/ 1112044 w 3236119"/>
                        <a:gd name="connsiteY13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8670 w 3236119"/>
                        <a:gd name="connsiteY124" fmla="*/ 723900 h 1814512"/>
                        <a:gd name="connsiteX125" fmla="*/ 783432 w 3236119"/>
                        <a:gd name="connsiteY125" fmla="*/ 661987 h 1814512"/>
                        <a:gd name="connsiteX126" fmla="*/ 831057 w 3236119"/>
                        <a:gd name="connsiteY126" fmla="*/ 602456 h 1814512"/>
                        <a:gd name="connsiteX127" fmla="*/ 933450 w 3236119"/>
                        <a:gd name="connsiteY127" fmla="*/ 533399 h 1814512"/>
                        <a:gd name="connsiteX128" fmla="*/ 1000126 w 3236119"/>
                        <a:gd name="connsiteY128" fmla="*/ 397668 h 1814512"/>
                        <a:gd name="connsiteX129" fmla="*/ 1073944 w 3236119"/>
                        <a:gd name="connsiteY129" fmla="*/ 342900 h 1814512"/>
                        <a:gd name="connsiteX130" fmla="*/ 1112044 w 3236119"/>
                        <a:gd name="connsiteY13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8670 w 3236119"/>
                        <a:gd name="connsiteY124" fmla="*/ 723900 h 1814512"/>
                        <a:gd name="connsiteX125" fmla="*/ 771526 w 3236119"/>
                        <a:gd name="connsiteY125" fmla="*/ 661987 h 1814512"/>
                        <a:gd name="connsiteX126" fmla="*/ 831057 w 3236119"/>
                        <a:gd name="connsiteY126" fmla="*/ 602456 h 1814512"/>
                        <a:gd name="connsiteX127" fmla="*/ 933450 w 3236119"/>
                        <a:gd name="connsiteY127" fmla="*/ 533399 h 1814512"/>
                        <a:gd name="connsiteX128" fmla="*/ 1000126 w 3236119"/>
                        <a:gd name="connsiteY128" fmla="*/ 397668 h 1814512"/>
                        <a:gd name="connsiteX129" fmla="*/ 1073944 w 3236119"/>
                        <a:gd name="connsiteY129" fmla="*/ 342900 h 1814512"/>
                        <a:gd name="connsiteX130" fmla="*/ 1112044 w 3236119"/>
                        <a:gd name="connsiteY13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1527 w 3236119"/>
                        <a:gd name="connsiteY124" fmla="*/ 721519 h 1814512"/>
                        <a:gd name="connsiteX125" fmla="*/ 771526 w 3236119"/>
                        <a:gd name="connsiteY125" fmla="*/ 661987 h 1814512"/>
                        <a:gd name="connsiteX126" fmla="*/ 831057 w 3236119"/>
                        <a:gd name="connsiteY126" fmla="*/ 602456 h 1814512"/>
                        <a:gd name="connsiteX127" fmla="*/ 933450 w 3236119"/>
                        <a:gd name="connsiteY127" fmla="*/ 533399 h 1814512"/>
                        <a:gd name="connsiteX128" fmla="*/ 1000126 w 3236119"/>
                        <a:gd name="connsiteY128" fmla="*/ 397668 h 1814512"/>
                        <a:gd name="connsiteX129" fmla="*/ 1073944 w 3236119"/>
                        <a:gd name="connsiteY129" fmla="*/ 342900 h 1814512"/>
                        <a:gd name="connsiteX130" fmla="*/ 1112044 w 3236119"/>
                        <a:gd name="connsiteY13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1527 w 3236119"/>
                        <a:gd name="connsiteY124" fmla="*/ 721519 h 1814512"/>
                        <a:gd name="connsiteX125" fmla="*/ 771526 w 3236119"/>
                        <a:gd name="connsiteY125" fmla="*/ 661987 h 1814512"/>
                        <a:gd name="connsiteX126" fmla="*/ 831057 w 3236119"/>
                        <a:gd name="connsiteY126" fmla="*/ 602456 h 1814512"/>
                        <a:gd name="connsiteX127" fmla="*/ 933450 w 3236119"/>
                        <a:gd name="connsiteY127" fmla="*/ 533399 h 1814512"/>
                        <a:gd name="connsiteX128" fmla="*/ 962026 w 3236119"/>
                        <a:gd name="connsiteY128" fmla="*/ 476250 h 1814512"/>
                        <a:gd name="connsiteX129" fmla="*/ 1000126 w 3236119"/>
                        <a:gd name="connsiteY129" fmla="*/ 397668 h 1814512"/>
                        <a:gd name="connsiteX130" fmla="*/ 1073944 w 3236119"/>
                        <a:gd name="connsiteY130" fmla="*/ 342900 h 1814512"/>
                        <a:gd name="connsiteX131" fmla="*/ 1112044 w 3236119"/>
                        <a:gd name="connsiteY131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1527 w 3236119"/>
                        <a:gd name="connsiteY124" fmla="*/ 721519 h 1814512"/>
                        <a:gd name="connsiteX125" fmla="*/ 771526 w 3236119"/>
                        <a:gd name="connsiteY125" fmla="*/ 661987 h 1814512"/>
                        <a:gd name="connsiteX126" fmla="*/ 831057 w 3236119"/>
                        <a:gd name="connsiteY126" fmla="*/ 602456 h 1814512"/>
                        <a:gd name="connsiteX127" fmla="*/ 933450 w 3236119"/>
                        <a:gd name="connsiteY127" fmla="*/ 533399 h 1814512"/>
                        <a:gd name="connsiteX128" fmla="*/ 950120 w 3236119"/>
                        <a:gd name="connsiteY128" fmla="*/ 478631 h 1814512"/>
                        <a:gd name="connsiteX129" fmla="*/ 1000126 w 3236119"/>
                        <a:gd name="connsiteY129" fmla="*/ 397668 h 1814512"/>
                        <a:gd name="connsiteX130" fmla="*/ 1073944 w 3236119"/>
                        <a:gd name="connsiteY130" fmla="*/ 342900 h 1814512"/>
                        <a:gd name="connsiteX131" fmla="*/ 1112044 w 3236119"/>
                        <a:gd name="connsiteY131" fmla="*/ 295275 h 181451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  <a:cxn ang="0">
                          <a:pos x="connsiteX101" y="connsiteY101"/>
                        </a:cxn>
                        <a:cxn ang="0">
                          <a:pos x="connsiteX102" y="connsiteY102"/>
                        </a:cxn>
                        <a:cxn ang="0">
                          <a:pos x="connsiteX103" y="connsiteY103"/>
                        </a:cxn>
                        <a:cxn ang="0">
                          <a:pos x="connsiteX104" y="connsiteY104"/>
                        </a:cxn>
                        <a:cxn ang="0">
                          <a:pos x="connsiteX105" y="connsiteY105"/>
                        </a:cxn>
                        <a:cxn ang="0">
                          <a:pos x="connsiteX106" y="connsiteY106"/>
                        </a:cxn>
                        <a:cxn ang="0">
                          <a:pos x="connsiteX107" y="connsiteY107"/>
                        </a:cxn>
                        <a:cxn ang="0">
                          <a:pos x="connsiteX108" y="connsiteY108"/>
                        </a:cxn>
                        <a:cxn ang="0">
                          <a:pos x="connsiteX109" y="connsiteY109"/>
                        </a:cxn>
                        <a:cxn ang="0">
                          <a:pos x="connsiteX110" y="connsiteY110"/>
                        </a:cxn>
                        <a:cxn ang="0">
                          <a:pos x="connsiteX111" y="connsiteY111"/>
                        </a:cxn>
                        <a:cxn ang="0">
                          <a:pos x="connsiteX112" y="connsiteY112"/>
                        </a:cxn>
                        <a:cxn ang="0">
                          <a:pos x="connsiteX113" y="connsiteY113"/>
                        </a:cxn>
                        <a:cxn ang="0">
                          <a:pos x="connsiteX114" y="connsiteY114"/>
                        </a:cxn>
                        <a:cxn ang="0">
                          <a:pos x="connsiteX115" y="connsiteY115"/>
                        </a:cxn>
                        <a:cxn ang="0">
                          <a:pos x="connsiteX116" y="connsiteY116"/>
                        </a:cxn>
                        <a:cxn ang="0">
                          <a:pos x="connsiteX117" y="connsiteY117"/>
                        </a:cxn>
                        <a:cxn ang="0">
                          <a:pos x="connsiteX118" y="connsiteY118"/>
                        </a:cxn>
                        <a:cxn ang="0">
                          <a:pos x="connsiteX119" y="connsiteY119"/>
                        </a:cxn>
                        <a:cxn ang="0">
                          <a:pos x="connsiteX120" y="connsiteY120"/>
                        </a:cxn>
                        <a:cxn ang="0">
                          <a:pos x="connsiteX121" y="connsiteY121"/>
                        </a:cxn>
                        <a:cxn ang="0">
                          <a:pos x="connsiteX122" y="connsiteY122"/>
                        </a:cxn>
                        <a:cxn ang="0">
                          <a:pos x="connsiteX123" y="connsiteY123"/>
                        </a:cxn>
                        <a:cxn ang="0">
                          <a:pos x="connsiteX124" y="connsiteY124"/>
                        </a:cxn>
                        <a:cxn ang="0">
                          <a:pos x="connsiteX125" y="connsiteY125"/>
                        </a:cxn>
                        <a:cxn ang="0">
                          <a:pos x="connsiteX126" y="connsiteY126"/>
                        </a:cxn>
                        <a:cxn ang="0">
                          <a:pos x="connsiteX127" y="connsiteY127"/>
                        </a:cxn>
                        <a:cxn ang="0">
                          <a:pos x="connsiteX128" y="connsiteY128"/>
                        </a:cxn>
                        <a:cxn ang="0">
                          <a:pos x="connsiteX129" y="connsiteY129"/>
                        </a:cxn>
                        <a:cxn ang="0">
                          <a:pos x="connsiteX130" y="connsiteY130"/>
                        </a:cxn>
                        <a:cxn ang="0">
                          <a:pos x="connsiteX131" y="connsiteY131"/>
                        </a:cxn>
                      </a:cxnLst>
                      <a:rect l="l" t="t" r="r" b="b"/>
                      <a:pathLst>
                        <a:path w="3236119" h="1814512">
                          <a:moveTo>
                            <a:pt x="1112044" y="295275"/>
                          </a:moveTo>
                          <a:lnTo>
                            <a:pt x="1166813" y="240506"/>
                          </a:lnTo>
                          <a:lnTo>
                            <a:pt x="1190625" y="195262"/>
                          </a:lnTo>
                          <a:lnTo>
                            <a:pt x="1235869" y="180975"/>
                          </a:lnTo>
                          <a:lnTo>
                            <a:pt x="1266825" y="209550"/>
                          </a:lnTo>
                          <a:lnTo>
                            <a:pt x="1283494" y="250031"/>
                          </a:lnTo>
                          <a:lnTo>
                            <a:pt x="1316831" y="278606"/>
                          </a:lnTo>
                          <a:lnTo>
                            <a:pt x="1338263" y="280987"/>
                          </a:lnTo>
                          <a:lnTo>
                            <a:pt x="1393031" y="280987"/>
                          </a:lnTo>
                          <a:lnTo>
                            <a:pt x="1423988" y="314325"/>
                          </a:lnTo>
                          <a:lnTo>
                            <a:pt x="1426369" y="335756"/>
                          </a:lnTo>
                          <a:lnTo>
                            <a:pt x="1438275" y="373856"/>
                          </a:lnTo>
                          <a:lnTo>
                            <a:pt x="1478756" y="357187"/>
                          </a:lnTo>
                          <a:lnTo>
                            <a:pt x="1538288" y="373856"/>
                          </a:lnTo>
                          <a:lnTo>
                            <a:pt x="1609725" y="385762"/>
                          </a:lnTo>
                          <a:lnTo>
                            <a:pt x="1650206" y="369093"/>
                          </a:lnTo>
                          <a:lnTo>
                            <a:pt x="1662113" y="311943"/>
                          </a:lnTo>
                          <a:lnTo>
                            <a:pt x="1666875" y="285750"/>
                          </a:lnTo>
                          <a:cubicBezTo>
                            <a:pt x="1690269" y="272753"/>
                            <a:pt x="1682527" y="279621"/>
                            <a:pt x="1693069" y="269081"/>
                          </a:cubicBezTo>
                          <a:lnTo>
                            <a:pt x="1821656" y="178593"/>
                          </a:lnTo>
                          <a:lnTo>
                            <a:pt x="1850231" y="176212"/>
                          </a:lnTo>
                          <a:lnTo>
                            <a:pt x="1859756" y="228600"/>
                          </a:lnTo>
                          <a:lnTo>
                            <a:pt x="1852613" y="261937"/>
                          </a:lnTo>
                          <a:lnTo>
                            <a:pt x="1928813" y="280987"/>
                          </a:lnTo>
                          <a:lnTo>
                            <a:pt x="1976438" y="228600"/>
                          </a:lnTo>
                          <a:lnTo>
                            <a:pt x="2028825" y="183356"/>
                          </a:lnTo>
                          <a:lnTo>
                            <a:pt x="2050256" y="133350"/>
                          </a:lnTo>
                          <a:lnTo>
                            <a:pt x="2100263" y="109537"/>
                          </a:lnTo>
                          <a:lnTo>
                            <a:pt x="2140744" y="80962"/>
                          </a:lnTo>
                          <a:lnTo>
                            <a:pt x="2185988" y="33337"/>
                          </a:lnTo>
                          <a:lnTo>
                            <a:pt x="2231231" y="33337"/>
                          </a:lnTo>
                          <a:lnTo>
                            <a:pt x="2266950" y="0"/>
                          </a:lnTo>
                          <a:lnTo>
                            <a:pt x="2333625" y="71437"/>
                          </a:lnTo>
                          <a:lnTo>
                            <a:pt x="2309813" y="102393"/>
                          </a:lnTo>
                          <a:lnTo>
                            <a:pt x="2302669" y="138112"/>
                          </a:lnTo>
                          <a:lnTo>
                            <a:pt x="2347913" y="180975"/>
                          </a:lnTo>
                          <a:lnTo>
                            <a:pt x="2412206" y="178593"/>
                          </a:lnTo>
                          <a:lnTo>
                            <a:pt x="2447925" y="183356"/>
                          </a:lnTo>
                          <a:lnTo>
                            <a:pt x="2526506" y="230981"/>
                          </a:lnTo>
                          <a:lnTo>
                            <a:pt x="2562225" y="245268"/>
                          </a:lnTo>
                          <a:lnTo>
                            <a:pt x="2564606" y="292893"/>
                          </a:lnTo>
                          <a:lnTo>
                            <a:pt x="2547938" y="345281"/>
                          </a:lnTo>
                          <a:lnTo>
                            <a:pt x="2593181" y="359568"/>
                          </a:lnTo>
                          <a:lnTo>
                            <a:pt x="2628900" y="304800"/>
                          </a:lnTo>
                          <a:lnTo>
                            <a:pt x="2671763" y="295275"/>
                          </a:lnTo>
                          <a:lnTo>
                            <a:pt x="2728913" y="257175"/>
                          </a:lnTo>
                          <a:lnTo>
                            <a:pt x="2790825" y="266700"/>
                          </a:lnTo>
                          <a:lnTo>
                            <a:pt x="2867025" y="226218"/>
                          </a:lnTo>
                          <a:lnTo>
                            <a:pt x="2895600" y="166687"/>
                          </a:lnTo>
                          <a:cubicBezTo>
                            <a:pt x="2900363" y="160337"/>
                            <a:pt x="2904578" y="153537"/>
                            <a:pt x="2909888" y="147637"/>
                          </a:cubicBezTo>
                          <a:cubicBezTo>
                            <a:pt x="2911802" y="145510"/>
                            <a:pt x="2915008" y="144899"/>
                            <a:pt x="2917031" y="142875"/>
                          </a:cubicBezTo>
                          <a:cubicBezTo>
                            <a:pt x="2920625" y="139281"/>
                            <a:pt x="2926556" y="130968"/>
                            <a:pt x="2926556" y="130968"/>
                          </a:cubicBezTo>
                          <a:lnTo>
                            <a:pt x="2940844" y="92868"/>
                          </a:lnTo>
                          <a:lnTo>
                            <a:pt x="3024188" y="114300"/>
                          </a:lnTo>
                          <a:lnTo>
                            <a:pt x="3095625" y="130968"/>
                          </a:lnTo>
                          <a:lnTo>
                            <a:pt x="3109913" y="200025"/>
                          </a:lnTo>
                          <a:lnTo>
                            <a:pt x="3145631" y="252412"/>
                          </a:lnTo>
                          <a:lnTo>
                            <a:pt x="3131344" y="259556"/>
                          </a:lnTo>
                          <a:lnTo>
                            <a:pt x="3090863" y="283368"/>
                          </a:lnTo>
                          <a:lnTo>
                            <a:pt x="3062288" y="314325"/>
                          </a:lnTo>
                          <a:lnTo>
                            <a:pt x="3033713" y="354806"/>
                          </a:lnTo>
                          <a:lnTo>
                            <a:pt x="3031331" y="416718"/>
                          </a:lnTo>
                          <a:lnTo>
                            <a:pt x="3045619" y="466725"/>
                          </a:lnTo>
                          <a:lnTo>
                            <a:pt x="3071813" y="511968"/>
                          </a:lnTo>
                          <a:lnTo>
                            <a:pt x="3095625" y="535781"/>
                          </a:lnTo>
                          <a:lnTo>
                            <a:pt x="3076575" y="564356"/>
                          </a:lnTo>
                          <a:lnTo>
                            <a:pt x="3055144" y="590550"/>
                          </a:lnTo>
                          <a:lnTo>
                            <a:pt x="3050381" y="640556"/>
                          </a:lnTo>
                          <a:lnTo>
                            <a:pt x="3064669" y="666750"/>
                          </a:lnTo>
                          <a:lnTo>
                            <a:pt x="3090863" y="716756"/>
                          </a:lnTo>
                          <a:lnTo>
                            <a:pt x="3114675" y="733425"/>
                          </a:lnTo>
                          <a:lnTo>
                            <a:pt x="3105150" y="769143"/>
                          </a:lnTo>
                          <a:lnTo>
                            <a:pt x="3098006" y="790575"/>
                          </a:lnTo>
                          <a:lnTo>
                            <a:pt x="3071813" y="807243"/>
                          </a:lnTo>
                          <a:lnTo>
                            <a:pt x="3045619" y="828675"/>
                          </a:lnTo>
                          <a:lnTo>
                            <a:pt x="3057525" y="859631"/>
                          </a:lnTo>
                          <a:lnTo>
                            <a:pt x="3067050" y="883443"/>
                          </a:lnTo>
                          <a:lnTo>
                            <a:pt x="3143250" y="962025"/>
                          </a:lnTo>
                          <a:lnTo>
                            <a:pt x="3095625" y="1021556"/>
                          </a:lnTo>
                          <a:cubicBezTo>
                            <a:pt x="3094831" y="1074737"/>
                            <a:pt x="3094038" y="1127919"/>
                            <a:pt x="3093244" y="1181100"/>
                          </a:cubicBezTo>
                          <a:lnTo>
                            <a:pt x="3052763" y="1214437"/>
                          </a:lnTo>
                          <a:lnTo>
                            <a:pt x="3114675" y="1293018"/>
                          </a:lnTo>
                          <a:lnTo>
                            <a:pt x="3171825" y="1238250"/>
                          </a:lnTo>
                          <a:lnTo>
                            <a:pt x="3236119" y="1240631"/>
                          </a:lnTo>
                          <a:lnTo>
                            <a:pt x="3228975" y="1283493"/>
                          </a:lnTo>
                          <a:lnTo>
                            <a:pt x="3228975" y="1419225"/>
                          </a:lnTo>
                          <a:lnTo>
                            <a:pt x="3193256" y="1431131"/>
                          </a:lnTo>
                          <a:lnTo>
                            <a:pt x="3107531" y="1443037"/>
                          </a:lnTo>
                          <a:lnTo>
                            <a:pt x="2778919" y="1459706"/>
                          </a:lnTo>
                          <a:lnTo>
                            <a:pt x="2671763" y="1488281"/>
                          </a:lnTo>
                          <a:lnTo>
                            <a:pt x="2433638" y="1728787"/>
                          </a:lnTo>
                          <a:lnTo>
                            <a:pt x="1547813" y="1781175"/>
                          </a:lnTo>
                          <a:lnTo>
                            <a:pt x="1393031" y="1802606"/>
                          </a:lnTo>
                          <a:lnTo>
                            <a:pt x="971550" y="1814512"/>
                          </a:lnTo>
                          <a:lnTo>
                            <a:pt x="933450" y="1747837"/>
                          </a:lnTo>
                          <a:lnTo>
                            <a:pt x="845344" y="1747837"/>
                          </a:lnTo>
                          <a:lnTo>
                            <a:pt x="821531" y="1738312"/>
                          </a:lnTo>
                          <a:lnTo>
                            <a:pt x="766763" y="1776412"/>
                          </a:lnTo>
                          <a:lnTo>
                            <a:pt x="578644" y="1764506"/>
                          </a:lnTo>
                          <a:lnTo>
                            <a:pt x="502444" y="1690687"/>
                          </a:lnTo>
                          <a:lnTo>
                            <a:pt x="347663" y="1607343"/>
                          </a:lnTo>
                          <a:lnTo>
                            <a:pt x="314326" y="1588294"/>
                          </a:lnTo>
                          <a:lnTo>
                            <a:pt x="273845" y="1576387"/>
                          </a:lnTo>
                          <a:lnTo>
                            <a:pt x="147638" y="1514475"/>
                          </a:lnTo>
                          <a:lnTo>
                            <a:pt x="85725" y="1478756"/>
                          </a:lnTo>
                          <a:cubicBezTo>
                            <a:pt x="73025" y="1468040"/>
                            <a:pt x="69058" y="1466056"/>
                            <a:pt x="61914" y="1457325"/>
                          </a:cubicBezTo>
                          <a:cubicBezTo>
                            <a:pt x="54770" y="1448594"/>
                            <a:pt x="54769" y="1429940"/>
                            <a:pt x="42863" y="1426368"/>
                          </a:cubicBezTo>
                          <a:lnTo>
                            <a:pt x="1" y="1428749"/>
                          </a:lnTo>
                          <a:cubicBezTo>
                            <a:pt x="1" y="1418430"/>
                            <a:pt x="0" y="1408112"/>
                            <a:pt x="0" y="1397793"/>
                          </a:cubicBezTo>
                          <a:lnTo>
                            <a:pt x="307182" y="1171575"/>
                          </a:lnTo>
                          <a:lnTo>
                            <a:pt x="300039" y="1143000"/>
                          </a:lnTo>
                          <a:lnTo>
                            <a:pt x="252414" y="1100137"/>
                          </a:lnTo>
                          <a:lnTo>
                            <a:pt x="257176" y="1052513"/>
                          </a:lnTo>
                          <a:lnTo>
                            <a:pt x="307182" y="1038225"/>
                          </a:lnTo>
                          <a:lnTo>
                            <a:pt x="314326" y="985837"/>
                          </a:lnTo>
                          <a:lnTo>
                            <a:pt x="390526" y="900112"/>
                          </a:lnTo>
                          <a:lnTo>
                            <a:pt x="402432" y="864393"/>
                          </a:lnTo>
                          <a:lnTo>
                            <a:pt x="404814" y="823912"/>
                          </a:lnTo>
                          <a:lnTo>
                            <a:pt x="445295" y="812006"/>
                          </a:lnTo>
                          <a:lnTo>
                            <a:pt x="471489" y="850106"/>
                          </a:lnTo>
                          <a:lnTo>
                            <a:pt x="600076" y="866775"/>
                          </a:lnTo>
                          <a:lnTo>
                            <a:pt x="638176" y="804862"/>
                          </a:lnTo>
                          <a:lnTo>
                            <a:pt x="692945" y="828675"/>
                          </a:lnTo>
                          <a:lnTo>
                            <a:pt x="709614" y="769143"/>
                          </a:lnTo>
                          <a:lnTo>
                            <a:pt x="771527" y="721519"/>
                          </a:lnTo>
                          <a:cubicBezTo>
                            <a:pt x="771527" y="701675"/>
                            <a:pt x="771526" y="681831"/>
                            <a:pt x="771526" y="661987"/>
                          </a:cubicBezTo>
                          <a:lnTo>
                            <a:pt x="831057" y="602456"/>
                          </a:lnTo>
                          <a:lnTo>
                            <a:pt x="933450" y="533399"/>
                          </a:lnTo>
                          <a:lnTo>
                            <a:pt x="950120" y="478631"/>
                          </a:lnTo>
                          <a:lnTo>
                            <a:pt x="1000126" y="397668"/>
                          </a:lnTo>
                          <a:lnTo>
                            <a:pt x="1073944" y="342900"/>
                          </a:lnTo>
                          <a:lnTo>
                            <a:pt x="1112044" y="295275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/>
                      <a:endParaRPr lang="ru-RU" sz="600" kern="0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28" name="Freeform 19"/>
                    <p:cNvSpPr/>
                    <p:nvPr/>
                  </p:nvSpPr>
                  <p:spPr>
                    <a:xfrm>
                      <a:off x="3916464" y="1280121"/>
                      <a:ext cx="1209203" cy="745865"/>
                    </a:xfrm>
                    <a:custGeom>
                      <a:avLst/>
                      <a:gdLst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54769 w 1721644"/>
                        <a:gd name="connsiteY5" fmla="*/ 857250 h 1145381"/>
                        <a:gd name="connsiteX6" fmla="*/ 142875 w 1721644"/>
                        <a:gd name="connsiteY6" fmla="*/ 852487 h 1145381"/>
                        <a:gd name="connsiteX7" fmla="*/ 173832 w 1721644"/>
                        <a:gd name="connsiteY7" fmla="*/ 878681 h 1145381"/>
                        <a:gd name="connsiteX8" fmla="*/ 207169 w 1721644"/>
                        <a:gd name="connsiteY8" fmla="*/ 938212 h 1145381"/>
                        <a:gd name="connsiteX9" fmla="*/ 307182 w 1721644"/>
                        <a:gd name="connsiteY9" fmla="*/ 933450 h 1145381"/>
                        <a:gd name="connsiteX10" fmla="*/ 347663 w 1721644"/>
                        <a:gd name="connsiteY10" fmla="*/ 1000125 h 1145381"/>
                        <a:gd name="connsiteX11" fmla="*/ 438150 w 1721644"/>
                        <a:gd name="connsiteY11" fmla="*/ 1050131 h 1145381"/>
                        <a:gd name="connsiteX12" fmla="*/ 542925 w 1721644"/>
                        <a:gd name="connsiteY12" fmla="*/ 1035844 h 1145381"/>
                        <a:gd name="connsiteX13" fmla="*/ 557213 w 1721644"/>
                        <a:gd name="connsiteY13" fmla="*/ 1050131 h 1145381"/>
                        <a:gd name="connsiteX14" fmla="*/ 597694 w 1721644"/>
                        <a:gd name="connsiteY14" fmla="*/ 1014412 h 1145381"/>
                        <a:gd name="connsiteX15" fmla="*/ 621507 w 1721644"/>
                        <a:gd name="connsiteY15" fmla="*/ 990600 h 1145381"/>
                        <a:gd name="connsiteX16" fmla="*/ 633413 w 1721644"/>
                        <a:gd name="connsiteY16" fmla="*/ 954881 h 1145381"/>
                        <a:gd name="connsiteX17" fmla="*/ 671513 w 1721644"/>
                        <a:gd name="connsiteY17" fmla="*/ 940594 h 1145381"/>
                        <a:gd name="connsiteX18" fmla="*/ 711994 w 1721644"/>
                        <a:gd name="connsiteY18" fmla="*/ 969169 h 1145381"/>
                        <a:gd name="connsiteX19" fmla="*/ 728663 w 1721644"/>
                        <a:gd name="connsiteY19" fmla="*/ 1004887 h 1145381"/>
                        <a:gd name="connsiteX20" fmla="*/ 762000 w 1721644"/>
                        <a:gd name="connsiteY20" fmla="*/ 1038225 h 1145381"/>
                        <a:gd name="connsiteX21" fmla="*/ 835819 w 1721644"/>
                        <a:gd name="connsiteY21" fmla="*/ 1035844 h 1145381"/>
                        <a:gd name="connsiteX22" fmla="*/ 871538 w 1721644"/>
                        <a:gd name="connsiteY22" fmla="*/ 1071562 h 1145381"/>
                        <a:gd name="connsiteX23" fmla="*/ 883444 w 1721644"/>
                        <a:gd name="connsiteY23" fmla="*/ 1131094 h 1145381"/>
                        <a:gd name="connsiteX24" fmla="*/ 916782 w 1721644"/>
                        <a:gd name="connsiteY24" fmla="*/ 1116806 h 1145381"/>
                        <a:gd name="connsiteX25" fmla="*/ 990600 w 1721644"/>
                        <a:gd name="connsiteY25" fmla="*/ 1131094 h 1145381"/>
                        <a:gd name="connsiteX26" fmla="*/ 1047750 w 1721644"/>
                        <a:gd name="connsiteY26" fmla="*/ 1145381 h 1145381"/>
                        <a:gd name="connsiteX27" fmla="*/ 1095375 w 1721644"/>
                        <a:gd name="connsiteY27" fmla="*/ 1128712 h 1145381"/>
                        <a:gd name="connsiteX28" fmla="*/ 1114425 w 1721644"/>
                        <a:gd name="connsiteY28" fmla="*/ 1045369 h 1145381"/>
                        <a:gd name="connsiteX29" fmla="*/ 1254919 w 1721644"/>
                        <a:gd name="connsiteY29" fmla="*/ 940594 h 1145381"/>
                        <a:gd name="connsiteX30" fmla="*/ 1295400 w 1721644"/>
                        <a:gd name="connsiteY30" fmla="*/ 931069 h 1145381"/>
                        <a:gd name="connsiteX31" fmla="*/ 1307307 w 1721644"/>
                        <a:gd name="connsiteY31" fmla="*/ 983456 h 1145381"/>
                        <a:gd name="connsiteX32" fmla="*/ 1295400 w 1721644"/>
                        <a:gd name="connsiteY32" fmla="*/ 1021556 h 1145381"/>
                        <a:gd name="connsiteX33" fmla="*/ 1376363 w 1721644"/>
                        <a:gd name="connsiteY33" fmla="*/ 1040606 h 1145381"/>
                        <a:gd name="connsiteX34" fmla="*/ 1471613 w 1721644"/>
                        <a:gd name="connsiteY34" fmla="*/ 942975 h 1145381"/>
                        <a:gd name="connsiteX35" fmla="*/ 1497807 w 1721644"/>
                        <a:gd name="connsiteY35" fmla="*/ 890587 h 1145381"/>
                        <a:gd name="connsiteX36" fmla="*/ 1566863 w 1721644"/>
                        <a:gd name="connsiteY36" fmla="*/ 854869 h 1145381"/>
                        <a:gd name="connsiteX37" fmla="*/ 1616869 w 1721644"/>
                        <a:gd name="connsiteY37" fmla="*/ 800100 h 1145381"/>
                        <a:gd name="connsiteX38" fmla="*/ 1676400 w 1721644"/>
                        <a:gd name="connsiteY38" fmla="*/ 788194 h 1145381"/>
                        <a:gd name="connsiteX39" fmla="*/ 1712119 w 1721644"/>
                        <a:gd name="connsiteY39" fmla="*/ 762000 h 1145381"/>
                        <a:gd name="connsiteX40" fmla="*/ 1714500 w 1721644"/>
                        <a:gd name="connsiteY40" fmla="*/ 740569 h 1145381"/>
                        <a:gd name="connsiteX41" fmla="*/ 1678782 w 1721644"/>
                        <a:gd name="connsiteY41" fmla="*/ 711994 h 1145381"/>
                        <a:gd name="connsiteX42" fmla="*/ 1721644 w 1721644"/>
                        <a:gd name="connsiteY42" fmla="*/ 642937 h 1145381"/>
                        <a:gd name="connsiteX43" fmla="*/ 1700213 w 1721644"/>
                        <a:gd name="connsiteY43" fmla="*/ 585787 h 1145381"/>
                        <a:gd name="connsiteX44" fmla="*/ 1714500 w 1721644"/>
                        <a:gd name="connsiteY44" fmla="*/ 523875 h 1145381"/>
                        <a:gd name="connsiteX45" fmla="*/ 1721644 w 1721644"/>
                        <a:gd name="connsiteY45" fmla="*/ 473869 h 1145381"/>
                        <a:gd name="connsiteX46" fmla="*/ 1714500 w 1721644"/>
                        <a:gd name="connsiteY46" fmla="*/ 359569 h 1145381"/>
                        <a:gd name="connsiteX47" fmla="*/ 1702594 w 1721644"/>
                        <a:gd name="connsiteY47" fmla="*/ 314325 h 1145381"/>
                        <a:gd name="connsiteX48" fmla="*/ 1671638 w 1721644"/>
                        <a:gd name="connsiteY48" fmla="*/ 276225 h 1145381"/>
                        <a:gd name="connsiteX49" fmla="*/ 1626394 w 1721644"/>
                        <a:gd name="connsiteY49" fmla="*/ 273844 h 1145381"/>
                        <a:gd name="connsiteX50" fmla="*/ 1521619 w 1721644"/>
                        <a:gd name="connsiteY50" fmla="*/ 259556 h 1145381"/>
                        <a:gd name="connsiteX51" fmla="*/ 1488282 w 1721644"/>
                        <a:gd name="connsiteY51" fmla="*/ 250031 h 1145381"/>
                        <a:gd name="connsiteX52" fmla="*/ 1473994 w 1721644"/>
                        <a:gd name="connsiteY52" fmla="*/ 183356 h 1145381"/>
                        <a:gd name="connsiteX53" fmla="*/ 1388269 w 1721644"/>
                        <a:gd name="connsiteY53" fmla="*/ 207169 h 1145381"/>
                        <a:gd name="connsiteX54" fmla="*/ 1331119 w 1721644"/>
                        <a:gd name="connsiteY54" fmla="*/ 223837 h 1145381"/>
                        <a:gd name="connsiteX55" fmla="*/ 1295400 w 1721644"/>
                        <a:gd name="connsiteY55" fmla="*/ 202406 h 1145381"/>
                        <a:gd name="connsiteX56" fmla="*/ 1214438 w 1721644"/>
                        <a:gd name="connsiteY56" fmla="*/ 111919 h 1145381"/>
                        <a:gd name="connsiteX57" fmla="*/ 1164432 w 1721644"/>
                        <a:gd name="connsiteY57" fmla="*/ 121444 h 1145381"/>
                        <a:gd name="connsiteX58" fmla="*/ 1083469 w 1721644"/>
                        <a:gd name="connsiteY58" fmla="*/ 100012 h 1145381"/>
                        <a:gd name="connsiteX59" fmla="*/ 1050132 w 1721644"/>
                        <a:gd name="connsiteY59" fmla="*/ 83344 h 1145381"/>
                        <a:gd name="connsiteX60" fmla="*/ 995363 w 1721644"/>
                        <a:gd name="connsiteY60" fmla="*/ 135731 h 1145381"/>
                        <a:gd name="connsiteX61" fmla="*/ 966788 w 1721644"/>
                        <a:gd name="connsiteY61" fmla="*/ 107156 h 1145381"/>
                        <a:gd name="connsiteX62" fmla="*/ 940594 w 1721644"/>
                        <a:gd name="connsiteY62" fmla="*/ 76200 h 1145381"/>
                        <a:gd name="connsiteX63" fmla="*/ 895350 w 1721644"/>
                        <a:gd name="connsiteY63" fmla="*/ 59531 h 1145381"/>
                        <a:gd name="connsiteX64" fmla="*/ 897732 w 1721644"/>
                        <a:gd name="connsiteY64" fmla="*/ 14287 h 1145381"/>
                        <a:gd name="connsiteX65" fmla="*/ 862013 w 1721644"/>
                        <a:gd name="connsiteY65" fmla="*/ 0 h 1145381"/>
                        <a:gd name="connsiteX66" fmla="*/ 814388 w 1721644"/>
                        <a:gd name="connsiteY66" fmla="*/ 4762 h 1145381"/>
                        <a:gd name="connsiteX67" fmla="*/ 807244 w 1721644"/>
                        <a:gd name="connsiteY67" fmla="*/ 33337 h 1145381"/>
                        <a:gd name="connsiteX68" fmla="*/ 735807 w 1721644"/>
                        <a:gd name="connsiteY68" fmla="*/ 14287 h 1145381"/>
                        <a:gd name="connsiteX69" fmla="*/ 676275 w 1721644"/>
                        <a:gd name="connsiteY69" fmla="*/ 52387 h 1145381"/>
                        <a:gd name="connsiteX70" fmla="*/ 635794 w 1721644"/>
                        <a:gd name="connsiteY70" fmla="*/ 85725 h 1145381"/>
                        <a:gd name="connsiteX71" fmla="*/ 661988 w 1721644"/>
                        <a:gd name="connsiteY71" fmla="*/ 159544 h 1145381"/>
                        <a:gd name="connsiteX72" fmla="*/ 685800 w 1721644"/>
                        <a:gd name="connsiteY72" fmla="*/ 254794 h 1145381"/>
                        <a:gd name="connsiteX73" fmla="*/ 681038 w 1721644"/>
                        <a:gd name="connsiteY73" fmla="*/ 266700 h 1145381"/>
                        <a:gd name="connsiteX74" fmla="*/ 478632 w 1721644"/>
                        <a:gd name="connsiteY74" fmla="*/ 428625 h 1145381"/>
                        <a:gd name="connsiteX75" fmla="*/ 414338 w 1721644"/>
                        <a:gd name="connsiteY75" fmla="*/ 376237 h 1145381"/>
                        <a:gd name="connsiteX76" fmla="*/ 371475 w 1721644"/>
                        <a:gd name="connsiteY76" fmla="*/ 433387 h 1145381"/>
                        <a:gd name="connsiteX77" fmla="*/ 152400 w 1721644"/>
                        <a:gd name="connsiteY77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54769 w 1721644"/>
                        <a:gd name="connsiteY5" fmla="*/ 857250 h 1145381"/>
                        <a:gd name="connsiteX6" fmla="*/ 142875 w 1721644"/>
                        <a:gd name="connsiteY6" fmla="*/ 852487 h 1145381"/>
                        <a:gd name="connsiteX7" fmla="*/ 169070 w 1721644"/>
                        <a:gd name="connsiteY7" fmla="*/ 881062 h 1145381"/>
                        <a:gd name="connsiteX8" fmla="*/ 207169 w 1721644"/>
                        <a:gd name="connsiteY8" fmla="*/ 938212 h 1145381"/>
                        <a:gd name="connsiteX9" fmla="*/ 307182 w 1721644"/>
                        <a:gd name="connsiteY9" fmla="*/ 933450 h 1145381"/>
                        <a:gd name="connsiteX10" fmla="*/ 347663 w 1721644"/>
                        <a:gd name="connsiteY10" fmla="*/ 1000125 h 1145381"/>
                        <a:gd name="connsiteX11" fmla="*/ 438150 w 1721644"/>
                        <a:gd name="connsiteY11" fmla="*/ 1050131 h 1145381"/>
                        <a:gd name="connsiteX12" fmla="*/ 542925 w 1721644"/>
                        <a:gd name="connsiteY12" fmla="*/ 1035844 h 1145381"/>
                        <a:gd name="connsiteX13" fmla="*/ 557213 w 1721644"/>
                        <a:gd name="connsiteY13" fmla="*/ 1050131 h 1145381"/>
                        <a:gd name="connsiteX14" fmla="*/ 597694 w 1721644"/>
                        <a:gd name="connsiteY14" fmla="*/ 1014412 h 1145381"/>
                        <a:gd name="connsiteX15" fmla="*/ 621507 w 1721644"/>
                        <a:gd name="connsiteY15" fmla="*/ 990600 h 1145381"/>
                        <a:gd name="connsiteX16" fmla="*/ 633413 w 1721644"/>
                        <a:gd name="connsiteY16" fmla="*/ 954881 h 1145381"/>
                        <a:gd name="connsiteX17" fmla="*/ 671513 w 1721644"/>
                        <a:gd name="connsiteY17" fmla="*/ 940594 h 1145381"/>
                        <a:gd name="connsiteX18" fmla="*/ 711994 w 1721644"/>
                        <a:gd name="connsiteY18" fmla="*/ 969169 h 1145381"/>
                        <a:gd name="connsiteX19" fmla="*/ 728663 w 1721644"/>
                        <a:gd name="connsiteY19" fmla="*/ 1004887 h 1145381"/>
                        <a:gd name="connsiteX20" fmla="*/ 762000 w 1721644"/>
                        <a:gd name="connsiteY20" fmla="*/ 1038225 h 1145381"/>
                        <a:gd name="connsiteX21" fmla="*/ 835819 w 1721644"/>
                        <a:gd name="connsiteY21" fmla="*/ 1035844 h 1145381"/>
                        <a:gd name="connsiteX22" fmla="*/ 871538 w 1721644"/>
                        <a:gd name="connsiteY22" fmla="*/ 1071562 h 1145381"/>
                        <a:gd name="connsiteX23" fmla="*/ 883444 w 1721644"/>
                        <a:gd name="connsiteY23" fmla="*/ 1131094 h 1145381"/>
                        <a:gd name="connsiteX24" fmla="*/ 916782 w 1721644"/>
                        <a:gd name="connsiteY24" fmla="*/ 1116806 h 1145381"/>
                        <a:gd name="connsiteX25" fmla="*/ 990600 w 1721644"/>
                        <a:gd name="connsiteY25" fmla="*/ 1131094 h 1145381"/>
                        <a:gd name="connsiteX26" fmla="*/ 1047750 w 1721644"/>
                        <a:gd name="connsiteY26" fmla="*/ 1145381 h 1145381"/>
                        <a:gd name="connsiteX27" fmla="*/ 1095375 w 1721644"/>
                        <a:gd name="connsiteY27" fmla="*/ 1128712 h 1145381"/>
                        <a:gd name="connsiteX28" fmla="*/ 1114425 w 1721644"/>
                        <a:gd name="connsiteY28" fmla="*/ 1045369 h 1145381"/>
                        <a:gd name="connsiteX29" fmla="*/ 1254919 w 1721644"/>
                        <a:gd name="connsiteY29" fmla="*/ 940594 h 1145381"/>
                        <a:gd name="connsiteX30" fmla="*/ 1295400 w 1721644"/>
                        <a:gd name="connsiteY30" fmla="*/ 931069 h 1145381"/>
                        <a:gd name="connsiteX31" fmla="*/ 1307307 w 1721644"/>
                        <a:gd name="connsiteY31" fmla="*/ 983456 h 1145381"/>
                        <a:gd name="connsiteX32" fmla="*/ 1295400 w 1721644"/>
                        <a:gd name="connsiteY32" fmla="*/ 1021556 h 1145381"/>
                        <a:gd name="connsiteX33" fmla="*/ 1376363 w 1721644"/>
                        <a:gd name="connsiteY33" fmla="*/ 1040606 h 1145381"/>
                        <a:gd name="connsiteX34" fmla="*/ 1471613 w 1721644"/>
                        <a:gd name="connsiteY34" fmla="*/ 942975 h 1145381"/>
                        <a:gd name="connsiteX35" fmla="*/ 1497807 w 1721644"/>
                        <a:gd name="connsiteY35" fmla="*/ 890587 h 1145381"/>
                        <a:gd name="connsiteX36" fmla="*/ 1566863 w 1721644"/>
                        <a:gd name="connsiteY36" fmla="*/ 854869 h 1145381"/>
                        <a:gd name="connsiteX37" fmla="*/ 1616869 w 1721644"/>
                        <a:gd name="connsiteY37" fmla="*/ 800100 h 1145381"/>
                        <a:gd name="connsiteX38" fmla="*/ 1676400 w 1721644"/>
                        <a:gd name="connsiteY38" fmla="*/ 788194 h 1145381"/>
                        <a:gd name="connsiteX39" fmla="*/ 1712119 w 1721644"/>
                        <a:gd name="connsiteY39" fmla="*/ 762000 h 1145381"/>
                        <a:gd name="connsiteX40" fmla="*/ 1714500 w 1721644"/>
                        <a:gd name="connsiteY40" fmla="*/ 740569 h 1145381"/>
                        <a:gd name="connsiteX41" fmla="*/ 1678782 w 1721644"/>
                        <a:gd name="connsiteY41" fmla="*/ 711994 h 1145381"/>
                        <a:gd name="connsiteX42" fmla="*/ 1721644 w 1721644"/>
                        <a:gd name="connsiteY42" fmla="*/ 642937 h 1145381"/>
                        <a:gd name="connsiteX43" fmla="*/ 1700213 w 1721644"/>
                        <a:gd name="connsiteY43" fmla="*/ 585787 h 1145381"/>
                        <a:gd name="connsiteX44" fmla="*/ 1714500 w 1721644"/>
                        <a:gd name="connsiteY44" fmla="*/ 523875 h 1145381"/>
                        <a:gd name="connsiteX45" fmla="*/ 1721644 w 1721644"/>
                        <a:gd name="connsiteY45" fmla="*/ 473869 h 1145381"/>
                        <a:gd name="connsiteX46" fmla="*/ 1714500 w 1721644"/>
                        <a:gd name="connsiteY46" fmla="*/ 359569 h 1145381"/>
                        <a:gd name="connsiteX47" fmla="*/ 1702594 w 1721644"/>
                        <a:gd name="connsiteY47" fmla="*/ 314325 h 1145381"/>
                        <a:gd name="connsiteX48" fmla="*/ 1671638 w 1721644"/>
                        <a:gd name="connsiteY48" fmla="*/ 276225 h 1145381"/>
                        <a:gd name="connsiteX49" fmla="*/ 1626394 w 1721644"/>
                        <a:gd name="connsiteY49" fmla="*/ 273844 h 1145381"/>
                        <a:gd name="connsiteX50" fmla="*/ 1521619 w 1721644"/>
                        <a:gd name="connsiteY50" fmla="*/ 259556 h 1145381"/>
                        <a:gd name="connsiteX51" fmla="*/ 1488282 w 1721644"/>
                        <a:gd name="connsiteY51" fmla="*/ 250031 h 1145381"/>
                        <a:gd name="connsiteX52" fmla="*/ 1473994 w 1721644"/>
                        <a:gd name="connsiteY52" fmla="*/ 183356 h 1145381"/>
                        <a:gd name="connsiteX53" fmla="*/ 1388269 w 1721644"/>
                        <a:gd name="connsiteY53" fmla="*/ 207169 h 1145381"/>
                        <a:gd name="connsiteX54" fmla="*/ 1331119 w 1721644"/>
                        <a:gd name="connsiteY54" fmla="*/ 223837 h 1145381"/>
                        <a:gd name="connsiteX55" fmla="*/ 1295400 w 1721644"/>
                        <a:gd name="connsiteY55" fmla="*/ 202406 h 1145381"/>
                        <a:gd name="connsiteX56" fmla="*/ 1214438 w 1721644"/>
                        <a:gd name="connsiteY56" fmla="*/ 111919 h 1145381"/>
                        <a:gd name="connsiteX57" fmla="*/ 1164432 w 1721644"/>
                        <a:gd name="connsiteY57" fmla="*/ 121444 h 1145381"/>
                        <a:gd name="connsiteX58" fmla="*/ 1083469 w 1721644"/>
                        <a:gd name="connsiteY58" fmla="*/ 100012 h 1145381"/>
                        <a:gd name="connsiteX59" fmla="*/ 1050132 w 1721644"/>
                        <a:gd name="connsiteY59" fmla="*/ 83344 h 1145381"/>
                        <a:gd name="connsiteX60" fmla="*/ 995363 w 1721644"/>
                        <a:gd name="connsiteY60" fmla="*/ 135731 h 1145381"/>
                        <a:gd name="connsiteX61" fmla="*/ 966788 w 1721644"/>
                        <a:gd name="connsiteY61" fmla="*/ 107156 h 1145381"/>
                        <a:gd name="connsiteX62" fmla="*/ 940594 w 1721644"/>
                        <a:gd name="connsiteY62" fmla="*/ 76200 h 1145381"/>
                        <a:gd name="connsiteX63" fmla="*/ 895350 w 1721644"/>
                        <a:gd name="connsiteY63" fmla="*/ 59531 h 1145381"/>
                        <a:gd name="connsiteX64" fmla="*/ 897732 w 1721644"/>
                        <a:gd name="connsiteY64" fmla="*/ 14287 h 1145381"/>
                        <a:gd name="connsiteX65" fmla="*/ 862013 w 1721644"/>
                        <a:gd name="connsiteY65" fmla="*/ 0 h 1145381"/>
                        <a:gd name="connsiteX66" fmla="*/ 814388 w 1721644"/>
                        <a:gd name="connsiteY66" fmla="*/ 4762 h 1145381"/>
                        <a:gd name="connsiteX67" fmla="*/ 807244 w 1721644"/>
                        <a:gd name="connsiteY67" fmla="*/ 33337 h 1145381"/>
                        <a:gd name="connsiteX68" fmla="*/ 735807 w 1721644"/>
                        <a:gd name="connsiteY68" fmla="*/ 14287 h 1145381"/>
                        <a:gd name="connsiteX69" fmla="*/ 676275 w 1721644"/>
                        <a:gd name="connsiteY69" fmla="*/ 52387 h 1145381"/>
                        <a:gd name="connsiteX70" fmla="*/ 635794 w 1721644"/>
                        <a:gd name="connsiteY70" fmla="*/ 85725 h 1145381"/>
                        <a:gd name="connsiteX71" fmla="*/ 661988 w 1721644"/>
                        <a:gd name="connsiteY71" fmla="*/ 159544 h 1145381"/>
                        <a:gd name="connsiteX72" fmla="*/ 685800 w 1721644"/>
                        <a:gd name="connsiteY72" fmla="*/ 254794 h 1145381"/>
                        <a:gd name="connsiteX73" fmla="*/ 681038 w 1721644"/>
                        <a:gd name="connsiteY73" fmla="*/ 266700 h 1145381"/>
                        <a:gd name="connsiteX74" fmla="*/ 478632 w 1721644"/>
                        <a:gd name="connsiteY74" fmla="*/ 428625 h 1145381"/>
                        <a:gd name="connsiteX75" fmla="*/ 414338 w 1721644"/>
                        <a:gd name="connsiteY75" fmla="*/ 376237 h 1145381"/>
                        <a:gd name="connsiteX76" fmla="*/ 371475 w 1721644"/>
                        <a:gd name="connsiteY76" fmla="*/ 433387 h 1145381"/>
                        <a:gd name="connsiteX77" fmla="*/ 152400 w 1721644"/>
                        <a:gd name="connsiteY77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54769 w 1721644"/>
                        <a:gd name="connsiteY5" fmla="*/ 857250 h 1145381"/>
                        <a:gd name="connsiteX6" fmla="*/ 133350 w 1721644"/>
                        <a:gd name="connsiteY6" fmla="*/ 857250 h 1145381"/>
                        <a:gd name="connsiteX7" fmla="*/ 169070 w 1721644"/>
                        <a:gd name="connsiteY7" fmla="*/ 881062 h 1145381"/>
                        <a:gd name="connsiteX8" fmla="*/ 207169 w 1721644"/>
                        <a:gd name="connsiteY8" fmla="*/ 938212 h 1145381"/>
                        <a:gd name="connsiteX9" fmla="*/ 307182 w 1721644"/>
                        <a:gd name="connsiteY9" fmla="*/ 933450 h 1145381"/>
                        <a:gd name="connsiteX10" fmla="*/ 347663 w 1721644"/>
                        <a:gd name="connsiteY10" fmla="*/ 1000125 h 1145381"/>
                        <a:gd name="connsiteX11" fmla="*/ 438150 w 1721644"/>
                        <a:gd name="connsiteY11" fmla="*/ 1050131 h 1145381"/>
                        <a:gd name="connsiteX12" fmla="*/ 542925 w 1721644"/>
                        <a:gd name="connsiteY12" fmla="*/ 1035844 h 1145381"/>
                        <a:gd name="connsiteX13" fmla="*/ 557213 w 1721644"/>
                        <a:gd name="connsiteY13" fmla="*/ 1050131 h 1145381"/>
                        <a:gd name="connsiteX14" fmla="*/ 597694 w 1721644"/>
                        <a:gd name="connsiteY14" fmla="*/ 1014412 h 1145381"/>
                        <a:gd name="connsiteX15" fmla="*/ 621507 w 1721644"/>
                        <a:gd name="connsiteY15" fmla="*/ 990600 h 1145381"/>
                        <a:gd name="connsiteX16" fmla="*/ 633413 w 1721644"/>
                        <a:gd name="connsiteY16" fmla="*/ 954881 h 1145381"/>
                        <a:gd name="connsiteX17" fmla="*/ 671513 w 1721644"/>
                        <a:gd name="connsiteY17" fmla="*/ 940594 h 1145381"/>
                        <a:gd name="connsiteX18" fmla="*/ 711994 w 1721644"/>
                        <a:gd name="connsiteY18" fmla="*/ 969169 h 1145381"/>
                        <a:gd name="connsiteX19" fmla="*/ 728663 w 1721644"/>
                        <a:gd name="connsiteY19" fmla="*/ 1004887 h 1145381"/>
                        <a:gd name="connsiteX20" fmla="*/ 762000 w 1721644"/>
                        <a:gd name="connsiteY20" fmla="*/ 1038225 h 1145381"/>
                        <a:gd name="connsiteX21" fmla="*/ 835819 w 1721644"/>
                        <a:gd name="connsiteY21" fmla="*/ 1035844 h 1145381"/>
                        <a:gd name="connsiteX22" fmla="*/ 871538 w 1721644"/>
                        <a:gd name="connsiteY22" fmla="*/ 1071562 h 1145381"/>
                        <a:gd name="connsiteX23" fmla="*/ 883444 w 1721644"/>
                        <a:gd name="connsiteY23" fmla="*/ 1131094 h 1145381"/>
                        <a:gd name="connsiteX24" fmla="*/ 916782 w 1721644"/>
                        <a:gd name="connsiteY24" fmla="*/ 1116806 h 1145381"/>
                        <a:gd name="connsiteX25" fmla="*/ 990600 w 1721644"/>
                        <a:gd name="connsiteY25" fmla="*/ 1131094 h 1145381"/>
                        <a:gd name="connsiteX26" fmla="*/ 1047750 w 1721644"/>
                        <a:gd name="connsiteY26" fmla="*/ 1145381 h 1145381"/>
                        <a:gd name="connsiteX27" fmla="*/ 1095375 w 1721644"/>
                        <a:gd name="connsiteY27" fmla="*/ 1128712 h 1145381"/>
                        <a:gd name="connsiteX28" fmla="*/ 1114425 w 1721644"/>
                        <a:gd name="connsiteY28" fmla="*/ 1045369 h 1145381"/>
                        <a:gd name="connsiteX29" fmla="*/ 1254919 w 1721644"/>
                        <a:gd name="connsiteY29" fmla="*/ 940594 h 1145381"/>
                        <a:gd name="connsiteX30" fmla="*/ 1295400 w 1721644"/>
                        <a:gd name="connsiteY30" fmla="*/ 931069 h 1145381"/>
                        <a:gd name="connsiteX31" fmla="*/ 1307307 w 1721644"/>
                        <a:gd name="connsiteY31" fmla="*/ 983456 h 1145381"/>
                        <a:gd name="connsiteX32" fmla="*/ 1295400 w 1721644"/>
                        <a:gd name="connsiteY32" fmla="*/ 1021556 h 1145381"/>
                        <a:gd name="connsiteX33" fmla="*/ 1376363 w 1721644"/>
                        <a:gd name="connsiteY33" fmla="*/ 1040606 h 1145381"/>
                        <a:gd name="connsiteX34" fmla="*/ 1471613 w 1721644"/>
                        <a:gd name="connsiteY34" fmla="*/ 942975 h 1145381"/>
                        <a:gd name="connsiteX35" fmla="*/ 1497807 w 1721644"/>
                        <a:gd name="connsiteY35" fmla="*/ 890587 h 1145381"/>
                        <a:gd name="connsiteX36" fmla="*/ 1566863 w 1721644"/>
                        <a:gd name="connsiteY36" fmla="*/ 854869 h 1145381"/>
                        <a:gd name="connsiteX37" fmla="*/ 1616869 w 1721644"/>
                        <a:gd name="connsiteY37" fmla="*/ 800100 h 1145381"/>
                        <a:gd name="connsiteX38" fmla="*/ 1676400 w 1721644"/>
                        <a:gd name="connsiteY38" fmla="*/ 788194 h 1145381"/>
                        <a:gd name="connsiteX39" fmla="*/ 1712119 w 1721644"/>
                        <a:gd name="connsiteY39" fmla="*/ 762000 h 1145381"/>
                        <a:gd name="connsiteX40" fmla="*/ 1714500 w 1721644"/>
                        <a:gd name="connsiteY40" fmla="*/ 740569 h 1145381"/>
                        <a:gd name="connsiteX41" fmla="*/ 1678782 w 1721644"/>
                        <a:gd name="connsiteY41" fmla="*/ 711994 h 1145381"/>
                        <a:gd name="connsiteX42" fmla="*/ 1721644 w 1721644"/>
                        <a:gd name="connsiteY42" fmla="*/ 642937 h 1145381"/>
                        <a:gd name="connsiteX43" fmla="*/ 1700213 w 1721644"/>
                        <a:gd name="connsiteY43" fmla="*/ 585787 h 1145381"/>
                        <a:gd name="connsiteX44" fmla="*/ 1714500 w 1721644"/>
                        <a:gd name="connsiteY44" fmla="*/ 523875 h 1145381"/>
                        <a:gd name="connsiteX45" fmla="*/ 1721644 w 1721644"/>
                        <a:gd name="connsiteY45" fmla="*/ 473869 h 1145381"/>
                        <a:gd name="connsiteX46" fmla="*/ 1714500 w 1721644"/>
                        <a:gd name="connsiteY46" fmla="*/ 359569 h 1145381"/>
                        <a:gd name="connsiteX47" fmla="*/ 1702594 w 1721644"/>
                        <a:gd name="connsiteY47" fmla="*/ 314325 h 1145381"/>
                        <a:gd name="connsiteX48" fmla="*/ 1671638 w 1721644"/>
                        <a:gd name="connsiteY48" fmla="*/ 276225 h 1145381"/>
                        <a:gd name="connsiteX49" fmla="*/ 1626394 w 1721644"/>
                        <a:gd name="connsiteY49" fmla="*/ 273844 h 1145381"/>
                        <a:gd name="connsiteX50" fmla="*/ 1521619 w 1721644"/>
                        <a:gd name="connsiteY50" fmla="*/ 259556 h 1145381"/>
                        <a:gd name="connsiteX51" fmla="*/ 1488282 w 1721644"/>
                        <a:gd name="connsiteY51" fmla="*/ 250031 h 1145381"/>
                        <a:gd name="connsiteX52" fmla="*/ 1473994 w 1721644"/>
                        <a:gd name="connsiteY52" fmla="*/ 183356 h 1145381"/>
                        <a:gd name="connsiteX53" fmla="*/ 1388269 w 1721644"/>
                        <a:gd name="connsiteY53" fmla="*/ 207169 h 1145381"/>
                        <a:gd name="connsiteX54" fmla="*/ 1331119 w 1721644"/>
                        <a:gd name="connsiteY54" fmla="*/ 223837 h 1145381"/>
                        <a:gd name="connsiteX55" fmla="*/ 1295400 w 1721644"/>
                        <a:gd name="connsiteY55" fmla="*/ 202406 h 1145381"/>
                        <a:gd name="connsiteX56" fmla="*/ 1214438 w 1721644"/>
                        <a:gd name="connsiteY56" fmla="*/ 111919 h 1145381"/>
                        <a:gd name="connsiteX57" fmla="*/ 1164432 w 1721644"/>
                        <a:gd name="connsiteY57" fmla="*/ 121444 h 1145381"/>
                        <a:gd name="connsiteX58" fmla="*/ 1083469 w 1721644"/>
                        <a:gd name="connsiteY58" fmla="*/ 100012 h 1145381"/>
                        <a:gd name="connsiteX59" fmla="*/ 1050132 w 1721644"/>
                        <a:gd name="connsiteY59" fmla="*/ 83344 h 1145381"/>
                        <a:gd name="connsiteX60" fmla="*/ 995363 w 1721644"/>
                        <a:gd name="connsiteY60" fmla="*/ 135731 h 1145381"/>
                        <a:gd name="connsiteX61" fmla="*/ 966788 w 1721644"/>
                        <a:gd name="connsiteY61" fmla="*/ 107156 h 1145381"/>
                        <a:gd name="connsiteX62" fmla="*/ 940594 w 1721644"/>
                        <a:gd name="connsiteY62" fmla="*/ 76200 h 1145381"/>
                        <a:gd name="connsiteX63" fmla="*/ 895350 w 1721644"/>
                        <a:gd name="connsiteY63" fmla="*/ 59531 h 1145381"/>
                        <a:gd name="connsiteX64" fmla="*/ 897732 w 1721644"/>
                        <a:gd name="connsiteY64" fmla="*/ 14287 h 1145381"/>
                        <a:gd name="connsiteX65" fmla="*/ 862013 w 1721644"/>
                        <a:gd name="connsiteY65" fmla="*/ 0 h 1145381"/>
                        <a:gd name="connsiteX66" fmla="*/ 814388 w 1721644"/>
                        <a:gd name="connsiteY66" fmla="*/ 4762 h 1145381"/>
                        <a:gd name="connsiteX67" fmla="*/ 807244 w 1721644"/>
                        <a:gd name="connsiteY67" fmla="*/ 33337 h 1145381"/>
                        <a:gd name="connsiteX68" fmla="*/ 735807 w 1721644"/>
                        <a:gd name="connsiteY68" fmla="*/ 14287 h 1145381"/>
                        <a:gd name="connsiteX69" fmla="*/ 676275 w 1721644"/>
                        <a:gd name="connsiteY69" fmla="*/ 52387 h 1145381"/>
                        <a:gd name="connsiteX70" fmla="*/ 635794 w 1721644"/>
                        <a:gd name="connsiteY70" fmla="*/ 85725 h 1145381"/>
                        <a:gd name="connsiteX71" fmla="*/ 661988 w 1721644"/>
                        <a:gd name="connsiteY71" fmla="*/ 159544 h 1145381"/>
                        <a:gd name="connsiteX72" fmla="*/ 685800 w 1721644"/>
                        <a:gd name="connsiteY72" fmla="*/ 254794 h 1145381"/>
                        <a:gd name="connsiteX73" fmla="*/ 681038 w 1721644"/>
                        <a:gd name="connsiteY73" fmla="*/ 266700 h 1145381"/>
                        <a:gd name="connsiteX74" fmla="*/ 478632 w 1721644"/>
                        <a:gd name="connsiteY74" fmla="*/ 428625 h 1145381"/>
                        <a:gd name="connsiteX75" fmla="*/ 414338 w 1721644"/>
                        <a:gd name="connsiteY75" fmla="*/ 376237 h 1145381"/>
                        <a:gd name="connsiteX76" fmla="*/ 371475 w 1721644"/>
                        <a:gd name="connsiteY76" fmla="*/ 433387 h 1145381"/>
                        <a:gd name="connsiteX77" fmla="*/ 152400 w 1721644"/>
                        <a:gd name="connsiteY77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54769 w 1721644"/>
                        <a:gd name="connsiteY5" fmla="*/ 857250 h 1145381"/>
                        <a:gd name="connsiteX6" fmla="*/ 133350 w 1721644"/>
                        <a:gd name="connsiteY6" fmla="*/ 857250 h 1145381"/>
                        <a:gd name="connsiteX7" fmla="*/ 169070 w 1721644"/>
                        <a:gd name="connsiteY7" fmla="*/ 881062 h 1145381"/>
                        <a:gd name="connsiteX8" fmla="*/ 207169 w 1721644"/>
                        <a:gd name="connsiteY8" fmla="*/ 938212 h 1145381"/>
                        <a:gd name="connsiteX9" fmla="*/ 307182 w 1721644"/>
                        <a:gd name="connsiteY9" fmla="*/ 933450 h 1145381"/>
                        <a:gd name="connsiteX10" fmla="*/ 347663 w 1721644"/>
                        <a:gd name="connsiteY10" fmla="*/ 1000125 h 1145381"/>
                        <a:gd name="connsiteX11" fmla="*/ 438150 w 1721644"/>
                        <a:gd name="connsiteY11" fmla="*/ 1050131 h 1145381"/>
                        <a:gd name="connsiteX12" fmla="*/ 542925 w 1721644"/>
                        <a:gd name="connsiteY12" fmla="*/ 1035844 h 1145381"/>
                        <a:gd name="connsiteX13" fmla="*/ 557213 w 1721644"/>
                        <a:gd name="connsiteY13" fmla="*/ 1050131 h 1145381"/>
                        <a:gd name="connsiteX14" fmla="*/ 597694 w 1721644"/>
                        <a:gd name="connsiteY14" fmla="*/ 1014412 h 1145381"/>
                        <a:gd name="connsiteX15" fmla="*/ 621507 w 1721644"/>
                        <a:gd name="connsiteY15" fmla="*/ 990600 h 1145381"/>
                        <a:gd name="connsiteX16" fmla="*/ 633413 w 1721644"/>
                        <a:gd name="connsiteY16" fmla="*/ 954881 h 1145381"/>
                        <a:gd name="connsiteX17" fmla="*/ 671513 w 1721644"/>
                        <a:gd name="connsiteY17" fmla="*/ 940594 h 1145381"/>
                        <a:gd name="connsiteX18" fmla="*/ 711994 w 1721644"/>
                        <a:gd name="connsiteY18" fmla="*/ 969169 h 1145381"/>
                        <a:gd name="connsiteX19" fmla="*/ 728663 w 1721644"/>
                        <a:gd name="connsiteY19" fmla="*/ 1004887 h 1145381"/>
                        <a:gd name="connsiteX20" fmla="*/ 762000 w 1721644"/>
                        <a:gd name="connsiteY20" fmla="*/ 1038225 h 1145381"/>
                        <a:gd name="connsiteX21" fmla="*/ 835819 w 1721644"/>
                        <a:gd name="connsiteY21" fmla="*/ 1035844 h 1145381"/>
                        <a:gd name="connsiteX22" fmla="*/ 871538 w 1721644"/>
                        <a:gd name="connsiteY22" fmla="*/ 1071562 h 1145381"/>
                        <a:gd name="connsiteX23" fmla="*/ 883444 w 1721644"/>
                        <a:gd name="connsiteY23" fmla="*/ 1131094 h 1145381"/>
                        <a:gd name="connsiteX24" fmla="*/ 916782 w 1721644"/>
                        <a:gd name="connsiteY24" fmla="*/ 1116806 h 1145381"/>
                        <a:gd name="connsiteX25" fmla="*/ 990600 w 1721644"/>
                        <a:gd name="connsiteY25" fmla="*/ 1131094 h 1145381"/>
                        <a:gd name="connsiteX26" fmla="*/ 1047750 w 1721644"/>
                        <a:gd name="connsiteY26" fmla="*/ 1145381 h 1145381"/>
                        <a:gd name="connsiteX27" fmla="*/ 1095375 w 1721644"/>
                        <a:gd name="connsiteY27" fmla="*/ 1128712 h 1145381"/>
                        <a:gd name="connsiteX28" fmla="*/ 1114425 w 1721644"/>
                        <a:gd name="connsiteY28" fmla="*/ 1045369 h 1145381"/>
                        <a:gd name="connsiteX29" fmla="*/ 1254919 w 1721644"/>
                        <a:gd name="connsiteY29" fmla="*/ 940594 h 1145381"/>
                        <a:gd name="connsiteX30" fmla="*/ 1295400 w 1721644"/>
                        <a:gd name="connsiteY30" fmla="*/ 931069 h 1145381"/>
                        <a:gd name="connsiteX31" fmla="*/ 1307307 w 1721644"/>
                        <a:gd name="connsiteY31" fmla="*/ 983456 h 1145381"/>
                        <a:gd name="connsiteX32" fmla="*/ 1295400 w 1721644"/>
                        <a:gd name="connsiteY32" fmla="*/ 1021556 h 1145381"/>
                        <a:gd name="connsiteX33" fmla="*/ 1376363 w 1721644"/>
                        <a:gd name="connsiteY33" fmla="*/ 1040606 h 1145381"/>
                        <a:gd name="connsiteX34" fmla="*/ 1471613 w 1721644"/>
                        <a:gd name="connsiteY34" fmla="*/ 942975 h 1145381"/>
                        <a:gd name="connsiteX35" fmla="*/ 1497807 w 1721644"/>
                        <a:gd name="connsiteY35" fmla="*/ 890587 h 1145381"/>
                        <a:gd name="connsiteX36" fmla="*/ 1566863 w 1721644"/>
                        <a:gd name="connsiteY36" fmla="*/ 854869 h 1145381"/>
                        <a:gd name="connsiteX37" fmla="*/ 1616869 w 1721644"/>
                        <a:gd name="connsiteY37" fmla="*/ 800100 h 1145381"/>
                        <a:gd name="connsiteX38" fmla="*/ 1676400 w 1721644"/>
                        <a:gd name="connsiteY38" fmla="*/ 788194 h 1145381"/>
                        <a:gd name="connsiteX39" fmla="*/ 1712119 w 1721644"/>
                        <a:gd name="connsiteY39" fmla="*/ 762000 h 1145381"/>
                        <a:gd name="connsiteX40" fmla="*/ 1714500 w 1721644"/>
                        <a:gd name="connsiteY40" fmla="*/ 740569 h 1145381"/>
                        <a:gd name="connsiteX41" fmla="*/ 1678782 w 1721644"/>
                        <a:gd name="connsiteY41" fmla="*/ 711994 h 1145381"/>
                        <a:gd name="connsiteX42" fmla="*/ 1721644 w 1721644"/>
                        <a:gd name="connsiteY42" fmla="*/ 642937 h 1145381"/>
                        <a:gd name="connsiteX43" fmla="*/ 1700213 w 1721644"/>
                        <a:gd name="connsiteY43" fmla="*/ 585787 h 1145381"/>
                        <a:gd name="connsiteX44" fmla="*/ 1714500 w 1721644"/>
                        <a:gd name="connsiteY44" fmla="*/ 523875 h 1145381"/>
                        <a:gd name="connsiteX45" fmla="*/ 1721644 w 1721644"/>
                        <a:gd name="connsiteY45" fmla="*/ 473869 h 1145381"/>
                        <a:gd name="connsiteX46" fmla="*/ 1714500 w 1721644"/>
                        <a:gd name="connsiteY46" fmla="*/ 359569 h 1145381"/>
                        <a:gd name="connsiteX47" fmla="*/ 1702594 w 1721644"/>
                        <a:gd name="connsiteY47" fmla="*/ 314325 h 1145381"/>
                        <a:gd name="connsiteX48" fmla="*/ 1671638 w 1721644"/>
                        <a:gd name="connsiteY48" fmla="*/ 276225 h 1145381"/>
                        <a:gd name="connsiteX49" fmla="*/ 1626394 w 1721644"/>
                        <a:gd name="connsiteY49" fmla="*/ 273844 h 1145381"/>
                        <a:gd name="connsiteX50" fmla="*/ 1521619 w 1721644"/>
                        <a:gd name="connsiteY50" fmla="*/ 259556 h 1145381"/>
                        <a:gd name="connsiteX51" fmla="*/ 1488282 w 1721644"/>
                        <a:gd name="connsiteY51" fmla="*/ 250031 h 1145381"/>
                        <a:gd name="connsiteX52" fmla="*/ 1473994 w 1721644"/>
                        <a:gd name="connsiteY52" fmla="*/ 183356 h 1145381"/>
                        <a:gd name="connsiteX53" fmla="*/ 1388269 w 1721644"/>
                        <a:gd name="connsiteY53" fmla="*/ 207169 h 1145381"/>
                        <a:gd name="connsiteX54" fmla="*/ 1331119 w 1721644"/>
                        <a:gd name="connsiteY54" fmla="*/ 223837 h 1145381"/>
                        <a:gd name="connsiteX55" fmla="*/ 1295400 w 1721644"/>
                        <a:gd name="connsiteY55" fmla="*/ 202406 h 1145381"/>
                        <a:gd name="connsiteX56" fmla="*/ 1214438 w 1721644"/>
                        <a:gd name="connsiteY56" fmla="*/ 111919 h 1145381"/>
                        <a:gd name="connsiteX57" fmla="*/ 1164432 w 1721644"/>
                        <a:gd name="connsiteY57" fmla="*/ 121444 h 1145381"/>
                        <a:gd name="connsiteX58" fmla="*/ 1083469 w 1721644"/>
                        <a:gd name="connsiteY58" fmla="*/ 100012 h 1145381"/>
                        <a:gd name="connsiteX59" fmla="*/ 1050132 w 1721644"/>
                        <a:gd name="connsiteY59" fmla="*/ 83344 h 1145381"/>
                        <a:gd name="connsiteX60" fmla="*/ 995363 w 1721644"/>
                        <a:gd name="connsiteY60" fmla="*/ 135731 h 1145381"/>
                        <a:gd name="connsiteX61" fmla="*/ 966788 w 1721644"/>
                        <a:gd name="connsiteY61" fmla="*/ 107156 h 1145381"/>
                        <a:gd name="connsiteX62" fmla="*/ 940594 w 1721644"/>
                        <a:gd name="connsiteY62" fmla="*/ 76200 h 1145381"/>
                        <a:gd name="connsiteX63" fmla="*/ 895350 w 1721644"/>
                        <a:gd name="connsiteY63" fmla="*/ 59531 h 1145381"/>
                        <a:gd name="connsiteX64" fmla="*/ 897732 w 1721644"/>
                        <a:gd name="connsiteY64" fmla="*/ 14287 h 1145381"/>
                        <a:gd name="connsiteX65" fmla="*/ 862013 w 1721644"/>
                        <a:gd name="connsiteY65" fmla="*/ 0 h 1145381"/>
                        <a:gd name="connsiteX66" fmla="*/ 814388 w 1721644"/>
                        <a:gd name="connsiteY66" fmla="*/ 4762 h 1145381"/>
                        <a:gd name="connsiteX67" fmla="*/ 800100 w 1721644"/>
                        <a:gd name="connsiteY67" fmla="*/ 23812 h 1145381"/>
                        <a:gd name="connsiteX68" fmla="*/ 735807 w 1721644"/>
                        <a:gd name="connsiteY68" fmla="*/ 14287 h 1145381"/>
                        <a:gd name="connsiteX69" fmla="*/ 676275 w 1721644"/>
                        <a:gd name="connsiteY69" fmla="*/ 52387 h 1145381"/>
                        <a:gd name="connsiteX70" fmla="*/ 635794 w 1721644"/>
                        <a:gd name="connsiteY70" fmla="*/ 85725 h 1145381"/>
                        <a:gd name="connsiteX71" fmla="*/ 661988 w 1721644"/>
                        <a:gd name="connsiteY71" fmla="*/ 159544 h 1145381"/>
                        <a:gd name="connsiteX72" fmla="*/ 685800 w 1721644"/>
                        <a:gd name="connsiteY72" fmla="*/ 254794 h 1145381"/>
                        <a:gd name="connsiteX73" fmla="*/ 681038 w 1721644"/>
                        <a:gd name="connsiteY73" fmla="*/ 266700 h 1145381"/>
                        <a:gd name="connsiteX74" fmla="*/ 478632 w 1721644"/>
                        <a:gd name="connsiteY74" fmla="*/ 428625 h 1145381"/>
                        <a:gd name="connsiteX75" fmla="*/ 414338 w 1721644"/>
                        <a:gd name="connsiteY75" fmla="*/ 376237 h 1145381"/>
                        <a:gd name="connsiteX76" fmla="*/ 371475 w 1721644"/>
                        <a:gd name="connsiteY76" fmla="*/ 433387 h 1145381"/>
                        <a:gd name="connsiteX77" fmla="*/ 152400 w 1721644"/>
                        <a:gd name="connsiteY77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52388 w 1721644"/>
                        <a:gd name="connsiteY5" fmla="*/ 757237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47663 w 1721644"/>
                        <a:gd name="connsiteY11" fmla="*/ 1000125 h 1145381"/>
                        <a:gd name="connsiteX12" fmla="*/ 438150 w 1721644"/>
                        <a:gd name="connsiteY12" fmla="*/ 1050131 h 1145381"/>
                        <a:gd name="connsiteX13" fmla="*/ 542925 w 1721644"/>
                        <a:gd name="connsiteY13" fmla="*/ 1035844 h 1145381"/>
                        <a:gd name="connsiteX14" fmla="*/ 557213 w 1721644"/>
                        <a:gd name="connsiteY14" fmla="*/ 1050131 h 1145381"/>
                        <a:gd name="connsiteX15" fmla="*/ 597694 w 1721644"/>
                        <a:gd name="connsiteY15" fmla="*/ 1014412 h 1145381"/>
                        <a:gd name="connsiteX16" fmla="*/ 621507 w 1721644"/>
                        <a:gd name="connsiteY16" fmla="*/ 990600 h 1145381"/>
                        <a:gd name="connsiteX17" fmla="*/ 633413 w 1721644"/>
                        <a:gd name="connsiteY17" fmla="*/ 954881 h 1145381"/>
                        <a:gd name="connsiteX18" fmla="*/ 671513 w 1721644"/>
                        <a:gd name="connsiteY18" fmla="*/ 940594 h 1145381"/>
                        <a:gd name="connsiteX19" fmla="*/ 711994 w 1721644"/>
                        <a:gd name="connsiteY19" fmla="*/ 969169 h 1145381"/>
                        <a:gd name="connsiteX20" fmla="*/ 728663 w 1721644"/>
                        <a:gd name="connsiteY20" fmla="*/ 1004887 h 1145381"/>
                        <a:gd name="connsiteX21" fmla="*/ 762000 w 1721644"/>
                        <a:gd name="connsiteY21" fmla="*/ 1038225 h 1145381"/>
                        <a:gd name="connsiteX22" fmla="*/ 835819 w 1721644"/>
                        <a:gd name="connsiteY22" fmla="*/ 1035844 h 1145381"/>
                        <a:gd name="connsiteX23" fmla="*/ 871538 w 1721644"/>
                        <a:gd name="connsiteY23" fmla="*/ 1071562 h 1145381"/>
                        <a:gd name="connsiteX24" fmla="*/ 883444 w 1721644"/>
                        <a:gd name="connsiteY24" fmla="*/ 1131094 h 1145381"/>
                        <a:gd name="connsiteX25" fmla="*/ 916782 w 1721644"/>
                        <a:gd name="connsiteY25" fmla="*/ 1116806 h 1145381"/>
                        <a:gd name="connsiteX26" fmla="*/ 990600 w 1721644"/>
                        <a:gd name="connsiteY26" fmla="*/ 1131094 h 1145381"/>
                        <a:gd name="connsiteX27" fmla="*/ 1047750 w 1721644"/>
                        <a:gd name="connsiteY27" fmla="*/ 1145381 h 1145381"/>
                        <a:gd name="connsiteX28" fmla="*/ 1095375 w 1721644"/>
                        <a:gd name="connsiteY28" fmla="*/ 1128712 h 1145381"/>
                        <a:gd name="connsiteX29" fmla="*/ 1114425 w 1721644"/>
                        <a:gd name="connsiteY29" fmla="*/ 1045369 h 1145381"/>
                        <a:gd name="connsiteX30" fmla="*/ 1254919 w 1721644"/>
                        <a:gd name="connsiteY30" fmla="*/ 940594 h 1145381"/>
                        <a:gd name="connsiteX31" fmla="*/ 1295400 w 1721644"/>
                        <a:gd name="connsiteY31" fmla="*/ 931069 h 1145381"/>
                        <a:gd name="connsiteX32" fmla="*/ 1307307 w 1721644"/>
                        <a:gd name="connsiteY32" fmla="*/ 983456 h 1145381"/>
                        <a:gd name="connsiteX33" fmla="*/ 1295400 w 1721644"/>
                        <a:gd name="connsiteY33" fmla="*/ 1021556 h 1145381"/>
                        <a:gd name="connsiteX34" fmla="*/ 1376363 w 1721644"/>
                        <a:gd name="connsiteY34" fmla="*/ 1040606 h 1145381"/>
                        <a:gd name="connsiteX35" fmla="*/ 1471613 w 1721644"/>
                        <a:gd name="connsiteY35" fmla="*/ 942975 h 1145381"/>
                        <a:gd name="connsiteX36" fmla="*/ 1497807 w 1721644"/>
                        <a:gd name="connsiteY36" fmla="*/ 890587 h 1145381"/>
                        <a:gd name="connsiteX37" fmla="*/ 1566863 w 1721644"/>
                        <a:gd name="connsiteY37" fmla="*/ 854869 h 1145381"/>
                        <a:gd name="connsiteX38" fmla="*/ 1616869 w 1721644"/>
                        <a:gd name="connsiteY38" fmla="*/ 800100 h 1145381"/>
                        <a:gd name="connsiteX39" fmla="*/ 1676400 w 1721644"/>
                        <a:gd name="connsiteY39" fmla="*/ 788194 h 1145381"/>
                        <a:gd name="connsiteX40" fmla="*/ 1712119 w 1721644"/>
                        <a:gd name="connsiteY40" fmla="*/ 762000 h 1145381"/>
                        <a:gd name="connsiteX41" fmla="*/ 1714500 w 1721644"/>
                        <a:gd name="connsiteY41" fmla="*/ 740569 h 1145381"/>
                        <a:gd name="connsiteX42" fmla="*/ 1678782 w 1721644"/>
                        <a:gd name="connsiteY42" fmla="*/ 711994 h 1145381"/>
                        <a:gd name="connsiteX43" fmla="*/ 1721644 w 1721644"/>
                        <a:gd name="connsiteY43" fmla="*/ 642937 h 1145381"/>
                        <a:gd name="connsiteX44" fmla="*/ 1700213 w 1721644"/>
                        <a:gd name="connsiteY44" fmla="*/ 585787 h 1145381"/>
                        <a:gd name="connsiteX45" fmla="*/ 1714500 w 1721644"/>
                        <a:gd name="connsiteY45" fmla="*/ 523875 h 1145381"/>
                        <a:gd name="connsiteX46" fmla="*/ 1721644 w 1721644"/>
                        <a:gd name="connsiteY46" fmla="*/ 473869 h 1145381"/>
                        <a:gd name="connsiteX47" fmla="*/ 1714500 w 1721644"/>
                        <a:gd name="connsiteY47" fmla="*/ 359569 h 1145381"/>
                        <a:gd name="connsiteX48" fmla="*/ 1702594 w 1721644"/>
                        <a:gd name="connsiteY48" fmla="*/ 314325 h 1145381"/>
                        <a:gd name="connsiteX49" fmla="*/ 1671638 w 1721644"/>
                        <a:gd name="connsiteY49" fmla="*/ 276225 h 1145381"/>
                        <a:gd name="connsiteX50" fmla="*/ 1626394 w 1721644"/>
                        <a:gd name="connsiteY50" fmla="*/ 273844 h 1145381"/>
                        <a:gd name="connsiteX51" fmla="*/ 1521619 w 1721644"/>
                        <a:gd name="connsiteY51" fmla="*/ 259556 h 1145381"/>
                        <a:gd name="connsiteX52" fmla="*/ 1488282 w 1721644"/>
                        <a:gd name="connsiteY52" fmla="*/ 250031 h 1145381"/>
                        <a:gd name="connsiteX53" fmla="*/ 1473994 w 1721644"/>
                        <a:gd name="connsiteY53" fmla="*/ 183356 h 1145381"/>
                        <a:gd name="connsiteX54" fmla="*/ 1388269 w 1721644"/>
                        <a:gd name="connsiteY54" fmla="*/ 207169 h 1145381"/>
                        <a:gd name="connsiteX55" fmla="*/ 1331119 w 1721644"/>
                        <a:gd name="connsiteY55" fmla="*/ 223837 h 1145381"/>
                        <a:gd name="connsiteX56" fmla="*/ 1295400 w 1721644"/>
                        <a:gd name="connsiteY56" fmla="*/ 202406 h 1145381"/>
                        <a:gd name="connsiteX57" fmla="*/ 1214438 w 1721644"/>
                        <a:gd name="connsiteY57" fmla="*/ 111919 h 1145381"/>
                        <a:gd name="connsiteX58" fmla="*/ 1164432 w 1721644"/>
                        <a:gd name="connsiteY58" fmla="*/ 121444 h 1145381"/>
                        <a:gd name="connsiteX59" fmla="*/ 1083469 w 1721644"/>
                        <a:gd name="connsiteY59" fmla="*/ 100012 h 1145381"/>
                        <a:gd name="connsiteX60" fmla="*/ 1050132 w 1721644"/>
                        <a:gd name="connsiteY60" fmla="*/ 83344 h 1145381"/>
                        <a:gd name="connsiteX61" fmla="*/ 995363 w 1721644"/>
                        <a:gd name="connsiteY61" fmla="*/ 135731 h 1145381"/>
                        <a:gd name="connsiteX62" fmla="*/ 966788 w 1721644"/>
                        <a:gd name="connsiteY62" fmla="*/ 107156 h 1145381"/>
                        <a:gd name="connsiteX63" fmla="*/ 940594 w 1721644"/>
                        <a:gd name="connsiteY63" fmla="*/ 76200 h 1145381"/>
                        <a:gd name="connsiteX64" fmla="*/ 895350 w 1721644"/>
                        <a:gd name="connsiteY64" fmla="*/ 59531 h 1145381"/>
                        <a:gd name="connsiteX65" fmla="*/ 897732 w 1721644"/>
                        <a:gd name="connsiteY65" fmla="*/ 14287 h 1145381"/>
                        <a:gd name="connsiteX66" fmla="*/ 862013 w 1721644"/>
                        <a:gd name="connsiteY66" fmla="*/ 0 h 1145381"/>
                        <a:gd name="connsiteX67" fmla="*/ 814388 w 1721644"/>
                        <a:gd name="connsiteY67" fmla="*/ 4762 h 1145381"/>
                        <a:gd name="connsiteX68" fmla="*/ 800100 w 1721644"/>
                        <a:gd name="connsiteY68" fmla="*/ 23812 h 1145381"/>
                        <a:gd name="connsiteX69" fmla="*/ 735807 w 1721644"/>
                        <a:gd name="connsiteY69" fmla="*/ 14287 h 1145381"/>
                        <a:gd name="connsiteX70" fmla="*/ 676275 w 1721644"/>
                        <a:gd name="connsiteY70" fmla="*/ 52387 h 1145381"/>
                        <a:gd name="connsiteX71" fmla="*/ 635794 w 1721644"/>
                        <a:gd name="connsiteY71" fmla="*/ 85725 h 1145381"/>
                        <a:gd name="connsiteX72" fmla="*/ 661988 w 1721644"/>
                        <a:gd name="connsiteY72" fmla="*/ 159544 h 1145381"/>
                        <a:gd name="connsiteX73" fmla="*/ 685800 w 1721644"/>
                        <a:gd name="connsiteY73" fmla="*/ 254794 h 1145381"/>
                        <a:gd name="connsiteX74" fmla="*/ 681038 w 1721644"/>
                        <a:gd name="connsiteY74" fmla="*/ 266700 h 1145381"/>
                        <a:gd name="connsiteX75" fmla="*/ 478632 w 1721644"/>
                        <a:gd name="connsiteY75" fmla="*/ 428625 h 1145381"/>
                        <a:gd name="connsiteX76" fmla="*/ 414338 w 1721644"/>
                        <a:gd name="connsiteY76" fmla="*/ 376237 h 1145381"/>
                        <a:gd name="connsiteX77" fmla="*/ 371475 w 1721644"/>
                        <a:gd name="connsiteY77" fmla="*/ 433387 h 1145381"/>
                        <a:gd name="connsiteX78" fmla="*/ 152400 w 1721644"/>
                        <a:gd name="connsiteY78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47663 w 1721644"/>
                        <a:gd name="connsiteY11" fmla="*/ 1000125 h 1145381"/>
                        <a:gd name="connsiteX12" fmla="*/ 438150 w 1721644"/>
                        <a:gd name="connsiteY12" fmla="*/ 1050131 h 1145381"/>
                        <a:gd name="connsiteX13" fmla="*/ 542925 w 1721644"/>
                        <a:gd name="connsiteY13" fmla="*/ 1035844 h 1145381"/>
                        <a:gd name="connsiteX14" fmla="*/ 557213 w 1721644"/>
                        <a:gd name="connsiteY14" fmla="*/ 1050131 h 1145381"/>
                        <a:gd name="connsiteX15" fmla="*/ 597694 w 1721644"/>
                        <a:gd name="connsiteY15" fmla="*/ 1014412 h 1145381"/>
                        <a:gd name="connsiteX16" fmla="*/ 621507 w 1721644"/>
                        <a:gd name="connsiteY16" fmla="*/ 990600 h 1145381"/>
                        <a:gd name="connsiteX17" fmla="*/ 633413 w 1721644"/>
                        <a:gd name="connsiteY17" fmla="*/ 954881 h 1145381"/>
                        <a:gd name="connsiteX18" fmla="*/ 671513 w 1721644"/>
                        <a:gd name="connsiteY18" fmla="*/ 940594 h 1145381"/>
                        <a:gd name="connsiteX19" fmla="*/ 711994 w 1721644"/>
                        <a:gd name="connsiteY19" fmla="*/ 969169 h 1145381"/>
                        <a:gd name="connsiteX20" fmla="*/ 728663 w 1721644"/>
                        <a:gd name="connsiteY20" fmla="*/ 1004887 h 1145381"/>
                        <a:gd name="connsiteX21" fmla="*/ 762000 w 1721644"/>
                        <a:gd name="connsiteY21" fmla="*/ 1038225 h 1145381"/>
                        <a:gd name="connsiteX22" fmla="*/ 835819 w 1721644"/>
                        <a:gd name="connsiteY22" fmla="*/ 1035844 h 1145381"/>
                        <a:gd name="connsiteX23" fmla="*/ 871538 w 1721644"/>
                        <a:gd name="connsiteY23" fmla="*/ 1071562 h 1145381"/>
                        <a:gd name="connsiteX24" fmla="*/ 883444 w 1721644"/>
                        <a:gd name="connsiteY24" fmla="*/ 1131094 h 1145381"/>
                        <a:gd name="connsiteX25" fmla="*/ 916782 w 1721644"/>
                        <a:gd name="connsiteY25" fmla="*/ 1116806 h 1145381"/>
                        <a:gd name="connsiteX26" fmla="*/ 990600 w 1721644"/>
                        <a:gd name="connsiteY26" fmla="*/ 1131094 h 1145381"/>
                        <a:gd name="connsiteX27" fmla="*/ 1047750 w 1721644"/>
                        <a:gd name="connsiteY27" fmla="*/ 1145381 h 1145381"/>
                        <a:gd name="connsiteX28" fmla="*/ 1095375 w 1721644"/>
                        <a:gd name="connsiteY28" fmla="*/ 1128712 h 1145381"/>
                        <a:gd name="connsiteX29" fmla="*/ 1114425 w 1721644"/>
                        <a:gd name="connsiteY29" fmla="*/ 1045369 h 1145381"/>
                        <a:gd name="connsiteX30" fmla="*/ 1254919 w 1721644"/>
                        <a:gd name="connsiteY30" fmla="*/ 940594 h 1145381"/>
                        <a:gd name="connsiteX31" fmla="*/ 1295400 w 1721644"/>
                        <a:gd name="connsiteY31" fmla="*/ 931069 h 1145381"/>
                        <a:gd name="connsiteX32" fmla="*/ 1307307 w 1721644"/>
                        <a:gd name="connsiteY32" fmla="*/ 983456 h 1145381"/>
                        <a:gd name="connsiteX33" fmla="*/ 1295400 w 1721644"/>
                        <a:gd name="connsiteY33" fmla="*/ 1021556 h 1145381"/>
                        <a:gd name="connsiteX34" fmla="*/ 1376363 w 1721644"/>
                        <a:gd name="connsiteY34" fmla="*/ 1040606 h 1145381"/>
                        <a:gd name="connsiteX35" fmla="*/ 1471613 w 1721644"/>
                        <a:gd name="connsiteY35" fmla="*/ 942975 h 1145381"/>
                        <a:gd name="connsiteX36" fmla="*/ 1497807 w 1721644"/>
                        <a:gd name="connsiteY36" fmla="*/ 890587 h 1145381"/>
                        <a:gd name="connsiteX37" fmla="*/ 1566863 w 1721644"/>
                        <a:gd name="connsiteY37" fmla="*/ 854869 h 1145381"/>
                        <a:gd name="connsiteX38" fmla="*/ 1616869 w 1721644"/>
                        <a:gd name="connsiteY38" fmla="*/ 800100 h 1145381"/>
                        <a:gd name="connsiteX39" fmla="*/ 1676400 w 1721644"/>
                        <a:gd name="connsiteY39" fmla="*/ 788194 h 1145381"/>
                        <a:gd name="connsiteX40" fmla="*/ 1712119 w 1721644"/>
                        <a:gd name="connsiteY40" fmla="*/ 762000 h 1145381"/>
                        <a:gd name="connsiteX41" fmla="*/ 1714500 w 1721644"/>
                        <a:gd name="connsiteY41" fmla="*/ 740569 h 1145381"/>
                        <a:gd name="connsiteX42" fmla="*/ 1678782 w 1721644"/>
                        <a:gd name="connsiteY42" fmla="*/ 711994 h 1145381"/>
                        <a:gd name="connsiteX43" fmla="*/ 1721644 w 1721644"/>
                        <a:gd name="connsiteY43" fmla="*/ 642937 h 1145381"/>
                        <a:gd name="connsiteX44" fmla="*/ 1700213 w 1721644"/>
                        <a:gd name="connsiteY44" fmla="*/ 585787 h 1145381"/>
                        <a:gd name="connsiteX45" fmla="*/ 1714500 w 1721644"/>
                        <a:gd name="connsiteY45" fmla="*/ 523875 h 1145381"/>
                        <a:gd name="connsiteX46" fmla="*/ 1721644 w 1721644"/>
                        <a:gd name="connsiteY46" fmla="*/ 473869 h 1145381"/>
                        <a:gd name="connsiteX47" fmla="*/ 1714500 w 1721644"/>
                        <a:gd name="connsiteY47" fmla="*/ 359569 h 1145381"/>
                        <a:gd name="connsiteX48" fmla="*/ 1702594 w 1721644"/>
                        <a:gd name="connsiteY48" fmla="*/ 314325 h 1145381"/>
                        <a:gd name="connsiteX49" fmla="*/ 1671638 w 1721644"/>
                        <a:gd name="connsiteY49" fmla="*/ 276225 h 1145381"/>
                        <a:gd name="connsiteX50" fmla="*/ 1626394 w 1721644"/>
                        <a:gd name="connsiteY50" fmla="*/ 273844 h 1145381"/>
                        <a:gd name="connsiteX51" fmla="*/ 1521619 w 1721644"/>
                        <a:gd name="connsiteY51" fmla="*/ 259556 h 1145381"/>
                        <a:gd name="connsiteX52" fmla="*/ 1488282 w 1721644"/>
                        <a:gd name="connsiteY52" fmla="*/ 250031 h 1145381"/>
                        <a:gd name="connsiteX53" fmla="*/ 1473994 w 1721644"/>
                        <a:gd name="connsiteY53" fmla="*/ 183356 h 1145381"/>
                        <a:gd name="connsiteX54" fmla="*/ 1388269 w 1721644"/>
                        <a:gd name="connsiteY54" fmla="*/ 207169 h 1145381"/>
                        <a:gd name="connsiteX55" fmla="*/ 1331119 w 1721644"/>
                        <a:gd name="connsiteY55" fmla="*/ 223837 h 1145381"/>
                        <a:gd name="connsiteX56" fmla="*/ 1295400 w 1721644"/>
                        <a:gd name="connsiteY56" fmla="*/ 202406 h 1145381"/>
                        <a:gd name="connsiteX57" fmla="*/ 1214438 w 1721644"/>
                        <a:gd name="connsiteY57" fmla="*/ 111919 h 1145381"/>
                        <a:gd name="connsiteX58" fmla="*/ 1164432 w 1721644"/>
                        <a:gd name="connsiteY58" fmla="*/ 121444 h 1145381"/>
                        <a:gd name="connsiteX59" fmla="*/ 1083469 w 1721644"/>
                        <a:gd name="connsiteY59" fmla="*/ 100012 h 1145381"/>
                        <a:gd name="connsiteX60" fmla="*/ 1050132 w 1721644"/>
                        <a:gd name="connsiteY60" fmla="*/ 83344 h 1145381"/>
                        <a:gd name="connsiteX61" fmla="*/ 995363 w 1721644"/>
                        <a:gd name="connsiteY61" fmla="*/ 135731 h 1145381"/>
                        <a:gd name="connsiteX62" fmla="*/ 966788 w 1721644"/>
                        <a:gd name="connsiteY62" fmla="*/ 107156 h 1145381"/>
                        <a:gd name="connsiteX63" fmla="*/ 940594 w 1721644"/>
                        <a:gd name="connsiteY63" fmla="*/ 76200 h 1145381"/>
                        <a:gd name="connsiteX64" fmla="*/ 895350 w 1721644"/>
                        <a:gd name="connsiteY64" fmla="*/ 59531 h 1145381"/>
                        <a:gd name="connsiteX65" fmla="*/ 897732 w 1721644"/>
                        <a:gd name="connsiteY65" fmla="*/ 14287 h 1145381"/>
                        <a:gd name="connsiteX66" fmla="*/ 862013 w 1721644"/>
                        <a:gd name="connsiteY66" fmla="*/ 0 h 1145381"/>
                        <a:gd name="connsiteX67" fmla="*/ 814388 w 1721644"/>
                        <a:gd name="connsiteY67" fmla="*/ 4762 h 1145381"/>
                        <a:gd name="connsiteX68" fmla="*/ 800100 w 1721644"/>
                        <a:gd name="connsiteY68" fmla="*/ 23812 h 1145381"/>
                        <a:gd name="connsiteX69" fmla="*/ 735807 w 1721644"/>
                        <a:gd name="connsiteY69" fmla="*/ 14287 h 1145381"/>
                        <a:gd name="connsiteX70" fmla="*/ 676275 w 1721644"/>
                        <a:gd name="connsiteY70" fmla="*/ 52387 h 1145381"/>
                        <a:gd name="connsiteX71" fmla="*/ 635794 w 1721644"/>
                        <a:gd name="connsiteY71" fmla="*/ 85725 h 1145381"/>
                        <a:gd name="connsiteX72" fmla="*/ 661988 w 1721644"/>
                        <a:gd name="connsiteY72" fmla="*/ 159544 h 1145381"/>
                        <a:gd name="connsiteX73" fmla="*/ 685800 w 1721644"/>
                        <a:gd name="connsiteY73" fmla="*/ 254794 h 1145381"/>
                        <a:gd name="connsiteX74" fmla="*/ 681038 w 1721644"/>
                        <a:gd name="connsiteY74" fmla="*/ 266700 h 1145381"/>
                        <a:gd name="connsiteX75" fmla="*/ 478632 w 1721644"/>
                        <a:gd name="connsiteY75" fmla="*/ 428625 h 1145381"/>
                        <a:gd name="connsiteX76" fmla="*/ 414338 w 1721644"/>
                        <a:gd name="connsiteY76" fmla="*/ 376237 h 1145381"/>
                        <a:gd name="connsiteX77" fmla="*/ 371475 w 1721644"/>
                        <a:gd name="connsiteY77" fmla="*/ 433387 h 1145381"/>
                        <a:gd name="connsiteX78" fmla="*/ 152400 w 1721644"/>
                        <a:gd name="connsiteY78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47663 w 1721644"/>
                        <a:gd name="connsiteY11" fmla="*/ 1000125 h 1145381"/>
                        <a:gd name="connsiteX12" fmla="*/ 438150 w 1721644"/>
                        <a:gd name="connsiteY12" fmla="*/ 1050131 h 1145381"/>
                        <a:gd name="connsiteX13" fmla="*/ 542925 w 1721644"/>
                        <a:gd name="connsiteY13" fmla="*/ 1035844 h 1145381"/>
                        <a:gd name="connsiteX14" fmla="*/ 557213 w 1721644"/>
                        <a:gd name="connsiteY14" fmla="*/ 1050131 h 1145381"/>
                        <a:gd name="connsiteX15" fmla="*/ 597694 w 1721644"/>
                        <a:gd name="connsiteY15" fmla="*/ 1014412 h 1145381"/>
                        <a:gd name="connsiteX16" fmla="*/ 621507 w 1721644"/>
                        <a:gd name="connsiteY16" fmla="*/ 990600 h 1145381"/>
                        <a:gd name="connsiteX17" fmla="*/ 633413 w 1721644"/>
                        <a:gd name="connsiteY17" fmla="*/ 954881 h 1145381"/>
                        <a:gd name="connsiteX18" fmla="*/ 671513 w 1721644"/>
                        <a:gd name="connsiteY18" fmla="*/ 940594 h 1145381"/>
                        <a:gd name="connsiteX19" fmla="*/ 711994 w 1721644"/>
                        <a:gd name="connsiteY19" fmla="*/ 969169 h 1145381"/>
                        <a:gd name="connsiteX20" fmla="*/ 728663 w 1721644"/>
                        <a:gd name="connsiteY20" fmla="*/ 1004887 h 1145381"/>
                        <a:gd name="connsiteX21" fmla="*/ 762000 w 1721644"/>
                        <a:gd name="connsiteY21" fmla="*/ 1038225 h 1145381"/>
                        <a:gd name="connsiteX22" fmla="*/ 835819 w 1721644"/>
                        <a:gd name="connsiteY22" fmla="*/ 1035844 h 1145381"/>
                        <a:gd name="connsiteX23" fmla="*/ 871538 w 1721644"/>
                        <a:gd name="connsiteY23" fmla="*/ 1071562 h 1145381"/>
                        <a:gd name="connsiteX24" fmla="*/ 883444 w 1721644"/>
                        <a:gd name="connsiteY24" fmla="*/ 1131094 h 1145381"/>
                        <a:gd name="connsiteX25" fmla="*/ 916782 w 1721644"/>
                        <a:gd name="connsiteY25" fmla="*/ 1116806 h 1145381"/>
                        <a:gd name="connsiteX26" fmla="*/ 990600 w 1721644"/>
                        <a:gd name="connsiteY26" fmla="*/ 1131094 h 1145381"/>
                        <a:gd name="connsiteX27" fmla="*/ 1047750 w 1721644"/>
                        <a:gd name="connsiteY27" fmla="*/ 1145381 h 1145381"/>
                        <a:gd name="connsiteX28" fmla="*/ 1095375 w 1721644"/>
                        <a:gd name="connsiteY28" fmla="*/ 1128712 h 1145381"/>
                        <a:gd name="connsiteX29" fmla="*/ 1114425 w 1721644"/>
                        <a:gd name="connsiteY29" fmla="*/ 1045369 h 1145381"/>
                        <a:gd name="connsiteX30" fmla="*/ 1254919 w 1721644"/>
                        <a:gd name="connsiteY30" fmla="*/ 940594 h 1145381"/>
                        <a:gd name="connsiteX31" fmla="*/ 1295400 w 1721644"/>
                        <a:gd name="connsiteY31" fmla="*/ 931069 h 1145381"/>
                        <a:gd name="connsiteX32" fmla="*/ 1307307 w 1721644"/>
                        <a:gd name="connsiteY32" fmla="*/ 983456 h 1145381"/>
                        <a:gd name="connsiteX33" fmla="*/ 1295400 w 1721644"/>
                        <a:gd name="connsiteY33" fmla="*/ 1021556 h 1145381"/>
                        <a:gd name="connsiteX34" fmla="*/ 1376363 w 1721644"/>
                        <a:gd name="connsiteY34" fmla="*/ 1040606 h 1145381"/>
                        <a:gd name="connsiteX35" fmla="*/ 1471613 w 1721644"/>
                        <a:gd name="connsiteY35" fmla="*/ 942975 h 1145381"/>
                        <a:gd name="connsiteX36" fmla="*/ 1497807 w 1721644"/>
                        <a:gd name="connsiteY36" fmla="*/ 890587 h 1145381"/>
                        <a:gd name="connsiteX37" fmla="*/ 1566863 w 1721644"/>
                        <a:gd name="connsiteY37" fmla="*/ 854869 h 1145381"/>
                        <a:gd name="connsiteX38" fmla="*/ 1616869 w 1721644"/>
                        <a:gd name="connsiteY38" fmla="*/ 800100 h 1145381"/>
                        <a:gd name="connsiteX39" fmla="*/ 1676400 w 1721644"/>
                        <a:gd name="connsiteY39" fmla="*/ 788194 h 1145381"/>
                        <a:gd name="connsiteX40" fmla="*/ 1712119 w 1721644"/>
                        <a:gd name="connsiteY40" fmla="*/ 762000 h 1145381"/>
                        <a:gd name="connsiteX41" fmla="*/ 1714500 w 1721644"/>
                        <a:gd name="connsiteY41" fmla="*/ 740569 h 1145381"/>
                        <a:gd name="connsiteX42" fmla="*/ 1678782 w 1721644"/>
                        <a:gd name="connsiteY42" fmla="*/ 711994 h 1145381"/>
                        <a:gd name="connsiteX43" fmla="*/ 1721644 w 1721644"/>
                        <a:gd name="connsiteY43" fmla="*/ 642937 h 1145381"/>
                        <a:gd name="connsiteX44" fmla="*/ 1700213 w 1721644"/>
                        <a:gd name="connsiteY44" fmla="*/ 585787 h 1145381"/>
                        <a:gd name="connsiteX45" fmla="*/ 1714500 w 1721644"/>
                        <a:gd name="connsiteY45" fmla="*/ 523875 h 1145381"/>
                        <a:gd name="connsiteX46" fmla="*/ 1721644 w 1721644"/>
                        <a:gd name="connsiteY46" fmla="*/ 473869 h 1145381"/>
                        <a:gd name="connsiteX47" fmla="*/ 1714500 w 1721644"/>
                        <a:gd name="connsiteY47" fmla="*/ 359569 h 1145381"/>
                        <a:gd name="connsiteX48" fmla="*/ 1702594 w 1721644"/>
                        <a:gd name="connsiteY48" fmla="*/ 314325 h 1145381"/>
                        <a:gd name="connsiteX49" fmla="*/ 1671638 w 1721644"/>
                        <a:gd name="connsiteY49" fmla="*/ 276225 h 1145381"/>
                        <a:gd name="connsiteX50" fmla="*/ 1626394 w 1721644"/>
                        <a:gd name="connsiteY50" fmla="*/ 273844 h 1145381"/>
                        <a:gd name="connsiteX51" fmla="*/ 1521619 w 1721644"/>
                        <a:gd name="connsiteY51" fmla="*/ 259556 h 1145381"/>
                        <a:gd name="connsiteX52" fmla="*/ 1488282 w 1721644"/>
                        <a:gd name="connsiteY52" fmla="*/ 250031 h 1145381"/>
                        <a:gd name="connsiteX53" fmla="*/ 1473994 w 1721644"/>
                        <a:gd name="connsiteY53" fmla="*/ 183356 h 1145381"/>
                        <a:gd name="connsiteX54" fmla="*/ 1388269 w 1721644"/>
                        <a:gd name="connsiteY54" fmla="*/ 207169 h 1145381"/>
                        <a:gd name="connsiteX55" fmla="*/ 1331119 w 1721644"/>
                        <a:gd name="connsiteY55" fmla="*/ 223837 h 1145381"/>
                        <a:gd name="connsiteX56" fmla="*/ 1295400 w 1721644"/>
                        <a:gd name="connsiteY56" fmla="*/ 202406 h 1145381"/>
                        <a:gd name="connsiteX57" fmla="*/ 1214438 w 1721644"/>
                        <a:gd name="connsiteY57" fmla="*/ 111919 h 1145381"/>
                        <a:gd name="connsiteX58" fmla="*/ 1164432 w 1721644"/>
                        <a:gd name="connsiteY58" fmla="*/ 121444 h 1145381"/>
                        <a:gd name="connsiteX59" fmla="*/ 1083469 w 1721644"/>
                        <a:gd name="connsiteY59" fmla="*/ 100012 h 1145381"/>
                        <a:gd name="connsiteX60" fmla="*/ 1050132 w 1721644"/>
                        <a:gd name="connsiteY60" fmla="*/ 83344 h 1145381"/>
                        <a:gd name="connsiteX61" fmla="*/ 995363 w 1721644"/>
                        <a:gd name="connsiteY61" fmla="*/ 135731 h 1145381"/>
                        <a:gd name="connsiteX62" fmla="*/ 966788 w 1721644"/>
                        <a:gd name="connsiteY62" fmla="*/ 107156 h 1145381"/>
                        <a:gd name="connsiteX63" fmla="*/ 940594 w 1721644"/>
                        <a:gd name="connsiteY63" fmla="*/ 76200 h 1145381"/>
                        <a:gd name="connsiteX64" fmla="*/ 895350 w 1721644"/>
                        <a:gd name="connsiteY64" fmla="*/ 59531 h 1145381"/>
                        <a:gd name="connsiteX65" fmla="*/ 897732 w 1721644"/>
                        <a:gd name="connsiteY65" fmla="*/ 14287 h 1145381"/>
                        <a:gd name="connsiteX66" fmla="*/ 862013 w 1721644"/>
                        <a:gd name="connsiteY66" fmla="*/ 0 h 1145381"/>
                        <a:gd name="connsiteX67" fmla="*/ 814388 w 1721644"/>
                        <a:gd name="connsiteY67" fmla="*/ 4762 h 1145381"/>
                        <a:gd name="connsiteX68" fmla="*/ 800100 w 1721644"/>
                        <a:gd name="connsiteY68" fmla="*/ 23812 h 1145381"/>
                        <a:gd name="connsiteX69" fmla="*/ 735807 w 1721644"/>
                        <a:gd name="connsiteY69" fmla="*/ 14287 h 1145381"/>
                        <a:gd name="connsiteX70" fmla="*/ 676275 w 1721644"/>
                        <a:gd name="connsiteY70" fmla="*/ 52387 h 1145381"/>
                        <a:gd name="connsiteX71" fmla="*/ 635794 w 1721644"/>
                        <a:gd name="connsiteY71" fmla="*/ 85725 h 1145381"/>
                        <a:gd name="connsiteX72" fmla="*/ 661988 w 1721644"/>
                        <a:gd name="connsiteY72" fmla="*/ 159544 h 1145381"/>
                        <a:gd name="connsiteX73" fmla="*/ 685800 w 1721644"/>
                        <a:gd name="connsiteY73" fmla="*/ 254794 h 1145381"/>
                        <a:gd name="connsiteX74" fmla="*/ 681038 w 1721644"/>
                        <a:gd name="connsiteY74" fmla="*/ 266700 h 1145381"/>
                        <a:gd name="connsiteX75" fmla="*/ 478632 w 1721644"/>
                        <a:gd name="connsiteY75" fmla="*/ 428625 h 1145381"/>
                        <a:gd name="connsiteX76" fmla="*/ 414338 w 1721644"/>
                        <a:gd name="connsiteY76" fmla="*/ 376237 h 1145381"/>
                        <a:gd name="connsiteX77" fmla="*/ 371475 w 1721644"/>
                        <a:gd name="connsiteY77" fmla="*/ 433387 h 1145381"/>
                        <a:gd name="connsiteX78" fmla="*/ 152400 w 1721644"/>
                        <a:gd name="connsiteY78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47663 w 1721644"/>
                        <a:gd name="connsiteY11" fmla="*/ 1000125 h 1145381"/>
                        <a:gd name="connsiteX12" fmla="*/ 385763 w 1721644"/>
                        <a:gd name="connsiteY12" fmla="*/ 1016794 h 1145381"/>
                        <a:gd name="connsiteX13" fmla="*/ 438150 w 1721644"/>
                        <a:gd name="connsiteY13" fmla="*/ 1050131 h 1145381"/>
                        <a:gd name="connsiteX14" fmla="*/ 542925 w 1721644"/>
                        <a:gd name="connsiteY14" fmla="*/ 1035844 h 1145381"/>
                        <a:gd name="connsiteX15" fmla="*/ 557213 w 1721644"/>
                        <a:gd name="connsiteY15" fmla="*/ 1050131 h 1145381"/>
                        <a:gd name="connsiteX16" fmla="*/ 597694 w 1721644"/>
                        <a:gd name="connsiteY16" fmla="*/ 1014412 h 1145381"/>
                        <a:gd name="connsiteX17" fmla="*/ 621507 w 1721644"/>
                        <a:gd name="connsiteY17" fmla="*/ 990600 h 1145381"/>
                        <a:gd name="connsiteX18" fmla="*/ 633413 w 1721644"/>
                        <a:gd name="connsiteY18" fmla="*/ 954881 h 1145381"/>
                        <a:gd name="connsiteX19" fmla="*/ 671513 w 1721644"/>
                        <a:gd name="connsiteY19" fmla="*/ 940594 h 1145381"/>
                        <a:gd name="connsiteX20" fmla="*/ 711994 w 1721644"/>
                        <a:gd name="connsiteY20" fmla="*/ 969169 h 1145381"/>
                        <a:gd name="connsiteX21" fmla="*/ 728663 w 1721644"/>
                        <a:gd name="connsiteY21" fmla="*/ 1004887 h 1145381"/>
                        <a:gd name="connsiteX22" fmla="*/ 762000 w 1721644"/>
                        <a:gd name="connsiteY22" fmla="*/ 1038225 h 1145381"/>
                        <a:gd name="connsiteX23" fmla="*/ 835819 w 1721644"/>
                        <a:gd name="connsiteY23" fmla="*/ 1035844 h 1145381"/>
                        <a:gd name="connsiteX24" fmla="*/ 871538 w 1721644"/>
                        <a:gd name="connsiteY24" fmla="*/ 1071562 h 1145381"/>
                        <a:gd name="connsiteX25" fmla="*/ 883444 w 1721644"/>
                        <a:gd name="connsiteY25" fmla="*/ 1131094 h 1145381"/>
                        <a:gd name="connsiteX26" fmla="*/ 916782 w 1721644"/>
                        <a:gd name="connsiteY26" fmla="*/ 1116806 h 1145381"/>
                        <a:gd name="connsiteX27" fmla="*/ 990600 w 1721644"/>
                        <a:gd name="connsiteY27" fmla="*/ 1131094 h 1145381"/>
                        <a:gd name="connsiteX28" fmla="*/ 1047750 w 1721644"/>
                        <a:gd name="connsiteY28" fmla="*/ 1145381 h 1145381"/>
                        <a:gd name="connsiteX29" fmla="*/ 1095375 w 1721644"/>
                        <a:gd name="connsiteY29" fmla="*/ 1128712 h 1145381"/>
                        <a:gd name="connsiteX30" fmla="*/ 1114425 w 1721644"/>
                        <a:gd name="connsiteY30" fmla="*/ 1045369 h 1145381"/>
                        <a:gd name="connsiteX31" fmla="*/ 1254919 w 1721644"/>
                        <a:gd name="connsiteY31" fmla="*/ 940594 h 1145381"/>
                        <a:gd name="connsiteX32" fmla="*/ 1295400 w 1721644"/>
                        <a:gd name="connsiteY32" fmla="*/ 931069 h 1145381"/>
                        <a:gd name="connsiteX33" fmla="*/ 1307307 w 1721644"/>
                        <a:gd name="connsiteY33" fmla="*/ 983456 h 1145381"/>
                        <a:gd name="connsiteX34" fmla="*/ 1295400 w 1721644"/>
                        <a:gd name="connsiteY34" fmla="*/ 1021556 h 1145381"/>
                        <a:gd name="connsiteX35" fmla="*/ 1376363 w 1721644"/>
                        <a:gd name="connsiteY35" fmla="*/ 1040606 h 1145381"/>
                        <a:gd name="connsiteX36" fmla="*/ 1471613 w 1721644"/>
                        <a:gd name="connsiteY36" fmla="*/ 942975 h 1145381"/>
                        <a:gd name="connsiteX37" fmla="*/ 1497807 w 1721644"/>
                        <a:gd name="connsiteY37" fmla="*/ 890587 h 1145381"/>
                        <a:gd name="connsiteX38" fmla="*/ 1566863 w 1721644"/>
                        <a:gd name="connsiteY38" fmla="*/ 854869 h 1145381"/>
                        <a:gd name="connsiteX39" fmla="*/ 1616869 w 1721644"/>
                        <a:gd name="connsiteY39" fmla="*/ 800100 h 1145381"/>
                        <a:gd name="connsiteX40" fmla="*/ 1676400 w 1721644"/>
                        <a:gd name="connsiteY40" fmla="*/ 788194 h 1145381"/>
                        <a:gd name="connsiteX41" fmla="*/ 1712119 w 1721644"/>
                        <a:gd name="connsiteY41" fmla="*/ 762000 h 1145381"/>
                        <a:gd name="connsiteX42" fmla="*/ 1714500 w 1721644"/>
                        <a:gd name="connsiteY42" fmla="*/ 740569 h 1145381"/>
                        <a:gd name="connsiteX43" fmla="*/ 1678782 w 1721644"/>
                        <a:gd name="connsiteY43" fmla="*/ 711994 h 1145381"/>
                        <a:gd name="connsiteX44" fmla="*/ 1721644 w 1721644"/>
                        <a:gd name="connsiteY44" fmla="*/ 642937 h 1145381"/>
                        <a:gd name="connsiteX45" fmla="*/ 1700213 w 1721644"/>
                        <a:gd name="connsiteY45" fmla="*/ 585787 h 1145381"/>
                        <a:gd name="connsiteX46" fmla="*/ 1714500 w 1721644"/>
                        <a:gd name="connsiteY46" fmla="*/ 523875 h 1145381"/>
                        <a:gd name="connsiteX47" fmla="*/ 1721644 w 1721644"/>
                        <a:gd name="connsiteY47" fmla="*/ 473869 h 1145381"/>
                        <a:gd name="connsiteX48" fmla="*/ 1714500 w 1721644"/>
                        <a:gd name="connsiteY48" fmla="*/ 359569 h 1145381"/>
                        <a:gd name="connsiteX49" fmla="*/ 1702594 w 1721644"/>
                        <a:gd name="connsiteY49" fmla="*/ 314325 h 1145381"/>
                        <a:gd name="connsiteX50" fmla="*/ 1671638 w 1721644"/>
                        <a:gd name="connsiteY50" fmla="*/ 276225 h 1145381"/>
                        <a:gd name="connsiteX51" fmla="*/ 1626394 w 1721644"/>
                        <a:gd name="connsiteY51" fmla="*/ 273844 h 1145381"/>
                        <a:gd name="connsiteX52" fmla="*/ 1521619 w 1721644"/>
                        <a:gd name="connsiteY52" fmla="*/ 259556 h 1145381"/>
                        <a:gd name="connsiteX53" fmla="*/ 1488282 w 1721644"/>
                        <a:gd name="connsiteY53" fmla="*/ 250031 h 1145381"/>
                        <a:gd name="connsiteX54" fmla="*/ 1473994 w 1721644"/>
                        <a:gd name="connsiteY54" fmla="*/ 183356 h 1145381"/>
                        <a:gd name="connsiteX55" fmla="*/ 1388269 w 1721644"/>
                        <a:gd name="connsiteY55" fmla="*/ 207169 h 1145381"/>
                        <a:gd name="connsiteX56" fmla="*/ 1331119 w 1721644"/>
                        <a:gd name="connsiteY56" fmla="*/ 223837 h 1145381"/>
                        <a:gd name="connsiteX57" fmla="*/ 1295400 w 1721644"/>
                        <a:gd name="connsiteY57" fmla="*/ 202406 h 1145381"/>
                        <a:gd name="connsiteX58" fmla="*/ 1214438 w 1721644"/>
                        <a:gd name="connsiteY58" fmla="*/ 111919 h 1145381"/>
                        <a:gd name="connsiteX59" fmla="*/ 1164432 w 1721644"/>
                        <a:gd name="connsiteY59" fmla="*/ 121444 h 1145381"/>
                        <a:gd name="connsiteX60" fmla="*/ 1083469 w 1721644"/>
                        <a:gd name="connsiteY60" fmla="*/ 100012 h 1145381"/>
                        <a:gd name="connsiteX61" fmla="*/ 1050132 w 1721644"/>
                        <a:gd name="connsiteY61" fmla="*/ 83344 h 1145381"/>
                        <a:gd name="connsiteX62" fmla="*/ 995363 w 1721644"/>
                        <a:gd name="connsiteY62" fmla="*/ 135731 h 1145381"/>
                        <a:gd name="connsiteX63" fmla="*/ 966788 w 1721644"/>
                        <a:gd name="connsiteY63" fmla="*/ 107156 h 1145381"/>
                        <a:gd name="connsiteX64" fmla="*/ 940594 w 1721644"/>
                        <a:gd name="connsiteY64" fmla="*/ 76200 h 1145381"/>
                        <a:gd name="connsiteX65" fmla="*/ 895350 w 1721644"/>
                        <a:gd name="connsiteY65" fmla="*/ 59531 h 1145381"/>
                        <a:gd name="connsiteX66" fmla="*/ 897732 w 1721644"/>
                        <a:gd name="connsiteY66" fmla="*/ 14287 h 1145381"/>
                        <a:gd name="connsiteX67" fmla="*/ 862013 w 1721644"/>
                        <a:gd name="connsiteY67" fmla="*/ 0 h 1145381"/>
                        <a:gd name="connsiteX68" fmla="*/ 814388 w 1721644"/>
                        <a:gd name="connsiteY68" fmla="*/ 4762 h 1145381"/>
                        <a:gd name="connsiteX69" fmla="*/ 800100 w 1721644"/>
                        <a:gd name="connsiteY69" fmla="*/ 23812 h 1145381"/>
                        <a:gd name="connsiteX70" fmla="*/ 735807 w 1721644"/>
                        <a:gd name="connsiteY70" fmla="*/ 14287 h 1145381"/>
                        <a:gd name="connsiteX71" fmla="*/ 676275 w 1721644"/>
                        <a:gd name="connsiteY71" fmla="*/ 52387 h 1145381"/>
                        <a:gd name="connsiteX72" fmla="*/ 635794 w 1721644"/>
                        <a:gd name="connsiteY72" fmla="*/ 85725 h 1145381"/>
                        <a:gd name="connsiteX73" fmla="*/ 661988 w 1721644"/>
                        <a:gd name="connsiteY73" fmla="*/ 159544 h 1145381"/>
                        <a:gd name="connsiteX74" fmla="*/ 685800 w 1721644"/>
                        <a:gd name="connsiteY74" fmla="*/ 254794 h 1145381"/>
                        <a:gd name="connsiteX75" fmla="*/ 681038 w 1721644"/>
                        <a:gd name="connsiteY75" fmla="*/ 266700 h 1145381"/>
                        <a:gd name="connsiteX76" fmla="*/ 478632 w 1721644"/>
                        <a:gd name="connsiteY76" fmla="*/ 428625 h 1145381"/>
                        <a:gd name="connsiteX77" fmla="*/ 414338 w 1721644"/>
                        <a:gd name="connsiteY77" fmla="*/ 376237 h 1145381"/>
                        <a:gd name="connsiteX78" fmla="*/ 371475 w 1721644"/>
                        <a:gd name="connsiteY78" fmla="*/ 433387 h 1145381"/>
                        <a:gd name="connsiteX79" fmla="*/ 152400 w 1721644"/>
                        <a:gd name="connsiteY79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47663 w 1721644"/>
                        <a:gd name="connsiteY11" fmla="*/ 1000125 h 1145381"/>
                        <a:gd name="connsiteX12" fmla="*/ 376238 w 1721644"/>
                        <a:gd name="connsiteY12" fmla="*/ 1028700 h 1145381"/>
                        <a:gd name="connsiteX13" fmla="*/ 438150 w 1721644"/>
                        <a:gd name="connsiteY13" fmla="*/ 1050131 h 1145381"/>
                        <a:gd name="connsiteX14" fmla="*/ 542925 w 1721644"/>
                        <a:gd name="connsiteY14" fmla="*/ 1035844 h 1145381"/>
                        <a:gd name="connsiteX15" fmla="*/ 557213 w 1721644"/>
                        <a:gd name="connsiteY15" fmla="*/ 1050131 h 1145381"/>
                        <a:gd name="connsiteX16" fmla="*/ 597694 w 1721644"/>
                        <a:gd name="connsiteY16" fmla="*/ 1014412 h 1145381"/>
                        <a:gd name="connsiteX17" fmla="*/ 621507 w 1721644"/>
                        <a:gd name="connsiteY17" fmla="*/ 990600 h 1145381"/>
                        <a:gd name="connsiteX18" fmla="*/ 633413 w 1721644"/>
                        <a:gd name="connsiteY18" fmla="*/ 954881 h 1145381"/>
                        <a:gd name="connsiteX19" fmla="*/ 671513 w 1721644"/>
                        <a:gd name="connsiteY19" fmla="*/ 940594 h 1145381"/>
                        <a:gd name="connsiteX20" fmla="*/ 711994 w 1721644"/>
                        <a:gd name="connsiteY20" fmla="*/ 969169 h 1145381"/>
                        <a:gd name="connsiteX21" fmla="*/ 728663 w 1721644"/>
                        <a:gd name="connsiteY21" fmla="*/ 1004887 h 1145381"/>
                        <a:gd name="connsiteX22" fmla="*/ 762000 w 1721644"/>
                        <a:gd name="connsiteY22" fmla="*/ 1038225 h 1145381"/>
                        <a:gd name="connsiteX23" fmla="*/ 835819 w 1721644"/>
                        <a:gd name="connsiteY23" fmla="*/ 1035844 h 1145381"/>
                        <a:gd name="connsiteX24" fmla="*/ 871538 w 1721644"/>
                        <a:gd name="connsiteY24" fmla="*/ 1071562 h 1145381"/>
                        <a:gd name="connsiteX25" fmla="*/ 883444 w 1721644"/>
                        <a:gd name="connsiteY25" fmla="*/ 1131094 h 1145381"/>
                        <a:gd name="connsiteX26" fmla="*/ 916782 w 1721644"/>
                        <a:gd name="connsiteY26" fmla="*/ 1116806 h 1145381"/>
                        <a:gd name="connsiteX27" fmla="*/ 990600 w 1721644"/>
                        <a:gd name="connsiteY27" fmla="*/ 1131094 h 1145381"/>
                        <a:gd name="connsiteX28" fmla="*/ 1047750 w 1721644"/>
                        <a:gd name="connsiteY28" fmla="*/ 1145381 h 1145381"/>
                        <a:gd name="connsiteX29" fmla="*/ 1095375 w 1721644"/>
                        <a:gd name="connsiteY29" fmla="*/ 1128712 h 1145381"/>
                        <a:gd name="connsiteX30" fmla="*/ 1114425 w 1721644"/>
                        <a:gd name="connsiteY30" fmla="*/ 1045369 h 1145381"/>
                        <a:gd name="connsiteX31" fmla="*/ 1254919 w 1721644"/>
                        <a:gd name="connsiteY31" fmla="*/ 940594 h 1145381"/>
                        <a:gd name="connsiteX32" fmla="*/ 1295400 w 1721644"/>
                        <a:gd name="connsiteY32" fmla="*/ 931069 h 1145381"/>
                        <a:gd name="connsiteX33" fmla="*/ 1307307 w 1721644"/>
                        <a:gd name="connsiteY33" fmla="*/ 983456 h 1145381"/>
                        <a:gd name="connsiteX34" fmla="*/ 1295400 w 1721644"/>
                        <a:gd name="connsiteY34" fmla="*/ 1021556 h 1145381"/>
                        <a:gd name="connsiteX35" fmla="*/ 1376363 w 1721644"/>
                        <a:gd name="connsiteY35" fmla="*/ 1040606 h 1145381"/>
                        <a:gd name="connsiteX36" fmla="*/ 1471613 w 1721644"/>
                        <a:gd name="connsiteY36" fmla="*/ 942975 h 1145381"/>
                        <a:gd name="connsiteX37" fmla="*/ 1497807 w 1721644"/>
                        <a:gd name="connsiteY37" fmla="*/ 890587 h 1145381"/>
                        <a:gd name="connsiteX38" fmla="*/ 1566863 w 1721644"/>
                        <a:gd name="connsiteY38" fmla="*/ 854869 h 1145381"/>
                        <a:gd name="connsiteX39" fmla="*/ 1616869 w 1721644"/>
                        <a:gd name="connsiteY39" fmla="*/ 800100 h 1145381"/>
                        <a:gd name="connsiteX40" fmla="*/ 1676400 w 1721644"/>
                        <a:gd name="connsiteY40" fmla="*/ 788194 h 1145381"/>
                        <a:gd name="connsiteX41" fmla="*/ 1712119 w 1721644"/>
                        <a:gd name="connsiteY41" fmla="*/ 762000 h 1145381"/>
                        <a:gd name="connsiteX42" fmla="*/ 1714500 w 1721644"/>
                        <a:gd name="connsiteY42" fmla="*/ 740569 h 1145381"/>
                        <a:gd name="connsiteX43" fmla="*/ 1678782 w 1721644"/>
                        <a:gd name="connsiteY43" fmla="*/ 711994 h 1145381"/>
                        <a:gd name="connsiteX44" fmla="*/ 1721644 w 1721644"/>
                        <a:gd name="connsiteY44" fmla="*/ 642937 h 1145381"/>
                        <a:gd name="connsiteX45" fmla="*/ 1700213 w 1721644"/>
                        <a:gd name="connsiteY45" fmla="*/ 585787 h 1145381"/>
                        <a:gd name="connsiteX46" fmla="*/ 1714500 w 1721644"/>
                        <a:gd name="connsiteY46" fmla="*/ 523875 h 1145381"/>
                        <a:gd name="connsiteX47" fmla="*/ 1721644 w 1721644"/>
                        <a:gd name="connsiteY47" fmla="*/ 473869 h 1145381"/>
                        <a:gd name="connsiteX48" fmla="*/ 1714500 w 1721644"/>
                        <a:gd name="connsiteY48" fmla="*/ 359569 h 1145381"/>
                        <a:gd name="connsiteX49" fmla="*/ 1702594 w 1721644"/>
                        <a:gd name="connsiteY49" fmla="*/ 314325 h 1145381"/>
                        <a:gd name="connsiteX50" fmla="*/ 1671638 w 1721644"/>
                        <a:gd name="connsiteY50" fmla="*/ 276225 h 1145381"/>
                        <a:gd name="connsiteX51" fmla="*/ 1626394 w 1721644"/>
                        <a:gd name="connsiteY51" fmla="*/ 273844 h 1145381"/>
                        <a:gd name="connsiteX52" fmla="*/ 1521619 w 1721644"/>
                        <a:gd name="connsiteY52" fmla="*/ 259556 h 1145381"/>
                        <a:gd name="connsiteX53" fmla="*/ 1488282 w 1721644"/>
                        <a:gd name="connsiteY53" fmla="*/ 250031 h 1145381"/>
                        <a:gd name="connsiteX54" fmla="*/ 1473994 w 1721644"/>
                        <a:gd name="connsiteY54" fmla="*/ 183356 h 1145381"/>
                        <a:gd name="connsiteX55" fmla="*/ 1388269 w 1721644"/>
                        <a:gd name="connsiteY55" fmla="*/ 207169 h 1145381"/>
                        <a:gd name="connsiteX56" fmla="*/ 1331119 w 1721644"/>
                        <a:gd name="connsiteY56" fmla="*/ 223837 h 1145381"/>
                        <a:gd name="connsiteX57" fmla="*/ 1295400 w 1721644"/>
                        <a:gd name="connsiteY57" fmla="*/ 202406 h 1145381"/>
                        <a:gd name="connsiteX58" fmla="*/ 1214438 w 1721644"/>
                        <a:gd name="connsiteY58" fmla="*/ 111919 h 1145381"/>
                        <a:gd name="connsiteX59" fmla="*/ 1164432 w 1721644"/>
                        <a:gd name="connsiteY59" fmla="*/ 121444 h 1145381"/>
                        <a:gd name="connsiteX60" fmla="*/ 1083469 w 1721644"/>
                        <a:gd name="connsiteY60" fmla="*/ 100012 h 1145381"/>
                        <a:gd name="connsiteX61" fmla="*/ 1050132 w 1721644"/>
                        <a:gd name="connsiteY61" fmla="*/ 83344 h 1145381"/>
                        <a:gd name="connsiteX62" fmla="*/ 995363 w 1721644"/>
                        <a:gd name="connsiteY62" fmla="*/ 135731 h 1145381"/>
                        <a:gd name="connsiteX63" fmla="*/ 966788 w 1721644"/>
                        <a:gd name="connsiteY63" fmla="*/ 107156 h 1145381"/>
                        <a:gd name="connsiteX64" fmla="*/ 940594 w 1721644"/>
                        <a:gd name="connsiteY64" fmla="*/ 76200 h 1145381"/>
                        <a:gd name="connsiteX65" fmla="*/ 895350 w 1721644"/>
                        <a:gd name="connsiteY65" fmla="*/ 59531 h 1145381"/>
                        <a:gd name="connsiteX66" fmla="*/ 897732 w 1721644"/>
                        <a:gd name="connsiteY66" fmla="*/ 14287 h 1145381"/>
                        <a:gd name="connsiteX67" fmla="*/ 862013 w 1721644"/>
                        <a:gd name="connsiteY67" fmla="*/ 0 h 1145381"/>
                        <a:gd name="connsiteX68" fmla="*/ 814388 w 1721644"/>
                        <a:gd name="connsiteY68" fmla="*/ 4762 h 1145381"/>
                        <a:gd name="connsiteX69" fmla="*/ 800100 w 1721644"/>
                        <a:gd name="connsiteY69" fmla="*/ 23812 h 1145381"/>
                        <a:gd name="connsiteX70" fmla="*/ 735807 w 1721644"/>
                        <a:gd name="connsiteY70" fmla="*/ 14287 h 1145381"/>
                        <a:gd name="connsiteX71" fmla="*/ 676275 w 1721644"/>
                        <a:gd name="connsiteY71" fmla="*/ 52387 h 1145381"/>
                        <a:gd name="connsiteX72" fmla="*/ 635794 w 1721644"/>
                        <a:gd name="connsiteY72" fmla="*/ 85725 h 1145381"/>
                        <a:gd name="connsiteX73" fmla="*/ 661988 w 1721644"/>
                        <a:gd name="connsiteY73" fmla="*/ 159544 h 1145381"/>
                        <a:gd name="connsiteX74" fmla="*/ 685800 w 1721644"/>
                        <a:gd name="connsiteY74" fmla="*/ 254794 h 1145381"/>
                        <a:gd name="connsiteX75" fmla="*/ 681038 w 1721644"/>
                        <a:gd name="connsiteY75" fmla="*/ 266700 h 1145381"/>
                        <a:gd name="connsiteX76" fmla="*/ 478632 w 1721644"/>
                        <a:gd name="connsiteY76" fmla="*/ 428625 h 1145381"/>
                        <a:gd name="connsiteX77" fmla="*/ 414338 w 1721644"/>
                        <a:gd name="connsiteY77" fmla="*/ 376237 h 1145381"/>
                        <a:gd name="connsiteX78" fmla="*/ 371475 w 1721644"/>
                        <a:gd name="connsiteY78" fmla="*/ 433387 h 1145381"/>
                        <a:gd name="connsiteX79" fmla="*/ 152400 w 1721644"/>
                        <a:gd name="connsiteY79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28613 w 1721644"/>
                        <a:gd name="connsiteY11" fmla="*/ 973931 h 1145381"/>
                        <a:gd name="connsiteX12" fmla="*/ 347663 w 1721644"/>
                        <a:gd name="connsiteY12" fmla="*/ 1000125 h 1145381"/>
                        <a:gd name="connsiteX13" fmla="*/ 376238 w 1721644"/>
                        <a:gd name="connsiteY13" fmla="*/ 1028700 h 1145381"/>
                        <a:gd name="connsiteX14" fmla="*/ 438150 w 1721644"/>
                        <a:gd name="connsiteY14" fmla="*/ 1050131 h 1145381"/>
                        <a:gd name="connsiteX15" fmla="*/ 542925 w 1721644"/>
                        <a:gd name="connsiteY15" fmla="*/ 1035844 h 1145381"/>
                        <a:gd name="connsiteX16" fmla="*/ 557213 w 1721644"/>
                        <a:gd name="connsiteY16" fmla="*/ 1050131 h 1145381"/>
                        <a:gd name="connsiteX17" fmla="*/ 597694 w 1721644"/>
                        <a:gd name="connsiteY17" fmla="*/ 1014412 h 1145381"/>
                        <a:gd name="connsiteX18" fmla="*/ 621507 w 1721644"/>
                        <a:gd name="connsiteY18" fmla="*/ 990600 h 1145381"/>
                        <a:gd name="connsiteX19" fmla="*/ 633413 w 1721644"/>
                        <a:gd name="connsiteY19" fmla="*/ 954881 h 1145381"/>
                        <a:gd name="connsiteX20" fmla="*/ 671513 w 1721644"/>
                        <a:gd name="connsiteY20" fmla="*/ 940594 h 1145381"/>
                        <a:gd name="connsiteX21" fmla="*/ 711994 w 1721644"/>
                        <a:gd name="connsiteY21" fmla="*/ 969169 h 1145381"/>
                        <a:gd name="connsiteX22" fmla="*/ 728663 w 1721644"/>
                        <a:gd name="connsiteY22" fmla="*/ 1004887 h 1145381"/>
                        <a:gd name="connsiteX23" fmla="*/ 762000 w 1721644"/>
                        <a:gd name="connsiteY23" fmla="*/ 1038225 h 1145381"/>
                        <a:gd name="connsiteX24" fmla="*/ 835819 w 1721644"/>
                        <a:gd name="connsiteY24" fmla="*/ 1035844 h 1145381"/>
                        <a:gd name="connsiteX25" fmla="*/ 871538 w 1721644"/>
                        <a:gd name="connsiteY25" fmla="*/ 1071562 h 1145381"/>
                        <a:gd name="connsiteX26" fmla="*/ 883444 w 1721644"/>
                        <a:gd name="connsiteY26" fmla="*/ 1131094 h 1145381"/>
                        <a:gd name="connsiteX27" fmla="*/ 916782 w 1721644"/>
                        <a:gd name="connsiteY27" fmla="*/ 1116806 h 1145381"/>
                        <a:gd name="connsiteX28" fmla="*/ 990600 w 1721644"/>
                        <a:gd name="connsiteY28" fmla="*/ 1131094 h 1145381"/>
                        <a:gd name="connsiteX29" fmla="*/ 1047750 w 1721644"/>
                        <a:gd name="connsiteY29" fmla="*/ 1145381 h 1145381"/>
                        <a:gd name="connsiteX30" fmla="*/ 1095375 w 1721644"/>
                        <a:gd name="connsiteY30" fmla="*/ 1128712 h 1145381"/>
                        <a:gd name="connsiteX31" fmla="*/ 1114425 w 1721644"/>
                        <a:gd name="connsiteY31" fmla="*/ 1045369 h 1145381"/>
                        <a:gd name="connsiteX32" fmla="*/ 1254919 w 1721644"/>
                        <a:gd name="connsiteY32" fmla="*/ 940594 h 1145381"/>
                        <a:gd name="connsiteX33" fmla="*/ 1295400 w 1721644"/>
                        <a:gd name="connsiteY33" fmla="*/ 931069 h 1145381"/>
                        <a:gd name="connsiteX34" fmla="*/ 1307307 w 1721644"/>
                        <a:gd name="connsiteY34" fmla="*/ 983456 h 1145381"/>
                        <a:gd name="connsiteX35" fmla="*/ 1295400 w 1721644"/>
                        <a:gd name="connsiteY35" fmla="*/ 1021556 h 1145381"/>
                        <a:gd name="connsiteX36" fmla="*/ 1376363 w 1721644"/>
                        <a:gd name="connsiteY36" fmla="*/ 1040606 h 1145381"/>
                        <a:gd name="connsiteX37" fmla="*/ 1471613 w 1721644"/>
                        <a:gd name="connsiteY37" fmla="*/ 942975 h 1145381"/>
                        <a:gd name="connsiteX38" fmla="*/ 1497807 w 1721644"/>
                        <a:gd name="connsiteY38" fmla="*/ 890587 h 1145381"/>
                        <a:gd name="connsiteX39" fmla="*/ 1566863 w 1721644"/>
                        <a:gd name="connsiteY39" fmla="*/ 854869 h 1145381"/>
                        <a:gd name="connsiteX40" fmla="*/ 1616869 w 1721644"/>
                        <a:gd name="connsiteY40" fmla="*/ 800100 h 1145381"/>
                        <a:gd name="connsiteX41" fmla="*/ 1676400 w 1721644"/>
                        <a:gd name="connsiteY41" fmla="*/ 788194 h 1145381"/>
                        <a:gd name="connsiteX42" fmla="*/ 1712119 w 1721644"/>
                        <a:gd name="connsiteY42" fmla="*/ 762000 h 1145381"/>
                        <a:gd name="connsiteX43" fmla="*/ 1714500 w 1721644"/>
                        <a:gd name="connsiteY43" fmla="*/ 740569 h 1145381"/>
                        <a:gd name="connsiteX44" fmla="*/ 1678782 w 1721644"/>
                        <a:gd name="connsiteY44" fmla="*/ 711994 h 1145381"/>
                        <a:gd name="connsiteX45" fmla="*/ 1721644 w 1721644"/>
                        <a:gd name="connsiteY45" fmla="*/ 642937 h 1145381"/>
                        <a:gd name="connsiteX46" fmla="*/ 1700213 w 1721644"/>
                        <a:gd name="connsiteY46" fmla="*/ 585787 h 1145381"/>
                        <a:gd name="connsiteX47" fmla="*/ 1714500 w 1721644"/>
                        <a:gd name="connsiteY47" fmla="*/ 523875 h 1145381"/>
                        <a:gd name="connsiteX48" fmla="*/ 1721644 w 1721644"/>
                        <a:gd name="connsiteY48" fmla="*/ 473869 h 1145381"/>
                        <a:gd name="connsiteX49" fmla="*/ 1714500 w 1721644"/>
                        <a:gd name="connsiteY49" fmla="*/ 359569 h 1145381"/>
                        <a:gd name="connsiteX50" fmla="*/ 1702594 w 1721644"/>
                        <a:gd name="connsiteY50" fmla="*/ 314325 h 1145381"/>
                        <a:gd name="connsiteX51" fmla="*/ 1671638 w 1721644"/>
                        <a:gd name="connsiteY51" fmla="*/ 276225 h 1145381"/>
                        <a:gd name="connsiteX52" fmla="*/ 1626394 w 1721644"/>
                        <a:gd name="connsiteY52" fmla="*/ 273844 h 1145381"/>
                        <a:gd name="connsiteX53" fmla="*/ 1521619 w 1721644"/>
                        <a:gd name="connsiteY53" fmla="*/ 259556 h 1145381"/>
                        <a:gd name="connsiteX54" fmla="*/ 1488282 w 1721644"/>
                        <a:gd name="connsiteY54" fmla="*/ 250031 h 1145381"/>
                        <a:gd name="connsiteX55" fmla="*/ 1473994 w 1721644"/>
                        <a:gd name="connsiteY55" fmla="*/ 183356 h 1145381"/>
                        <a:gd name="connsiteX56" fmla="*/ 1388269 w 1721644"/>
                        <a:gd name="connsiteY56" fmla="*/ 207169 h 1145381"/>
                        <a:gd name="connsiteX57" fmla="*/ 1331119 w 1721644"/>
                        <a:gd name="connsiteY57" fmla="*/ 223837 h 1145381"/>
                        <a:gd name="connsiteX58" fmla="*/ 1295400 w 1721644"/>
                        <a:gd name="connsiteY58" fmla="*/ 202406 h 1145381"/>
                        <a:gd name="connsiteX59" fmla="*/ 1214438 w 1721644"/>
                        <a:gd name="connsiteY59" fmla="*/ 111919 h 1145381"/>
                        <a:gd name="connsiteX60" fmla="*/ 1164432 w 1721644"/>
                        <a:gd name="connsiteY60" fmla="*/ 121444 h 1145381"/>
                        <a:gd name="connsiteX61" fmla="*/ 1083469 w 1721644"/>
                        <a:gd name="connsiteY61" fmla="*/ 100012 h 1145381"/>
                        <a:gd name="connsiteX62" fmla="*/ 1050132 w 1721644"/>
                        <a:gd name="connsiteY62" fmla="*/ 83344 h 1145381"/>
                        <a:gd name="connsiteX63" fmla="*/ 995363 w 1721644"/>
                        <a:gd name="connsiteY63" fmla="*/ 135731 h 1145381"/>
                        <a:gd name="connsiteX64" fmla="*/ 966788 w 1721644"/>
                        <a:gd name="connsiteY64" fmla="*/ 107156 h 1145381"/>
                        <a:gd name="connsiteX65" fmla="*/ 940594 w 1721644"/>
                        <a:gd name="connsiteY65" fmla="*/ 76200 h 1145381"/>
                        <a:gd name="connsiteX66" fmla="*/ 895350 w 1721644"/>
                        <a:gd name="connsiteY66" fmla="*/ 59531 h 1145381"/>
                        <a:gd name="connsiteX67" fmla="*/ 897732 w 1721644"/>
                        <a:gd name="connsiteY67" fmla="*/ 14287 h 1145381"/>
                        <a:gd name="connsiteX68" fmla="*/ 862013 w 1721644"/>
                        <a:gd name="connsiteY68" fmla="*/ 0 h 1145381"/>
                        <a:gd name="connsiteX69" fmla="*/ 814388 w 1721644"/>
                        <a:gd name="connsiteY69" fmla="*/ 4762 h 1145381"/>
                        <a:gd name="connsiteX70" fmla="*/ 800100 w 1721644"/>
                        <a:gd name="connsiteY70" fmla="*/ 23812 h 1145381"/>
                        <a:gd name="connsiteX71" fmla="*/ 735807 w 1721644"/>
                        <a:gd name="connsiteY71" fmla="*/ 14287 h 1145381"/>
                        <a:gd name="connsiteX72" fmla="*/ 676275 w 1721644"/>
                        <a:gd name="connsiteY72" fmla="*/ 52387 h 1145381"/>
                        <a:gd name="connsiteX73" fmla="*/ 635794 w 1721644"/>
                        <a:gd name="connsiteY73" fmla="*/ 85725 h 1145381"/>
                        <a:gd name="connsiteX74" fmla="*/ 661988 w 1721644"/>
                        <a:gd name="connsiteY74" fmla="*/ 159544 h 1145381"/>
                        <a:gd name="connsiteX75" fmla="*/ 685800 w 1721644"/>
                        <a:gd name="connsiteY75" fmla="*/ 254794 h 1145381"/>
                        <a:gd name="connsiteX76" fmla="*/ 681038 w 1721644"/>
                        <a:gd name="connsiteY76" fmla="*/ 266700 h 1145381"/>
                        <a:gd name="connsiteX77" fmla="*/ 478632 w 1721644"/>
                        <a:gd name="connsiteY77" fmla="*/ 428625 h 1145381"/>
                        <a:gd name="connsiteX78" fmla="*/ 414338 w 1721644"/>
                        <a:gd name="connsiteY78" fmla="*/ 376237 h 1145381"/>
                        <a:gd name="connsiteX79" fmla="*/ 371475 w 1721644"/>
                        <a:gd name="connsiteY79" fmla="*/ 433387 h 1145381"/>
                        <a:gd name="connsiteX80" fmla="*/ 152400 w 1721644"/>
                        <a:gd name="connsiteY80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21469 w 1721644"/>
                        <a:gd name="connsiteY11" fmla="*/ 976312 h 1145381"/>
                        <a:gd name="connsiteX12" fmla="*/ 347663 w 1721644"/>
                        <a:gd name="connsiteY12" fmla="*/ 1000125 h 1145381"/>
                        <a:gd name="connsiteX13" fmla="*/ 376238 w 1721644"/>
                        <a:gd name="connsiteY13" fmla="*/ 1028700 h 1145381"/>
                        <a:gd name="connsiteX14" fmla="*/ 438150 w 1721644"/>
                        <a:gd name="connsiteY14" fmla="*/ 1050131 h 1145381"/>
                        <a:gd name="connsiteX15" fmla="*/ 542925 w 1721644"/>
                        <a:gd name="connsiteY15" fmla="*/ 1035844 h 1145381"/>
                        <a:gd name="connsiteX16" fmla="*/ 557213 w 1721644"/>
                        <a:gd name="connsiteY16" fmla="*/ 1050131 h 1145381"/>
                        <a:gd name="connsiteX17" fmla="*/ 597694 w 1721644"/>
                        <a:gd name="connsiteY17" fmla="*/ 1014412 h 1145381"/>
                        <a:gd name="connsiteX18" fmla="*/ 621507 w 1721644"/>
                        <a:gd name="connsiteY18" fmla="*/ 990600 h 1145381"/>
                        <a:gd name="connsiteX19" fmla="*/ 633413 w 1721644"/>
                        <a:gd name="connsiteY19" fmla="*/ 954881 h 1145381"/>
                        <a:gd name="connsiteX20" fmla="*/ 671513 w 1721644"/>
                        <a:gd name="connsiteY20" fmla="*/ 940594 h 1145381"/>
                        <a:gd name="connsiteX21" fmla="*/ 711994 w 1721644"/>
                        <a:gd name="connsiteY21" fmla="*/ 969169 h 1145381"/>
                        <a:gd name="connsiteX22" fmla="*/ 728663 w 1721644"/>
                        <a:gd name="connsiteY22" fmla="*/ 1004887 h 1145381"/>
                        <a:gd name="connsiteX23" fmla="*/ 762000 w 1721644"/>
                        <a:gd name="connsiteY23" fmla="*/ 1038225 h 1145381"/>
                        <a:gd name="connsiteX24" fmla="*/ 835819 w 1721644"/>
                        <a:gd name="connsiteY24" fmla="*/ 1035844 h 1145381"/>
                        <a:gd name="connsiteX25" fmla="*/ 871538 w 1721644"/>
                        <a:gd name="connsiteY25" fmla="*/ 1071562 h 1145381"/>
                        <a:gd name="connsiteX26" fmla="*/ 883444 w 1721644"/>
                        <a:gd name="connsiteY26" fmla="*/ 1131094 h 1145381"/>
                        <a:gd name="connsiteX27" fmla="*/ 916782 w 1721644"/>
                        <a:gd name="connsiteY27" fmla="*/ 1116806 h 1145381"/>
                        <a:gd name="connsiteX28" fmla="*/ 990600 w 1721644"/>
                        <a:gd name="connsiteY28" fmla="*/ 1131094 h 1145381"/>
                        <a:gd name="connsiteX29" fmla="*/ 1047750 w 1721644"/>
                        <a:gd name="connsiteY29" fmla="*/ 1145381 h 1145381"/>
                        <a:gd name="connsiteX30" fmla="*/ 1095375 w 1721644"/>
                        <a:gd name="connsiteY30" fmla="*/ 1128712 h 1145381"/>
                        <a:gd name="connsiteX31" fmla="*/ 1114425 w 1721644"/>
                        <a:gd name="connsiteY31" fmla="*/ 1045369 h 1145381"/>
                        <a:gd name="connsiteX32" fmla="*/ 1254919 w 1721644"/>
                        <a:gd name="connsiteY32" fmla="*/ 940594 h 1145381"/>
                        <a:gd name="connsiteX33" fmla="*/ 1295400 w 1721644"/>
                        <a:gd name="connsiteY33" fmla="*/ 931069 h 1145381"/>
                        <a:gd name="connsiteX34" fmla="*/ 1307307 w 1721644"/>
                        <a:gd name="connsiteY34" fmla="*/ 983456 h 1145381"/>
                        <a:gd name="connsiteX35" fmla="*/ 1295400 w 1721644"/>
                        <a:gd name="connsiteY35" fmla="*/ 1021556 h 1145381"/>
                        <a:gd name="connsiteX36" fmla="*/ 1376363 w 1721644"/>
                        <a:gd name="connsiteY36" fmla="*/ 1040606 h 1145381"/>
                        <a:gd name="connsiteX37" fmla="*/ 1471613 w 1721644"/>
                        <a:gd name="connsiteY37" fmla="*/ 942975 h 1145381"/>
                        <a:gd name="connsiteX38" fmla="*/ 1497807 w 1721644"/>
                        <a:gd name="connsiteY38" fmla="*/ 890587 h 1145381"/>
                        <a:gd name="connsiteX39" fmla="*/ 1566863 w 1721644"/>
                        <a:gd name="connsiteY39" fmla="*/ 854869 h 1145381"/>
                        <a:gd name="connsiteX40" fmla="*/ 1616869 w 1721644"/>
                        <a:gd name="connsiteY40" fmla="*/ 800100 h 1145381"/>
                        <a:gd name="connsiteX41" fmla="*/ 1676400 w 1721644"/>
                        <a:gd name="connsiteY41" fmla="*/ 788194 h 1145381"/>
                        <a:gd name="connsiteX42" fmla="*/ 1712119 w 1721644"/>
                        <a:gd name="connsiteY42" fmla="*/ 762000 h 1145381"/>
                        <a:gd name="connsiteX43" fmla="*/ 1714500 w 1721644"/>
                        <a:gd name="connsiteY43" fmla="*/ 740569 h 1145381"/>
                        <a:gd name="connsiteX44" fmla="*/ 1678782 w 1721644"/>
                        <a:gd name="connsiteY44" fmla="*/ 711994 h 1145381"/>
                        <a:gd name="connsiteX45" fmla="*/ 1721644 w 1721644"/>
                        <a:gd name="connsiteY45" fmla="*/ 642937 h 1145381"/>
                        <a:gd name="connsiteX46" fmla="*/ 1700213 w 1721644"/>
                        <a:gd name="connsiteY46" fmla="*/ 585787 h 1145381"/>
                        <a:gd name="connsiteX47" fmla="*/ 1714500 w 1721644"/>
                        <a:gd name="connsiteY47" fmla="*/ 523875 h 1145381"/>
                        <a:gd name="connsiteX48" fmla="*/ 1721644 w 1721644"/>
                        <a:gd name="connsiteY48" fmla="*/ 473869 h 1145381"/>
                        <a:gd name="connsiteX49" fmla="*/ 1714500 w 1721644"/>
                        <a:gd name="connsiteY49" fmla="*/ 359569 h 1145381"/>
                        <a:gd name="connsiteX50" fmla="*/ 1702594 w 1721644"/>
                        <a:gd name="connsiteY50" fmla="*/ 314325 h 1145381"/>
                        <a:gd name="connsiteX51" fmla="*/ 1671638 w 1721644"/>
                        <a:gd name="connsiteY51" fmla="*/ 276225 h 1145381"/>
                        <a:gd name="connsiteX52" fmla="*/ 1626394 w 1721644"/>
                        <a:gd name="connsiteY52" fmla="*/ 273844 h 1145381"/>
                        <a:gd name="connsiteX53" fmla="*/ 1521619 w 1721644"/>
                        <a:gd name="connsiteY53" fmla="*/ 259556 h 1145381"/>
                        <a:gd name="connsiteX54" fmla="*/ 1488282 w 1721644"/>
                        <a:gd name="connsiteY54" fmla="*/ 250031 h 1145381"/>
                        <a:gd name="connsiteX55" fmla="*/ 1473994 w 1721644"/>
                        <a:gd name="connsiteY55" fmla="*/ 183356 h 1145381"/>
                        <a:gd name="connsiteX56" fmla="*/ 1388269 w 1721644"/>
                        <a:gd name="connsiteY56" fmla="*/ 207169 h 1145381"/>
                        <a:gd name="connsiteX57" fmla="*/ 1331119 w 1721644"/>
                        <a:gd name="connsiteY57" fmla="*/ 223837 h 1145381"/>
                        <a:gd name="connsiteX58" fmla="*/ 1295400 w 1721644"/>
                        <a:gd name="connsiteY58" fmla="*/ 202406 h 1145381"/>
                        <a:gd name="connsiteX59" fmla="*/ 1214438 w 1721644"/>
                        <a:gd name="connsiteY59" fmla="*/ 111919 h 1145381"/>
                        <a:gd name="connsiteX60" fmla="*/ 1164432 w 1721644"/>
                        <a:gd name="connsiteY60" fmla="*/ 121444 h 1145381"/>
                        <a:gd name="connsiteX61" fmla="*/ 1083469 w 1721644"/>
                        <a:gd name="connsiteY61" fmla="*/ 100012 h 1145381"/>
                        <a:gd name="connsiteX62" fmla="*/ 1050132 w 1721644"/>
                        <a:gd name="connsiteY62" fmla="*/ 83344 h 1145381"/>
                        <a:gd name="connsiteX63" fmla="*/ 995363 w 1721644"/>
                        <a:gd name="connsiteY63" fmla="*/ 135731 h 1145381"/>
                        <a:gd name="connsiteX64" fmla="*/ 966788 w 1721644"/>
                        <a:gd name="connsiteY64" fmla="*/ 107156 h 1145381"/>
                        <a:gd name="connsiteX65" fmla="*/ 940594 w 1721644"/>
                        <a:gd name="connsiteY65" fmla="*/ 76200 h 1145381"/>
                        <a:gd name="connsiteX66" fmla="*/ 895350 w 1721644"/>
                        <a:gd name="connsiteY66" fmla="*/ 59531 h 1145381"/>
                        <a:gd name="connsiteX67" fmla="*/ 897732 w 1721644"/>
                        <a:gd name="connsiteY67" fmla="*/ 14287 h 1145381"/>
                        <a:gd name="connsiteX68" fmla="*/ 862013 w 1721644"/>
                        <a:gd name="connsiteY68" fmla="*/ 0 h 1145381"/>
                        <a:gd name="connsiteX69" fmla="*/ 814388 w 1721644"/>
                        <a:gd name="connsiteY69" fmla="*/ 4762 h 1145381"/>
                        <a:gd name="connsiteX70" fmla="*/ 800100 w 1721644"/>
                        <a:gd name="connsiteY70" fmla="*/ 23812 h 1145381"/>
                        <a:gd name="connsiteX71" fmla="*/ 735807 w 1721644"/>
                        <a:gd name="connsiteY71" fmla="*/ 14287 h 1145381"/>
                        <a:gd name="connsiteX72" fmla="*/ 676275 w 1721644"/>
                        <a:gd name="connsiteY72" fmla="*/ 52387 h 1145381"/>
                        <a:gd name="connsiteX73" fmla="*/ 635794 w 1721644"/>
                        <a:gd name="connsiteY73" fmla="*/ 85725 h 1145381"/>
                        <a:gd name="connsiteX74" fmla="*/ 661988 w 1721644"/>
                        <a:gd name="connsiteY74" fmla="*/ 159544 h 1145381"/>
                        <a:gd name="connsiteX75" fmla="*/ 685800 w 1721644"/>
                        <a:gd name="connsiteY75" fmla="*/ 254794 h 1145381"/>
                        <a:gd name="connsiteX76" fmla="*/ 681038 w 1721644"/>
                        <a:gd name="connsiteY76" fmla="*/ 266700 h 1145381"/>
                        <a:gd name="connsiteX77" fmla="*/ 478632 w 1721644"/>
                        <a:gd name="connsiteY77" fmla="*/ 428625 h 1145381"/>
                        <a:gd name="connsiteX78" fmla="*/ 414338 w 1721644"/>
                        <a:gd name="connsiteY78" fmla="*/ 376237 h 1145381"/>
                        <a:gd name="connsiteX79" fmla="*/ 371475 w 1721644"/>
                        <a:gd name="connsiteY79" fmla="*/ 433387 h 1145381"/>
                        <a:gd name="connsiteX80" fmla="*/ 152400 w 1721644"/>
                        <a:gd name="connsiteY80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242888 w 1721644"/>
                        <a:gd name="connsiteY10" fmla="*/ 933450 h 1145381"/>
                        <a:gd name="connsiteX11" fmla="*/ 307182 w 1721644"/>
                        <a:gd name="connsiteY11" fmla="*/ 933450 h 1145381"/>
                        <a:gd name="connsiteX12" fmla="*/ 321469 w 1721644"/>
                        <a:gd name="connsiteY12" fmla="*/ 976312 h 1145381"/>
                        <a:gd name="connsiteX13" fmla="*/ 347663 w 1721644"/>
                        <a:gd name="connsiteY13" fmla="*/ 1000125 h 1145381"/>
                        <a:gd name="connsiteX14" fmla="*/ 376238 w 1721644"/>
                        <a:gd name="connsiteY14" fmla="*/ 1028700 h 1145381"/>
                        <a:gd name="connsiteX15" fmla="*/ 438150 w 1721644"/>
                        <a:gd name="connsiteY15" fmla="*/ 1050131 h 1145381"/>
                        <a:gd name="connsiteX16" fmla="*/ 542925 w 1721644"/>
                        <a:gd name="connsiteY16" fmla="*/ 1035844 h 1145381"/>
                        <a:gd name="connsiteX17" fmla="*/ 557213 w 1721644"/>
                        <a:gd name="connsiteY17" fmla="*/ 1050131 h 1145381"/>
                        <a:gd name="connsiteX18" fmla="*/ 597694 w 1721644"/>
                        <a:gd name="connsiteY18" fmla="*/ 1014412 h 1145381"/>
                        <a:gd name="connsiteX19" fmla="*/ 621507 w 1721644"/>
                        <a:gd name="connsiteY19" fmla="*/ 990600 h 1145381"/>
                        <a:gd name="connsiteX20" fmla="*/ 633413 w 1721644"/>
                        <a:gd name="connsiteY20" fmla="*/ 954881 h 1145381"/>
                        <a:gd name="connsiteX21" fmla="*/ 671513 w 1721644"/>
                        <a:gd name="connsiteY21" fmla="*/ 940594 h 1145381"/>
                        <a:gd name="connsiteX22" fmla="*/ 711994 w 1721644"/>
                        <a:gd name="connsiteY22" fmla="*/ 969169 h 1145381"/>
                        <a:gd name="connsiteX23" fmla="*/ 728663 w 1721644"/>
                        <a:gd name="connsiteY23" fmla="*/ 1004887 h 1145381"/>
                        <a:gd name="connsiteX24" fmla="*/ 762000 w 1721644"/>
                        <a:gd name="connsiteY24" fmla="*/ 1038225 h 1145381"/>
                        <a:gd name="connsiteX25" fmla="*/ 835819 w 1721644"/>
                        <a:gd name="connsiteY25" fmla="*/ 1035844 h 1145381"/>
                        <a:gd name="connsiteX26" fmla="*/ 871538 w 1721644"/>
                        <a:gd name="connsiteY26" fmla="*/ 1071562 h 1145381"/>
                        <a:gd name="connsiteX27" fmla="*/ 883444 w 1721644"/>
                        <a:gd name="connsiteY27" fmla="*/ 1131094 h 1145381"/>
                        <a:gd name="connsiteX28" fmla="*/ 916782 w 1721644"/>
                        <a:gd name="connsiteY28" fmla="*/ 1116806 h 1145381"/>
                        <a:gd name="connsiteX29" fmla="*/ 990600 w 1721644"/>
                        <a:gd name="connsiteY29" fmla="*/ 1131094 h 1145381"/>
                        <a:gd name="connsiteX30" fmla="*/ 1047750 w 1721644"/>
                        <a:gd name="connsiteY30" fmla="*/ 1145381 h 1145381"/>
                        <a:gd name="connsiteX31" fmla="*/ 1095375 w 1721644"/>
                        <a:gd name="connsiteY31" fmla="*/ 1128712 h 1145381"/>
                        <a:gd name="connsiteX32" fmla="*/ 1114425 w 1721644"/>
                        <a:gd name="connsiteY32" fmla="*/ 1045369 h 1145381"/>
                        <a:gd name="connsiteX33" fmla="*/ 1254919 w 1721644"/>
                        <a:gd name="connsiteY33" fmla="*/ 940594 h 1145381"/>
                        <a:gd name="connsiteX34" fmla="*/ 1295400 w 1721644"/>
                        <a:gd name="connsiteY34" fmla="*/ 931069 h 1145381"/>
                        <a:gd name="connsiteX35" fmla="*/ 1307307 w 1721644"/>
                        <a:gd name="connsiteY35" fmla="*/ 983456 h 1145381"/>
                        <a:gd name="connsiteX36" fmla="*/ 1295400 w 1721644"/>
                        <a:gd name="connsiteY36" fmla="*/ 1021556 h 1145381"/>
                        <a:gd name="connsiteX37" fmla="*/ 1376363 w 1721644"/>
                        <a:gd name="connsiteY37" fmla="*/ 1040606 h 1145381"/>
                        <a:gd name="connsiteX38" fmla="*/ 1471613 w 1721644"/>
                        <a:gd name="connsiteY38" fmla="*/ 942975 h 1145381"/>
                        <a:gd name="connsiteX39" fmla="*/ 1497807 w 1721644"/>
                        <a:gd name="connsiteY39" fmla="*/ 890587 h 1145381"/>
                        <a:gd name="connsiteX40" fmla="*/ 1566863 w 1721644"/>
                        <a:gd name="connsiteY40" fmla="*/ 854869 h 1145381"/>
                        <a:gd name="connsiteX41" fmla="*/ 1616869 w 1721644"/>
                        <a:gd name="connsiteY41" fmla="*/ 800100 h 1145381"/>
                        <a:gd name="connsiteX42" fmla="*/ 1676400 w 1721644"/>
                        <a:gd name="connsiteY42" fmla="*/ 788194 h 1145381"/>
                        <a:gd name="connsiteX43" fmla="*/ 1712119 w 1721644"/>
                        <a:gd name="connsiteY43" fmla="*/ 762000 h 1145381"/>
                        <a:gd name="connsiteX44" fmla="*/ 1714500 w 1721644"/>
                        <a:gd name="connsiteY44" fmla="*/ 740569 h 1145381"/>
                        <a:gd name="connsiteX45" fmla="*/ 1678782 w 1721644"/>
                        <a:gd name="connsiteY45" fmla="*/ 711994 h 1145381"/>
                        <a:gd name="connsiteX46" fmla="*/ 1721644 w 1721644"/>
                        <a:gd name="connsiteY46" fmla="*/ 642937 h 1145381"/>
                        <a:gd name="connsiteX47" fmla="*/ 1700213 w 1721644"/>
                        <a:gd name="connsiteY47" fmla="*/ 585787 h 1145381"/>
                        <a:gd name="connsiteX48" fmla="*/ 1714500 w 1721644"/>
                        <a:gd name="connsiteY48" fmla="*/ 523875 h 1145381"/>
                        <a:gd name="connsiteX49" fmla="*/ 1721644 w 1721644"/>
                        <a:gd name="connsiteY49" fmla="*/ 473869 h 1145381"/>
                        <a:gd name="connsiteX50" fmla="*/ 1714500 w 1721644"/>
                        <a:gd name="connsiteY50" fmla="*/ 359569 h 1145381"/>
                        <a:gd name="connsiteX51" fmla="*/ 1702594 w 1721644"/>
                        <a:gd name="connsiteY51" fmla="*/ 314325 h 1145381"/>
                        <a:gd name="connsiteX52" fmla="*/ 1671638 w 1721644"/>
                        <a:gd name="connsiteY52" fmla="*/ 276225 h 1145381"/>
                        <a:gd name="connsiteX53" fmla="*/ 1626394 w 1721644"/>
                        <a:gd name="connsiteY53" fmla="*/ 273844 h 1145381"/>
                        <a:gd name="connsiteX54" fmla="*/ 1521619 w 1721644"/>
                        <a:gd name="connsiteY54" fmla="*/ 259556 h 1145381"/>
                        <a:gd name="connsiteX55" fmla="*/ 1488282 w 1721644"/>
                        <a:gd name="connsiteY55" fmla="*/ 250031 h 1145381"/>
                        <a:gd name="connsiteX56" fmla="*/ 1473994 w 1721644"/>
                        <a:gd name="connsiteY56" fmla="*/ 183356 h 1145381"/>
                        <a:gd name="connsiteX57" fmla="*/ 1388269 w 1721644"/>
                        <a:gd name="connsiteY57" fmla="*/ 207169 h 1145381"/>
                        <a:gd name="connsiteX58" fmla="*/ 1331119 w 1721644"/>
                        <a:gd name="connsiteY58" fmla="*/ 223837 h 1145381"/>
                        <a:gd name="connsiteX59" fmla="*/ 1295400 w 1721644"/>
                        <a:gd name="connsiteY59" fmla="*/ 202406 h 1145381"/>
                        <a:gd name="connsiteX60" fmla="*/ 1214438 w 1721644"/>
                        <a:gd name="connsiteY60" fmla="*/ 111919 h 1145381"/>
                        <a:gd name="connsiteX61" fmla="*/ 1164432 w 1721644"/>
                        <a:gd name="connsiteY61" fmla="*/ 121444 h 1145381"/>
                        <a:gd name="connsiteX62" fmla="*/ 1083469 w 1721644"/>
                        <a:gd name="connsiteY62" fmla="*/ 100012 h 1145381"/>
                        <a:gd name="connsiteX63" fmla="*/ 1050132 w 1721644"/>
                        <a:gd name="connsiteY63" fmla="*/ 83344 h 1145381"/>
                        <a:gd name="connsiteX64" fmla="*/ 995363 w 1721644"/>
                        <a:gd name="connsiteY64" fmla="*/ 135731 h 1145381"/>
                        <a:gd name="connsiteX65" fmla="*/ 966788 w 1721644"/>
                        <a:gd name="connsiteY65" fmla="*/ 107156 h 1145381"/>
                        <a:gd name="connsiteX66" fmla="*/ 940594 w 1721644"/>
                        <a:gd name="connsiteY66" fmla="*/ 76200 h 1145381"/>
                        <a:gd name="connsiteX67" fmla="*/ 895350 w 1721644"/>
                        <a:gd name="connsiteY67" fmla="*/ 59531 h 1145381"/>
                        <a:gd name="connsiteX68" fmla="*/ 897732 w 1721644"/>
                        <a:gd name="connsiteY68" fmla="*/ 14287 h 1145381"/>
                        <a:gd name="connsiteX69" fmla="*/ 862013 w 1721644"/>
                        <a:gd name="connsiteY69" fmla="*/ 0 h 1145381"/>
                        <a:gd name="connsiteX70" fmla="*/ 814388 w 1721644"/>
                        <a:gd name="connsiteY70" fmla="*/ 4762 h 1145381"/>
                        <a:gd name="connsiteX71" fmla="*/ 800100 w 1721644"/>
                        <a:gd name="connsiteY71" fmla="*/ 23812 h 1145381"/>
                        <a:gd name="connsiteX72" fmla="*/ 735807 w 1721644"/>
                        <a:gd name="connsiteY72" fmla="*/ 14287 h 1145381"/>
                        <a:gd name="connsiteX73" fmla="*/ 676275 w 1721644"/>
                        <a:gd name="connsiteY73" fmla="*/ 52387 h 1145381"/>
                        <a:gd name="connsiteX74" fmla="*/ 635794 w 1721644"/>
                        <a:gd name="connsiteY74" fmla="*/ 85725 h 1145381"/>
                        <a:gd name="connsiteX75" fmla="*/ 661988 w 1721644"/>
                        <a:gd name="connsiteY75" fmla="*/ 159544 h 1145381"/>
                        <a:gd name="connsiteX76" fmla="*/ 685800 w 1721644"/>
                        <a:gd name="connsiteY76" fmla="*/ 254794 h 1145381"/>
                        <a:gd name="connsiteX77" fmla="*/ 681038 w 1721644"/>
                        <a:gd name="connsiteY77" fmla="*/ 266700 h 1145381"/>
                        <a:gd name="connsiteX78" fmla="*/ 478632 w 1721644"/>
                        <a:gd name="connsiteY78" fmla="*/ 428625 h 1145381"/>
                        <a:gd name="connsiteX79" fmla="*/ 414338 w 1721644"/>
                        <a:gd name="connsiteY79" fmla="*/ 376237 h 1145381"/>
                        <a:gd name="connsiteX80" fmla="*/ 371475 w 1721644"/>
                        <a:gd name="connsiteY80" fmla="*/ 433387 h 1145381"/>
                        <a:gd name="connsiteX81" fmla="*/ 152400 w 1721644"/>
                        <a:gd name="connsiteY81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247651 w 1721644"/>
                        <a:gd name="connsiteY10" fmla="*/ 940594 h 1145381"/>
                        <a:gd name="connsiteX11" fmla="*/ 307182 w 1721644"/>
                        <a:gd name="connsiteY11" fmla="*/ 933450 h 1145381"/>
                        <a:gd name="connsiteX12" fmla="*/ 321469 w 1721644"/>
                        <a:gd name="connsiteY12" fmla="*/ 976312 h 1145381"/>
                        <a:gd name="connsiteX13" fmla="*/ 347663 w 1721644"/>
                        <a:gd name="connsiteY13" fmla="*/ 1000125 h 1145381"/>
                        <a:gd name="connsiteX14" fmla="*/ 376238 w 1721644"/>
                        <a:gd name="connsiteY14" fmla="*/ 1028700 h 1145381"/>
                        <a:gd name="connsiteX15" fmla="*/ 438150 w 1721644"/>
                        <a:gd name="connsiteY15" fmla="*/ 1050131 h 1145381"/>
                        <a:gd name="connsiteX16" fmla="*/ 542925 w 1721644"/>
                        <a:gd name="connsiteY16" fmla="*/ 1035844 h 1145381"/>
                        <a:gd name="connsiteX17" fmla="*/ 557213 w 1721644"/>
                        <a:gd name="connsiteY17" fmla="*/ 1050131 h 1145381"/>
                        <a:gd name="connsiteX18" fmla="*/ 597694 w 1721644"/>
                        <a:gd name="connsiteY18" fmla="*/ 1014412 h 1145381"/>
                        <a:gd name="connsiteX19" fmla="*/ 621507 w 1721644"/>
                        <a:gd name="connsiteY19" fmla="*/ 990600 h 1145381"/>
                        <a:gd name="connsiteX20" fmla="*/ 633413 w 1721644"/>
                        <a:gd name="connsiteY20" fmla="*/ 954881 h 1145381"/>
                        <a:gd name="connsiteX21" fmla="*/ 671513 w 1721644"/>
                        <a:gd name="connsiteY21" fmla="*/ 940594 h 1145381"/>
                        <a:gd name="connsiteX22" fmla="*/ 711994 w 1721644"/>
                        <a:gd name="connsiteY22" fmla="*/ 969169 h 1145381"/>
                        <a:gd name="connsiteX23" fmla="*/ 728663 w 1721644"/>
                        <a:gd name="connsiteY23" fmla="*/ 1004887 h 1145381"/>
                        <a:gd name="connsiteX24" fmla="*/ 762000 w 1721644"/>
                        <a:gd name="connsiteY24" fmla="*/ 1038225 h 1145381"/>
                        <a:gd name="connsiteX25" fmla="*/ 835819 w 1721644"/>
                        <a:gd name="connsiteY25" fmla="*/ 1035844 h 1145381"/>
                        <a:gd name="connsiteX26" fmla="*/ 871538 w 1721644"/>
                        <a:gd name="connsiteY26" fmla="*/ 1071562 h 1145381"/>
                        <a:gd name="connsiteX27" fmla="*/ 883444 w 1721644"/>
                        <a:gd name="connsiteY27" fmla="*/ 1131094 h 1145381"/>
                        <a:gd name="connsiteX28" fmla="*/ 916782 w 1721644"/>
                        <a:gd name="connsiteY28" fmla="*/ 1116806 h 1145381"/>
                        <a:gd name="connsiteX29" fmla="*/ 990600 w 1721644"/>
                        <a:gd name="connsiteY29" fmla="*/ 1131094 h 1145381"/>
                        <a:gd name="connsiteX30" fmla="*/ 1047750 w 1721644"/>
                        <a:gd name="connsiteY30" fmla="*/ 1145381 h 1145381"/>
                        <a:gd name="connsiteX31" fmla="*/ 1095375 w 1721644"/>
                        <a:gd name="connsiteY31" fmla="*/ 1128712 h 1145381"/>
                        <a:gd name="connsiteX32" fmla="*/ 1114425 w 1721644"/>
                        <a:gd name="connsiteY32" fmla="*/ 1045369 h 1145381"/>
                        <a:gd name="connsiteX33" fmla="*/ 1254919 w 1721644"/>
                        <a:gd name="connsiteY33" fmla="*/ 940594 h 1145381"/>
                        <a:gd name="connsiteX34" fmla="*/ 1295400 w 1721644"/>
                        <a:gd name="connsiteY34" fmla="*/ 931069 h 1145381"/>
                        <a:gd name="connsiteX35" fmla="*/ 1307307 w 1721644"/>
                        <a:gd name="connsiteY35" fmla="*/ 983456 h 1145381"/>
                        <a:gd name="connsiteX36" fmla="*/ 1295400 w 1721644"/>
                        <a:gd name="connsiteY36" fmla="*/ 1021556 h 1145381"/>
                        <a:gd name="connsiteX37" fmla="*/ 1376363 w 1721644"/>
                        <a:gd name="connsiteY37" fmla="*/ 1040606 h 1145381"/>
                        <a:gd name="connsiteX38" fmla="*/ 1471613 w 1721644"/>
                        <a:gd name="connsiteY38" fmla="*/ 942975 h 1145381"/>
                        <a:gd name="connsiteX39" fmla="*/ 1497807 w 1721644"/>
                        <a:gd name="connsiteY39" fmla="*/ 890587 h 1145381"/>
                        <a:gd name="connsiteX40" fmla="*/ 1566863 w 1721644"/>
                        <a:gd name="connsiteY40" fmla="*/ 854869 h 1145381"/>
                        <a:gd name="connsiteX41" fmla="*/ 1616869 w 1721644"/>
                        <a:gd name="connsiteY41" fmla="*/ 800100 h 1145381"/>
                        <a:gd name="connsiteX42" fmla="*/ 1676400 w 1721644"/>
                        <a:gd name="connsiteY42" fmla="*/ 788194 h 1145381"/>
                        <a:gd name="connsiteX43" fmla="*/ 1712119 w 1721644"/>
                        <a:gd name="connsiteY43" fmla="*/ 762000 h 1145381"/>
                        <a:gd name="connsiteX44" fmla="*/ 1714500 w 1721644"/>
                        <a:gd name="connsiteY44" fmla="*/ 740569 h 1145381"/>
                        <a:gd name="connsiteX45" fmla="*/ 1678782 w 1721644"/>
                        <a:gd name="connsiteY45" fmla="*/ 711994 h 1145381"/>
                        <a:gd name="connsiteX46" fmla="*/ 1721644 w 1721644"/>
                        <a:gd name="connsiteY46" fmla="*/ 642937 h 1145381"/>
                        <a:gd name="connsiteX47" fmla="*/ 1700213 w 1721644"/>
                        <a:gd name="connsiteY47" fmla="*/ 585787 h 1145381"/>
                        <a:gd name="connsiteX48" fmla="*/ 1714500 w 1721644"/>
                        <a:gd name="connsiteY48" fmla="*/ 523875 h 1145381"/>
                        <a:gd name="connsiteX49" fmla="*/ 1721644 w 1721644"/>
                        <a:gd name="connsiteY49" fmla="*/ 473869 h 1145381"/>
                        <a:gd name="connsiteX50" fmla="*/ 1714500 w 1721644"/>
                        <a:gd name="connsiteY50" fmla="*/ 359569 h 1145381"/>
                        <a:gd name="connsiteX51" fmla="*/ 1702594 w 1721644"/>
                        <a:gd name="connsiteY51" fmla="*/ 314325 h 1145381"/>
                        <a:gd name="connsiteX52" fmla="*/ 1671638 w 1721644"/>
                        <a:gd name="connsiteY52" fmla="*/ 276225 h 1145381"/>
                        <a:gd name="connsiteX53" fmla="*/ 1626394 w 1721644"/>
                        <a:gd name="connsiteY53" fmla="*/ 273844 h 1145381"/>
                        <a:gd name="connsiteX54" fmla="*/ 1521619 w 1721644"/>
                        <a:gd name="connsiteY54" fmla="*/ 259556 h 1145381"/>
                        <a:gd name="connsiteX55" fmla="*/ 1488282 w 1721644"/>
                        <a:gd name="connsiteY55" fmla="*/ 250031 h 1145381"/>
                        <a:gd name="connsiteX56" fmla="*/ 1473994 w 1721644"/>
                        <a:gd name="connsiteY56" fmla="*/ 183356 h 1145381"/>
                        <a:gd name="connsiteX57" fmla="*/ 1388269 w 1721644"/>
                        <a:gd name="connsiteY57" fmla="*/ 207169 h 1145381"/>
                        <a:gd name="connsiteX58" fmla="*/ 1331119 w 1721644"/>
                        <a:gd name="connsiteY58" fmla="*/ 223837 h 1145381"/>
                        <a:gd name="connsiteX59" fmla="*/ 1295400 w 1721644"/>
                        <a:gd name="connsiteY59" fmla="*/ 202406 h 1145381"/>
                        <a:gd name="connsiteX60" fmla="*/ 1214438 w 1721644"/>
                        <a:gd name="connsiteY60" fmla="*/ 111919 h 1145381"/>
                        <a:gd name="connsiteX61" fmla="*/ 1164432 w 1721644"/>
                        <a:gd name="connsiteY61" fmla="*/ 121444 h 1145381"/>
                        <a:gd name="connsiteX62" fmla="*/ 1083469 w 1721644"/>
                        <a:gd name="connsiteY62" fmla="*/ 100012 h 1145381"/>
                        <a:gd name="connsiteX63" fmla="*/ 1050132 w 1721644"/>
                        <a:gd name="connsiteY63" fmla="*/ 83344 h 1145381"/>
                        <a:gd name="connsiteX64" fmla="*/ 995363 w 1721644"/>
                        <a:gd name="connsiteY64" fmla="*/ 135731 h 1145381"/>
                        <a:gd name="connsiteX65" fmla="*/ 966788 w 1721644"/>
                        <a:gd name="connsiteY65" fmla="*/ 107156 h 1145381"/>
                        <a:gd name="connsiteX66" fmla="*/ 940594 w 1721644"/>
                        <a:gd name="connsiteY66" fmla="*/ 76200 h 1145381"/>
                        <a:gd name="connsiteX67" fmla="*/ 895350 w 1721644"/>
                        <a:gd name="connsiteY67" fmla="*/ 59531 h 1145381"/>
                        <a:gd name="connsiteX68" fmla="*/ 897732 w 1721644"/>
                        <a:gd name="connsiteY68" fmla="*/ 14287 h 1145381"/>
                        <a:gd name="connsiteX69" fmla="*/ 862013 w 1721644"/>
                        <a:gd name="connsiteY69" fmla="*/ 0 h 1145381"/>
                        <a:gd name="connsiteX70" fmla="*/ 814388 w 1721644"/>
                        <a:gd name="connsiteY70" fmla="*/ 4762 h 1145381"/>
                        <a:gd name="connsiteX71" fmla="*/ 800100 w 1721644"/>
                        <a:gd name="connsiteY71" fmla="*/ 23812 h 1145381"/>
                        <a:gd name="connsiteX72" fmla="*/ 735807 w 1721644"/>
                        <a:gd name="connsiteY72" fmla="*/ 14287 h 1145381"/>
                        <a:gd name="connsiteX73" fmla="*/ 676275 w 1721644"/>
                        <a:gd name="connsiteY73" fmla="*/ 52387 h 1145381"/>
                        <a:gd name="connsiteX74" fmla="*/ 635794 w 1721644"/>
                        <a:gd name="connsiteY74" fmla="*/ 85725 h 1145381"/>
                        <a:gd name="connsiteX75" fmla="*/ 661988 w 1721644"/>
                        <a:gd name="connsiteY75" fmla="*/ 159544 h 1145381"/>
                        <a:gd name="connsiteX76" fmla="*/ 685800 w 1721644"/>
                        <a:gd name="connsiteY76" fmla="*/ 254794 h 1145381"/>
                        <a:gd name="connsiteX77" fmla="*/ 681038 w 1721644"/>
                        <a:gd name="connsiteY77" fmla="*/ 266700 h 1145381"/>
                        <a:gd name="connsiteX78" fmla="*/ 478632 w 1721644"/>
                        <a:gd name="connsiteY78" fmla="*/ 428625 h 1145381"/>
                        <a:gd name="connsiteX79" fmla="*/ 414338 w 1721644"/>
                        <a:gd name="connsiteY79" fmla="*/ 376237 h 1145381"/>
                        <a:gd name="connsiteX80" fmla="*/ 371475 w 1721644"/>
                        <a:gd name="connsiteY80" fmla="*/ 433387 h 1145381"/>
                        <a:gd name="connsiteX81" fmla="*/ 152400 w 1721644"/>
                        <a:gd name="connsiteY81" fmla="*/ 431006 h 11453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</a:cxnLst>
                      <a:rect l="l" t="t" r="r" b="b"/>
                      <a:pathLst>
                        <a:path w="1721644" h="1145381">
                          <a:moveTo>
                            <a:pt x="152400" y="431006"/>
                          </a:moveTo>
                          <a:lnTo>
                            <a:pt x="109538" y="509587"/>
                          </a:lnTo>
                          <a:lnTo>
                            <a:pt x="83344" y="552450"/>
                          </a:lnTo>
                          <a:lnTo>
                            <a:pt x="0" y="654844"/>
                          </a:lnTo>
                          <a:lnTo>
                            <a:pt x="40482" y="695325"/>
                          </a:lnTo>
                          <a:cubicBezTo>
                            <a:pt x="49213" y="712391"/>
                            <a:pt x="44847" y="740171"/>
                            <a:pt x="45244" y="766762"/>
                          </a:cubicBezTo>
                          <a:cubicBezTo>
                            <a:pt x="45641" y="793353"/>
                            <a:pt x="41275" y="840581"/>
                            <a:pt x="54769" y="857250"/>
                          </a:cubicBezTo>
                          <a:lnTo>
                            <a:pt x="133350" y="857250"/>
                          </a:lnTo>
                          <a:lnTo>
                            <a:pt x="169070" y="881062"/>
                          </a:lnTo>
                          <a:lnTo>
                            <a:pt x="207169" y="938212"/>
                          </a:lnTo>
                          <a:lnTo>
                            <a:pt x="247651" y="940594"/>
                          </a:lnTo>
                          <a:lnTo>
                            <a:pt x="307182" y="933450"/>
                          </a:lnTo>
                          <a:lnTo>
                            <a:pt x="321469" y="976312"/>
                          </a:lnTo>
                          <a:lnTo>
                            <a:pt x="347663" y="1000125"/>
                          </a:lnTo>
                          <a:lnTo>
                            <a:pt x="376238" y="1028700"/>
                          </a:lnTo>
                          <a:lnTo>
                            <a:pt x="438150" y="1050131"/>
                          </a:lnTo>
                          <a:lnTo>
                            <a:pt x="542925" y="1035844"/>
                          </a:lnTo>
                          <a:lnTo>
                            <a:pt x="557213" y="1050131"/>
                          </a:lnTo>
                          <a:lnTo>
                            <a:pt x="597694" y="1014412"/>
                          </a:lnTo>
                          <a:lnTo>
                            <a:pt x="621507" y="990600"/>
                          </a:lnTo>
                          <a:lnTo>
                            <a:pt x="633413" y="954881"/>
                          </a:lnTo>
                          <a:lnTo>
                            <a:pt x="671513" y="940594"/>
                          </a:lnTo>
                          <a:lnTo>
                            <a:pt x="711994" y="969169"/>
                          </a:lnTo>
                          <a:lnTo>
                            <a:pt x="728663" y="1004887"/>
                          </a:lnTo>
                          <a:lnTo>
                            <a:pt x="762000" y="1038225"/>
                          </a:lnTo>
                          <a:lnTo>
                            <a:pt x="835819" y="1035844"/>
                          </a:lnTo>
                          <a:lnTo>
                            <a:pt x="871538" y="1071562"/>
                          </a:lnTo>
                          <a:lnTo>
                            <a:pt x="883444" y="1131094"/>
                          </a:lnTo>
                          <a:lnTo>
                            <a:pt x="916782" y="1116806"/>
                          </a:lnTo>
                          <a:lnTo>
                            <a:pt x="990600" y="1131094"/>
                          </a:lnTo>
                          <a:lnTo>
                            <a:pt x="1047750" y="1145381"/>
                          </a:lnTo>
                          <a:lnTo>
                            <a:pt x="1095375" y="1128712"/>
                          </a:lnTo>
                          <a:lnTo>
                            <a:pt x="1114425" y="1045369"/>
                          </a:lnTo>
                          <a:lnTo>
                            <a:pt x="1254919" y="940594"/>
                          </a:lnTo>
                          <a:lnTo>
                            <a:pt x="1295400" y="931069"/>
                          </a:lnTo>
                          <a:lnTo>
                            <a:pt x="1307307" y="983456"/>
                          </a:lnTo>
                          <a:lnTo>
                            <a:pt x="1295400" y="1021556"/>
                          </a:lnTo>
                          <a:lnTo>
                            <a:pt x="1376363" y="1040606"/>
                          </a:lnTo>
                          <a:lnTo>
                            <a:pt x="1471613" y="942975"/>
                          </a:lnTo>
                          <a:lnTo>
                            <a:pt x="1497807" y="890587"/>
                          </a:lnTo>
                          <a:lnTo>
                            <a:pt x="1566863" y="854869"/>
                          </a:lnTo>
                          <a:lnTo>
                            <a:pt x="1616869" y="800100"/>
                          </a:lnTo>
                          <a:lnTo>
                            <a:pt x="1676400" y="788194"/>
                          </a:lnTo>
                          <a:lnTo>
                            <a:pt x="1712119" y="762000"/>
                          </a:lnTo>
                          <a:lnTo>
                            <a:pt x="1714500" y="740569"/>
                          </a:lnTo>
                          <a:lnTo>
                            <a:pt x="1678782" y="711994"/>
                          </a:lnTo>
                          <a:lnTo>
                            <a:pt x="1721644" y="642937"/>
                          </a:lnTo>
                          <a:lnTo>
                            <a:pt x="1700213" y="585787"/>
                          </a:lnTo>
                          <a:lnTo>
                            <a:pt x="1714500" y="523875"/>
                          </a:lnTo>
                          <a:lnTo>
                            <a:pt x="1721644" y="473869"/>
                          </a:lnTo>
                          <a:lnTo>
                            <a:pt x="1714500" y="359569"/>
                          </a:lnTo>
                          <a:lnTo>
                            <a:pt x="1702594" y="314325"/>
                          </a:lnTo>
                          <a:lnTo>
                            <a:pt x="1671638" y="276225"/>
                          </a:lnTo>
                          <a:lnTo>
                            <a:pt x="1626394" y="273844"/>
                          </a:lnTo>
                          <a:lnTo>
                            <a:pt x="1521619" y="259556"/>
                          </a:lnTo>
                          <a:lnTo>
                            <a:pt x="1488282" y="250031"/>
                          </a:lnTo>
                          <a:lnTo>
                            <a:pt x="1473994" y="183356"/>
                          </a:lnTo>
                          <a:lnTo>
                            <a:pt x="1388269" y="207169"/>
                          </a:lnTo>
                          <a:lnTo>
                            <a:pt x="1331119" y="223837"/>
                          </a:lnTo>
                          <a:lnTo>
                            <a:pt x="1295400" y="202406"/>
                          </a:lnTo>
                          <a:lnTo>
                            <a:pt x="1214438" y="111919"/>
                          </a:lnTo>
                          <a:lnTo>
                            <a:pt x="1164432" y="121444"/>
                          </a:lnTo>
                          <a:lnTo>
                            <a:pt x="1083469" y="100012"/>
                          </a:lnTo>
                          <a:lnTo>
                            <a:pt x="1050132" y="83344"/>
                          </a:lnTo>
                          <a:lnTo>
                            <a:pt x="995363" y="135731"/>
                          </a:lnTo>
                          <a:lnTo>
                            <a:pt x="966788" y="107156"/>
                          </a:lnTo>
                          <a:lnTo>
                            <a:pt x="940594" y="76200"/>
                          </a:lnTo>
                          <a:lnTo>
                            <a:pt x="895350" y="59531"/>
                          </a:lnTo>
                          <a:lnTo>
                            <a:pt x="897732" y="14287"/>
                          </a:lnTo>
                          <a:lnTo>
                            <a:pt x="862013" y="0"/>
                          </a:lnTo>
                          <a:lnTo>
                            <a:pt x="814388" y="4762"/>
                          </a:lnTo>
                          <a:lnTo>
                            <a:pt x="800100" y="23812"/>
                          </a:lnTo>
                          <a:lnTo>
                            <a:pt x="735807" y="14287"/>
                          </a:lnTo>
                          <a:lnTo>
                            <a:pt x="676275" y="52387"/>
                          </a:lnTo>
                          <a:lnTo>
                            <a:pt x="635794" y="85725"/>
                          </a:lnTo>
                          <a:lnTo>
                            <a:pt x="661988" y="159544"/>
                          </a:lnTo>
                          <a:lnTo>
                            <a:pt x="685800" y="254794"/>
                          </a:lnTo>
                          <a:lnTo>
                            <a:pt x="681038" y="266700"/>
                          </a:lnTo>
                          <a:lnTo>
                            <a:pt x="478632" y="428625"/>
                          </a:lnTo>
                          <a:lnTo>
                            <a:pt x="414338" y="376237"/>
                          </a:lnTo>
                          <a:lnTo>
                            <a:pt x="371475" y="433387"/>
                          </a:lnTo>
                          <a:lnTo>
                            <a:pt x="152400" y="431006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/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29" name="Rectangle 18"/>
                    <p:cNvSpPr txBox="1">
                      <a:spLocks noChangeArrowheads="1"/>
                    </p:cNvSpPr>
                    <p:nvPr/>
                  </p:nvSpPr>
                  <p:spPr bwMode="auto">
                    <a:xfrm>
                      <a:off x="4251280" y="1772519"/>
                      <a:ext cx="684053" cy="98149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square" lIns="0" tIns="0" rIns="0" bIns="0">
                      <a:spAutoFit/>
                    </a:bodyPr>
                    <a:lstStyle>
                      <a:defPPr>
                        <a:defRPr lang="ru-RU"/>
                      </a:defPPr>
                      <a:lvl1pPr defTabSz="895529">
                        <a:lnSpc>
                          <a:spcPct val="100000"/>
                        </a:lnSpc>
                        <a:spcBef>
                          <a:spcPct val="0"/>
                        </a:spcBef>
                        <a:buClr>
                          <a:srgbClr val="44546A"/>
                        </a:buClr>
                        <a:buFont typeface="Arial" panose="020B0604020202020204" pitchFamily="34" charset="0"/>
                        <a:buNone/>
                        <a:defRPr sz="1100" kern="0"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193675" indent="-192088" defTabSz="8953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buChar char="•"/>
                        <a:defRPr sz="2400">
                          <a:latin typeface="Calibri" panose="020F0502020204030204" pitchFamily="34" charset="0"/>
                        </a:defRPr>
                      </a:lvl2pPr>
                      <a:lvl3pPr marL="457200" indent="-261938" defTabSz="8953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3pPr>
                      <a:lvl4pPr marL="614363" indent="-155575" defTabSz="8953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4pPr>
                      <a:lvl5pPr marL="749300" indent="-130175" defTabSz="8953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5pPr>
                      <a:lvl6pPr marL="1206500" indent="-130175" defTabSz="895350"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6pPr>
                      <a:lvl7pPr marL="1663700" indent="-130175" defTabSz="895350"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7pPr>
                      <a:lvl8pPr marL="2120900" indent="-130175" defTabSz="895350"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8pPr>
                      <a:lvl9pPr marL="2578100" indent="-130175" defTabSz="895350"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9pPr>
                    </a:lstStyle>
                    <a:p>
                      <a:pPr defTabSz="503710">
                        <a:defRPr/>
                      </a:pPr>
                      <a:r>
                        <a:rPr lang="ru-RU" altLang="ru-RU" sz="1000" b="1" dirty="0" err="1">
                          <a:solidFill>
                            <a:prstClr val="black"/>
                          </a:solidFill>
                          <a:latin typeface="+mn-lt"/>
                        </a:rPr>
                        <a:t>Нұр-Сұлтан</a:t>
                      </a:r>
                      <a:endParaRPr lang="en-US" altLang="ru-RU" sz="700" b="1" dirty="0">
                        <a:solidFill>
                          <a:prstClr val="black"/>
                        </a:solidFill>
                        <a:latin typeface="+mn-lt"/>
                      </a:endParaRPr>
                    </a:p>
                  </p:txBody>
                </p:sp>
                <p:sp>
                  <p:nvSpPr>
                    <p:cNvPr id="230" name="Овал 229"/>
                    <p:cNvSpPr/>
                    <p:nvPr/>
                  </p:nvSpPr>
                  <p:spPr>
                    <a:xfrm>
                      <a:off x="4779791" y="1767139"/>
                      <a:ext cx="88398" cy="78287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12700" cap="flat" cmpd="sng" algn="ctr">
                      <a:solidFill>
                        <a:srgbClr val="5B9BD5">
                          <a:shade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</p:grpSp>
              <p:sp>
                <p:nvSpPr>
                  <p:cNvPr id="198" name="Овал 197"/>
                  <p:cNvSpPr/>
                  <p:nvPr/>
                </p:nvSpPr>
                <p:spPr bwMode="auto">
                  <a:xfrm>
                    <a:off x="6632886" y="3370662"/>
                    <a:ext cx="98336" cy="92816"/>
                  </a:xfrm>
                  <a:prstGeom prst="ellipse">
                    <a:avLst/>
                  </a:prstGeom>
                  <a:solidFill>
                    <a:schemeClr val="accent3">
                      <a:lumMod val="20000"/>
                      <a:lumOff val="80000"/>
                    </a:schemeClr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lIns="91439" tIns="45719" rIns="91439" bIns="45719" anchor="ctr"/>
                  <a:lstStyle/>
                  <a:p>
                    <a:pPr algn="ctr" defTabSz="514324">
                      <a:defRPr/>
                    </a:pPr>
                    <a:endParaRPr lang="ru-RU" sz="600" kern="0">
                      <a:solidFill>
                        <a:srgbClr val="A5A5A5">
                          <a:lumMod val="50000"/>
                        </a:srgbClr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99" name="Rectangle 18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679028" y="3479845"/>
                    <a:ext cx="767019" cy="136779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>
                    <a:spAutoFit/>
                  </a:bodyPr>
                  <a:lstStyle>
                    <a:defPPr>
                      <a:defRPr lang="ru-RU"/>
                    </a:defPPr>
                    <a:lvl1pPr defTabSz="895529">
                      <a:lnSpc>
                        <a:spcPct val="100000"/>
                      </a:lnSpc>
                      <a:spcBef>
                        <a:spcPct val="0"/>
                      </a:spcBef>
                      <a:buClr>
                        <a:srgbClr val="44546A"/>
                      </a:buClr>
                      <a:buFont typeface="Arial" panose="020B0604020202020204" pitchFamily="34" charset="0"/>
                      <a:buNone/>
                      <a:defRPr sz="1100" kern="0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193675" indent="-19208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latin typeface="Calibri" panose="020F0502020204030204" pitchFamily="34" charset="0"/>
                      </a:defRPr>
                    </a:lvl2pPr>
                    <a:lvl3pPr marL="457200" indent="-26193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3pPr>
                    <a:lvl4pPr marL="614363" indent="-1555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4pPr>
                    <a:lvl5pPr marL="749300" indent="-1301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5pPr>
                    <a:lvl6pPr marL="12065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6pPr>
                    <a:lvl7pPr marL="16637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7pPr>
                    <a:lvl8pPr marL="21209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8pPr>
                    <a:lvl9pPr marL="25781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9pPr>
                  </a:lstStyle>
                  <a:p>
                    <a:pPr defTabSz="503710">
                      <a:defRPr/>
                    </a:pPr>
                    <a:r>
                      <a:rPr lang="ru-RU" altLang="ru-RU" sz="1000" b="1" dirty="0">
                        <a:solidFill>
                          <a:prstClr val="black"/>
                        </a:solidFill>
                        <a:latin typeface="+mn-lt"/>
                      </a:rPr>
                      <a:t>Семей</a:t>
                    </a:r>
                    <a:endParaRPr lang="en-US" altLang="ru-RU" sz="1000" b="1" dirty="0">
                      <a:solidFill>
                        <a:prstClr val="black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200" name="Овал 199"/>
                  <p:cNvSpPr/>
                  <p:nvPr/>
                </p:nvSpPr>
                <p:spPr bwMode="auto">
                  <a:xfrm>
                    <a:off x="6337878" y="2083063"/>
                    <a:ext cx="98335" cy="92814"/>
                  </a:xfrm>
                  <a:prstGeom prst="ellipse">
                    <a:avLst/>
                  </a:prstGeom>
                  <a:solidFill>
                    <a:schemeClr val="accent3">
                      <a:lumMod val="20000"/>
                      <a:lumOff val="80000"/>
                    </a:schemeClr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lIns="91439" tIns="45719" rIns="91439" bIns="45719" anchor="ctr"/>
                  <a:lstStyle/>
                  <a:p>
                    <a:pPr algn="ctr" defTabSz="514324">
                      <a:defRPr/>
                    </a:pPr>
                    <a:endParaRPr lang="ru-RU" sz="600" kern="0">
                      <a:solidFill>
                        <a:srgbClr val="A5A5A5">
                          <a:lumMod val="50000"/>
                        </a:srgbClr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1" name="Rectangle 18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6492063" y="2057499"/>
                    <a:ext cx="431961" cy="95746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square" lIns="0" tIns="0" rIns="0" bIns="0">
                    <a:spAutoFit/>
                  </a:bodyPr>
                  <a:lstStyle>
                    <a:defPPr>
                      <a:defRPr lang="ru-RU"/>
                    </a:defPPr>
                    <a:lvl1pPr defTabSz="895529">
                      <a:lnSpc>
                        <a:spcPct val="100000"/>
                      </a:lnSpc>
                      <a:spcBef>
                        <a:spcPct val="0"/>
                      </a:spcBef>
                      <a:buClr>
                        <a:srgbClr val="44546A"/>
                      </a:buClr>
                      <a:buFont typeface="Arial" panose="020B0604020202020204" pitchFamily="34" charset="0"/>
                      <a:buNone/>
                      <a:defRPr sz="1100" kern="0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193675" indent="-19208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latin typeface="Calibri" panose="020F0502020204030204" pitchFamily="34" charset="0"/>
                      </a:defRPr>
                    </a:lvl2pPr>
                    <a:lvl3pPr marL="457200" indent="-26193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3pPr>
                    <a:lvl4pPr marL="614363" indent="-1555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4pPr>
                    <a:lvl5pPr marL="749300" indent="-1301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5pPr>
                    <a:lvl6pPr marL="12065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6pPr>
                    <a:lvl7pPr marL="16637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7pPr>
                    <a:lvl8pPr marL="21209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8pPr>
                    <a:lvl9pPr marL="25781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9pPr>
                  </a:lstStyle>
                  <a:p>
                    <a:pPr defTabSz="503710">
                      <a:defRPr/>
                    </a:pPr>
                    <a:r>
                      <a:rPr lang="ru-RU" altLang="ru-RU" sz="700" b="1" dirty="0" err="1">
                        <a:solidFill>
                          <a:prstClr val="black"/>
                        </a:solidFill>
                        <a:latin typeface="+mn-lt"/>
                      </a:rPr>
                      <a:t>Новосібір</a:t>
                    </a:r>
                    <a:endParaRPr lang="en-US" altLang="ru-RU" sz="500" b="1" dirty="0">
                      <a:solidFill>
                        <a:prstClr val="black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202" name="Rectangle 18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6543988" y="2461994"/>
                    <a:ext cx="817080" cy="95746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>
                    <a:spAutoFit/>
                  </a:bodyPr>
                  <a:lstStyle>
                    <a:defPPr>
                      <a:defRPr lang="ru-RU"/>
                    </a:defPPr>
                    <a:lvl1pPr defTabSz="895529">
                      <a:lnSpc>
                        <a:spcPct val="100000"/>
                      </a:lnSpc>
                      <a:spcBef>
                        <a:spcPct val="0"/>
                      </a:spcBef>
                      <a:buClr>
                        <a:srgbClr val="44546A"/>
                      </a:buClr>
                      <a:buFont typeface="Arial" panose="020B0604020202020204" pitchFamily="34" charset="0"/>
                      <a:buNone/>
                      <a:defRPr sz="1100" kern="0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193675" indent="-19208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latin typeface="Calibri" panose="020F0502020204030204" pitchFamily="34" charset="0"/>
                      </a:defRPr>
                    </a:lvl2pPr>
                    <a:lvl3pPr marL="457200" indent="-26193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3pPr>
                    <a:lvl4pPr marL="614363" indent="-1555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4pPr>
                    <a:lvl5pPr marL="749300" indent="-1301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5pPr>
                    <a:lvl6pPr marL="12065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6pPr>
                    <a:lvl7pPr marL="16637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7pPr>
                    <a:lvl8pPr marL="21209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8pPr>
                    <a:lvl9pPr marL="25781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9pPr>
                  </a:lstStyle>
                  <a:p>
                    <a:pPr defTabSz="503710">
                      <a:defRPr/>
                    </a:pPr>
                    <a:r>
                      <a:rPr lang="ru-RU" altLang="ru-RU" sz="700" b="1" dirty="0" err="1">
                        <a:solidFill>
                          <a:prstClr val="black"/>
                        </a:solidFill>
                        <a:latin typeface="+mn-lt"/>
                      </a:rPr>
                      <a:t>Барнауыл</a:t>
                    </a:r>
                    <a:endParaRPr lang="en-US" altLang="ru-RU" sz="500" b="1" dirty="0">
                      <a:solidFill>
                        <a:prstClr val="black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203" name="Овал 202"/>
                  <p:cNvSpPr/>
                  <p:nvPr/>
                </p:nvSpPr>
                <p:spPr bwMode="auto">
                  <a:xfrm>
                    <a:off x="6420122" y="2462762"/>
                    <a:ext cx="98335" cy="94503"/>
                  </a:xfrm>
                  <a:prstGeom prst="ellipse">
                    <a:avLst/>
                  </a:prstGeom>
                  <a:solidFill>
                    <a:srgbClr val="FFFF00"/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lIns="91439" tIns="45719" rIns="91439" bIns="45719" anchor="ctr"/>
                  <a:lstStyle/>
                  <a:p>
                    <a:pPr algn="ctr" defTabSz="514324">
                      <a:defRPr/>
                    </a:pPr>
                    <a:endParaRPr lang="ru-RU" sz="600" kern="0">
                      <a:solidFill>
                        <a:srgbClr val="A5A5A5">
                          <a:lumMod val="50000"/>
                        </a:srgbClr>
                      </a:solidFill>
                      <a:cs typeface="Arial" panose="020B0604020202020204" pitchFamily="34" charset="0"/>
                    </a:endParaRPr>
                  </a:p>
                </p:txBody>
              </p:sp>
              <p:cxnSp>
                <p:nvCxnSpPr>
                  <p:cNvPr id="204" name="Прямая соединительная линия 203"/>
                  <p:cNvCxnSpPr>
                    <a:stCxn id="203" idx="4"/>
                    <a:endCxn id="208" idx="1"/>
                  </p:cNvCxnSpPr>
                  <p:nvPr/>
                </p:nvCxnSpPr>
                <p:spPr>
                  <a:xfrm flipH="1">
                    <a:off x="6201872" y="2557265"/>
                    <a:ext cx="267417" cy="529565"/>
                  </a:xfrm>
                  <a:prstGeom prst="line">
                    <a:avLst/>
                  </a:prstGeom>
                  <a:ln w="31750">
                    <a:solidFill>
                      <a:srgbClr val="FF0000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05" name="Овал 204"/>
                  <p:cNvSpPr/>
                  <p:nvPr/>
                </p:nvSpPr>
                <p:spPr bwMode="auto">
                  <a:xfrm>
                    <a:off x="5974931" y="3419599"/>
                    <a:ext cx="100123" cy="92814"/>
                  </a:xfrm>
                  <a:prstGeom prst="ellipse">
                    <a:avLst/>
                  </a:prstGeom>
                  <a:solidFill>
                    <a:schemeClr val="accent3">
                      <a:lumMod val="20000"/>
                      <a:lumOff val="80000"/>
                    </a:schemeClr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lIns="91439" tIns="45719" rIns="91439" bIns="45719" anchor="ctr"/>
                  <a:lstStyle/>
                  <a:p>
                    <a:pPr algn="ctr" defTabSz="514324">
                      <a:defRPr/>
                    </a:pPr>
                    <a:endParaRPr lang="ru-RU" sz="600" kern="0">
                      <a:solidFill>
                        <a:srgbClr val="A5A5A5">
                          <a:lumMod val="50000"/>
                        </a:srgbClr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6" name="TextBox 205"/>
                  <p:cNvSpPr txBox="1"/>
                  <p:nvPr/>
                </p:nvSpPr>
                <p:spPr>
                  <a:xfrm>
                    <a:off x="4225779" y="1740457"/>
                    <a:ext cx="3135288" cy="232523"/>
                  </a:xfrm>
                  <a:prstGeom prst="rect">
                    <a:avLst/>
                  </a:prstGeom>
                  <a:noFill/>
                </p:spPr>
                <p:txBody>
                  <a:bodyPr wrap="square" lIns="91439" tIns="45719" rIns="91439" bIns="45719">
                    <a:spAutoFit/>
                  </a:bodyPr>
                  <a:lstStyle/>
                  <a:p>
                    <a:pPr defTabSz="514324">
                      <a:defRPr/>
                    </a:pPr>
                    <a:r>
                      <a:rPr lang="ru-RU" sz="11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cs typeface="Arial" panose="020B0604020202020204" pitchFamily="34" charset="0"/>
                      </a:rPr>
                      <a:t>РЕСЕЙ ФЕДЕРАЦИЯСЫ</a:t>
                    </a:r>
                    <a:endParaRPr lang="ru-RU" sz="105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cs typeface="Arial" panose="020B0604020202020204" pitchFamily="34" charset="0"/>
                    </a:endParaRPr>
                  </a:p>
                </p:txBody>
              </p:sp>
              <p:cxnSp>
                <p:nvCxnSpPr>
                  <p:cNvPr id="207" name="Прямая соединительная линия 206"/>
                  <p:cNvCxnSpPr/>
                  <p:nvPr/>
                </p:nvCxnSpPr>
                <p:spPr>
                  <a:xfrm flipV="1">
                    <a:off x="6096510" y="3443946"/>
                    <a:ext cx="521200" cy="28962"/>
                  </a:xfrm>
                  <a:prstGeom prst="line">
                    <a:avLst/>
                  </a:prstGeom>
                  <a:ln w="31750">
                    <a:solidFill>
                      <a:schemeClr val="accent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08" name="TextBox 207"/>
                  <p:cNvSpPr txBox="1"/>
                  <p:nvPr/>
                </p:nvSpPr>
                <p:spPr>
                  <a:xfrm>
                    <a:off x="6201872" y="2997924"/>
                    <a:ext cx="642931" cy="177812"/>
                  </a:xfrm>
                  <a:prstGeom prst="rect">
                    <a:avLst/>
                  </a:prstGeom>
                  <a:noFill/>
                </p:spPr>
                <p:txBody>
                  <a:bodyPr wrap="square" lIns="91439" tIns="45719" rIns="91439" bIns="45719" rtlCol="0">
                    <a:spAutoFit/>
                  </a:bodyPr>
                  <a:lstStyle/>
                  <a:p>
                    <a:r>
                      <a:rPr lang="ru-RU" sz="700" b="1" dirty="0">
                        <a:cs typeface="Arial" panose="020B0604020202020204" pitchFamily="34" charset="0"/>
                      </a:rPr>
                      <a:t>Веселоярск</a:t>
                    </a:r>
                  </a:p>
                </p:txBody>
              </p:sp>
              <p:sp>
                <p:nvSpPr>
                  <p:cNvPr id="209" name="TextBox 208"/>
                  <p:cNvSpPr txBox="1"/>
                  <p:nvPr/>
                </p:nvSpPr>
                <p:spPr>
                  <a:xfrm>
                    <a:off x="6693405" y="3195695"/>
                    <a:ext cx="1303394" cy="225685"/>
                  </a:xfrm>
                  <a:prstGeom prst="rect">
                    <a:avLst/>
                  </a:prstGeom>
                  <a:noFill/>
                </p:spPr>
                <p:txBody>
                  <a:bodyPr wrap="square" lIns="91439" tIns="45719" rIns="91439" bIns="45719" rtlCol="0">
                    <a:spAutoFit/>
                  </a:bodyPr>
                  <a:lstStyle/>
                  <a:p>
                    <a:r>
                      <a:rPr lang="ru-RU" sz="1000" b="1" dirty="0" err="1">
                        <a:cs typeface="Arial" panose="020B0604020202020204" pitchFamily="34" charset="0"/>
                      </a:rPr>
                      <a:t>Өскемен</a:t>
                    </a:r>
                    <a:endParaRPr lang="ru-RU" sz="1000" b="1" dirty="0">
                      <a:cs typeface="Arial" panose="020B0604020202020204" pitchFamily="34" charset="0"/>
                    </a:endParaRPr>
                  </a:p>
                </p:txBody>
              </p:sp>
              <p:cxnSp>
                <p:nvCxnSpPr>
                  <p:cNvPr id="210" name="Прямая соединительная линия 209"/>
                  <p:cNvCxnSpPr/>
                  <p:nvPr/>
                </p:nvCxnSpPr>
                <p:spPr>
                  <a:xfrm>
                    <a:off x="5347864" y="3255919"/>
                    <a:ext cx="606760" cy="203085"/>
                  </a:xfrm>
                  <a:prstGeom prst="line">
                    <a:avLst/>
                  </a:prstGeom>
                  <a:ln w="28575">
                    <a:solidFill>
                      <a:schemeClr val="accent1">
                        <a:lumMod val="50000"/>
                      </a:schemeClr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11" name="Овал 210"/>
                  <p:cNvSpPr/>
                  <p:nvPr/>
                </p:nvSpPr>
                <p:spPr bwMode="auto">
                  <a:xfrm>
                    <a:off x="5240808" y="3175288"/>
                    <a:ext cx="87313" cy="88900"/>
                  </a:xfrm>
                  <a:prstGeom prst="ellipse">
                    <a:avLst/>
                  </a:prstGeom>
                  <a:solidFill>
                    <a:schemeClr val="accent3">
                      <a:lumMod val="20000"/>
                      <a:lumOff val="80000"/>
                    </a:schemeClr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lIns="91439" tIns="45719" rIns="91439" bIns="45719" anchor="ctr"/>
                  <a:lstStyle/>
                  <a:p>
                    <a:pPr algn="ctr" defTabSz="514324">
                      <a:defRPr/>
                    </a:pPr>
                    <a:endParaRPr lang="ru-RU" sz="600" kern="0">
                      <a:solidFill>
                        <a:srgbClr val="A5A5A5">
                          <a:lumMod val="50000"/>
                        </a:srgbClr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12" name="Rectangle 18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4987178" y="3046101"/>
                    <a:ext cx="530881" cy="136779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>
                    <a:spAutoFit/>
                  </a:bodyPr>
                  <a:lstStyle>
                    <a:defPPr>
                      <a:defRPr lang="ru-RU"/>
                    </a:defPPr>
                    <a:lvl1pPr defTabSz="895529">
                      <a:lnSpc>
                        <a:spcPct val="100000"/>
                      </a:lnSpc>
                      <a:spcBef>
                        <a:spcPct val="0"/>
                      </a:spcBef>
                      <a:buClr>
                        <a:srgbClr val="44546A"/>
                      </a:buClr>
                      <a:buFont typeface="Arial" panose="020B0604020202020204" pitchFamily="34" charset="0"/>
                      <a:buNone/>
                      <a:defRPr sz="1100" kern="0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193675" indent="-19208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latin typeface="Calibri" panose="020F0502020204030204" pitchFamily="34" charset="0"/>
                      </a:defRPr>
                    </a:lvl2pPr>
                    <a:lvl3pPr marL="457200" indent="-26193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3pPr>
                    <a:lvl4pPr marL="614363" indent="-1555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4pPr>
                    <a:lvl5pPr marL="749300" indent="-1301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5pPr>
                    <a:lvl6pPr marL="12065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6pPr>
                    <a:lvl7pPr marL="16637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7pPr>
                    <a:lvl8pPr marL="21209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8pPr>
                    <a:lvl9pPr marL="25781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9pPr>
                  </a:lstStyle>
                  <a:p>
                    <a:pPr defTabSz="503710">
                      <a:defRPr/>
                    </a:pPr>
                    <a:r>
                      <a:rPr lang="ru-RU" altLang="ru-RU" sz="1000" b="1" dirty="0">
                        <a:solidFill>
                          <a:prstClr val="black"/>
                        </a:solidFill>
                        <a:latin typeface="+mn-lt"/>
                      </a:rPr>
                      <a:t>Павлодар</a:t>
                    </a:r>
                    <a:endParaRPr lang="en-US" altLang="ru-RU" sz="1000" b="1" dirty="0">
                      <a:solidFill>
                        <a:prstClr val="black"/>
                      </a:solidFill>
                      <a:latin typeface="+mn-lt"/>
                    </a:endParaRPr>
                  </a:p>
                </p:txBody>
              </p:sp>
              <p:cxnSp>
                <p:nvCxnSpPr>
                  <p:cNvPr id="213" name="Прямая соединительная линия 212"/>
                  <p:cNvCxnSpPr/>
                  <p:nvPr/>
                </p:nvCxnSpPr>
                <p:spPr>
                  <a:xfrm>
                    <a:off x="5353737" y="3200382"/>
                    <a:ext cx="606760" cy="203085"/>
                  </a:xfrm>
                  <a:prstGeom prst="line">
                    <a:avLst/>
                  </a:prstGeom>
                  <a:ln w="31750">
                    <a:solidFill>
                      <a:srgbClr val="FF0000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4" name="Прямая соединительная линия 213"/>
                  <p:cNvCxnSpPr/>
                  <p:nvPr/>
                </p:nvCxnSpPr>
                <p:spPr>
                  <a:xfrm flipV="1">
                    <a:off x="6083445" y="3384417"/>
                    <a:ext cx="521200" cy="28962"/>
                  </a:xfrm>
                  <a:prstGeom prst="line">
                    <a:avLst/>
                  </a:prstGeom>
                  <a:ln w="31750">
                    <a:solidFill>
                      <a:srgbClr val="FF0000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91" name="Овал 190"/>
                <p:cNvSpPr/>
                <p:nvPr/>
              </p:nvSpPr>
              <p:spPr bwMode="auto">
                <a:xfrm>
                  <a:off x="7323147" y="1772685"/>
                  <a:ext cx="107549" cy="88072"/>
                </a:xfrm>
                <a:prstGeom prst="ellipse">
                  <a:avLst/>
                </a:prstGeom>
                <a:solidFill>
                  <a:schemeClr val="accent3">
                    <a:lumMod val="20000"/>
                    <a:lumOff val="80000"/>
                  </a:schemeClr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lIns="68579" tIns="34289" rIns="68579" bIns="34289" anchor="ctr"/>
                <a:lstStyle/>
                <a:p>
                  <a:pPr algn="ctr" defTabSz="514324">
                    <a:defRPr/>
                  </a:pPr>
                  <a:endParaRPr lang="ru-RU" sz="600" kern="0">
                    <a:solidFill>
                      <a:srgbClr val="A5A5A5">
                        <a:lumMod val="50000"/>
                      </a:srgbClr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92" name="Прямая соединительная линия 191"/>
                <p:cNvCxnSpPr/>
                <p:nvPr/>
              </p:nvCxnSpPr>
              <p:spPr>
                <a:xfrm flipV="1">
                  <a:off x="5673796" y="1967905"/>
                  <a:ext cx="641067" cy="441560"/>
                </a:xfrm>
                <a:prstGeom prst="line">
                  <a:avLst/>
                </a:prstGeom>
                <a:ln w="28575">
                  <a:solidFill>
                    <a:schemeClr val="accent1">
                      <a:lumMod val="50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3" name="Rectangle 18"/>
                <p:cNvSpPr txBox="1">
                  <a:spLocks noChangeArrowheads="1"/>
                </p:cNvSpPr>
                <p:nvPr/>
              </p:nvSpPr>
              <p:spPr bwMode="auto">
                <a:xfrm>
                  <a:off x="5750493" y="2397777"/>
                  <a:ext cx="580618" cy="12979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defPPr>
                    <a:defRPr lang="ru-RU"/>
                  </a:defPPr>
                  <a:lvl1pPr defTabSz="895529">
                    <a:lnSpc>
                      <a:spcPct val="100000"/>
                    </a:lnSpc>
                    <a:spcBef>
                      <a:spcPct val="0"/>
                    </a:spcBef>
                    <a:buClr>
                      <a:srgbClr val="44546A"/>
                    </a:buClr>
                    <a:buFont typeface="Arial" panose="020B0604020202020204" pitchFamily="34" charset="0"/>
                    <a:buNone/>
                    <a:defRPr sz="1100" kern="0"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193675" indent="-192088" defTabSz="8953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latin typeface="Calibri" panose="020F0502020204030204" pitchFamily="34" charset="0"/>
                    </a:defRPr>
                  </a:lvl2pPr>
                  <a:lvl3pPr marL="457200" indent="-261938" defTabSz="8953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3pPr>
                  <a:lvl4pPr marL="614363" indent="-155575" defTabSz="8953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4pPr>
                  <a:lvl5pPr marL="749300" indent="-130175" defTabSz="8953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5pPr>
                  <a:lvl6pPr marL="1206500" indent="-130175" defTabSz="895350" fontAlgn="base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6pPr>
                  <a:lvl7pPr marL="1663700" indent="-130175" defTabSz="895350" fontAlgn="base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7pPr>
                  <a:lvl8pPr marL="2120900" indent="-130175" defTabSz="895350" fontAlgn="base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8pPr>
                  <a:lvl9pPr marL="2578100" indent="-130175" defTabSz="895350" fontAlgn="base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9pPr>
                </a:lstStyle>
                <a:p>
                  <a:pPr defTabSz="503710">
                    <a:defRPr/>
                  </a:pPr>
                  <a:r>
                    <a:rPr lang="ru-RU" altLang="ru-RU" sz="1000" b="1" dirty="0" err="1">
                      <a:solidFill>
                        <a:prstClr val="black"/>
                      </a:solidFill>
                      <a:latin typeface="+mn-lt"/>
                    </a:rPr>
                    <a:t>Теміртау</a:t>
                  </a:r>
                  <a:endParaRPr lang="en-US" altLang="ru-RU" sz="1000" b="1" dirty="0">
                    <a:solidFill>
                      <a:prstClr val="black"/>
                    </a:solidFill>
                    <a:latin typeface="+mn-lt"/>
                  </a:endParaRPr>
                </a:p>
              </p:txBody>
            </p:sp>
            <p:cxnSp>
              <p:nvCxnSpPr>
                <p:cNvPr id="194" name="Прямая соединительная линия 193"/>
                <p:cNvCxnSpPr>
                  <a:stCxn id="227" idx="98"/>
                </p:cNvCxnSpPr>
                <p:nvPr/>
              </p:nvCxnSpPr>
              <p:spPr>
                <a:xfrm flipV="1">
                  <a:off x="4268189" y="2465846"/>
                  <a:ext cx="1323982" cy="1105208"/>
                </a:xfrm>
                <a:prstGeom prst="line">
                  <a:avLst/>
                </a:prstGeom>
                <a:ln w="28575">
                  <a:solidFill>
                    <a:schemeClr val="accent6">
                      <a:lumMod val="75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" name="Прямая соединительная линия 194"/>
                <p:cNvCxnSpPr>
                  <a:stCxn id="230" idx="5"/>
                </p:cNvCxnSpPr>
                <p:nvPr/>
              </p:nvCxnSpPr>
              <p:spPr>
                <a:xfrm>
                  <a:off x="5460397" y="2129192"/>
                  <a:ext cx="131774" cy="263451"/>
                </a:xfrm>
                <a:prstGeom prst="line">
                  <a:avLst/>
                </a:prstGeom>
                <a:ln w="28575">
                  <a:solidFill>
                    <a:schemeClr val="accent6">
                      <a:lumMod val="75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6" name="Прямая соединительная линия 195"/>
                <p:cNvCxnSpPr/>
                <p:nvPr/>
              </p:nvCxnSpPr>
              <p:spPr>
                <a:xfrm flipH="1">
                  <a:off x="7181851" y="1865585"/>
                  <a:ext cx="173832" cy="242772"/>
                </a:xfrm>
                <a:prstGeom prst="line">
                  <a:avLst/>
                </a:prstGeom>
                <a:ln w="31750">
                  <a:solidFill>
                    <a:srgbClr val="FF0000"/>
                  </a:solidFill>
                  <a:prstDash val="sys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77" name="Прямая соединительная линия 176"/>
              <p:cNvCxnSpPr/>
              <p:nvPr/>
            </p:nvCxnSpPr>
            <p:spPr>
              <a:xfrm>
                <a:off x="4809216" y="1994089"/>
                <a:ext cx="4969" cy="424805"/>
              </a:xfrm>
              <a:prstGeom prst="line">
                <a:avLst/>
              </a:prstGeom>
              <a:ln w="28575">
                <a:solidFill>
                  <a:schemeClr val="accent6">
                    <a:lumMod val="7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8" name="Rectangle 18"/>
              <p:cNvSpPr txBox="1">
                <a:spLocks noChangeArrowheads="1"/>
              </p:cNvSpPr>
              <p:nvPr/>
            </p:nvSpPr>
            <p:spPr bwMode="auto">
              <a:xfrm>
                <a:off x="4902905" y="1751181"/>
                <a:ext cx="1047782" cy="15009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>
                <a:spAutoFit/>
              </a:bodyPr>
              <a:lstStyle>
                <a:defPPr>
                  <a:defRPr lang="ru-RU"/>
                </a:defPPr>
                <a:lvl1pPr defTabSz="895529">
                  <a:lnSpc>
                    <a:spcPct val="100000"/>
                  </a:lnSpc>
                  <a:spcBef>
                    <a:spcPct val="0"/>
                  </a:spcBef>
                  <a:buClr>
                    <a:srgbClr val="44546A"/>
                  </a:buClr>
                  <a:buFont typeface="Arial" panose="020B0604020202020204" pitchFamily="34" charset="0"/>
                  <a:buNone/>
                  <a:defRPr sz="1100" kern="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193675" indent="-19208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latin typeface="Calibri" panose="020F0502020204030204" pitchFamily="34" charset="0"/>
                  </a:defRPr>
                </a:lvl2pPr>
                <a:lvl3pPr marL="457200" indent="-26193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3pPr>
                <a:lvl4pPr marL="614363" indent="-1555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749300" indent="-1301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5pPr>
                <a:lvl6pPr marL="12065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6pPr>
                <a:lvl7pPr marL="16637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7pPr>
                <a:lvl8pPr marL="21209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8pPr>
                <a:lvl9pPr marL="25781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9pPr>
              </a:lstStyle>
              <a:p>
                <a:pPr defTabSz="503710">
                  <a:defRPr/>
                </a:pPr>
                <a:r>
                  <a:rPr lang="ru-RU" altLang="ru-RU" sz="1000" b="1" dirty="0" err="1">
                    <a:solidFill>
                      <a:prstClr val="black"/>
                    </a:solidFill>
                    <a:latin typeface="+mn-lt"/>
                  </a:rPr>
                  <a:t>Петропавл</a:t>
                </a:r>
                <a:endParaRPr lang="en-US" altLang="ru-RU" sz="1000" b="1" dirty="0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179" name="Овал 178"/>
              <p:cNvSpPr/>
              <p:nvPr/>
            </p:nvSpPr>
            <p:spPr bwMode="auto">
              <a:xfrm>
                <a:off x="4609067" y="1431173"/>
                <a:ext cx="95493" cy="97554"/>
              </a:xfrm>
              <a:prstGeom prst="ellipse">
                <a:avLst/>
              </a:prstGeom>
              <a:solidFill>
                <a:srgbClr val="FFFF00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lIns="91439" tIns="45719" rIns="91439" bIns="45719" anchor="ctr"/>
              <a:lstStyle/>
              <a:p>
                <a:pPr algn="ctr" defTabSz="514324"/>
                <a:endParaRPr lang="ru-RU" sz="600" kern="0">
                  <a:solidFill>
                    <a:srgbClr val="A5A5A5">
                      <a:lumMod val="50000"/>
                    </a:srgbClr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80" name="Прямая соединительная линия 179"/>
              <p:cNvCxnSpPr/>
              <p:nvPr/>
            </p:nvCxnSpPr>
            <p:spPr>
              <a:xfrm>
                <a:off x="4659572" y="1528727"/>
                <a:ext cx="106835" cy="375067"/>
              </a:xfrm>
              <a:prstGeom prst="line">
                <a:avLst/>
              </a:prstGeom>
              <a:ln w="28575">
                <a:solidFill>
                  <a:srgbClr val="FF0000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Прямая соединительная линия 180"/>
              <p:cNvCxnSpPr>
                <a:endCxn id="184" idx="1"/>
              </p:cNvCxnSpPr>
              <p:nvPr/>
            </p:nvCxnSpPr>
            <p:spPr>
              <a:xfrm>
                <a:off x="4766407" y="1989962"/>
                <a:ext cx="6446" cy="395890"/>
              </a:xfrm>
              <a:prstGeom prst="line">
                <a:avLst/>
              </a:prstGeom>
              <a:ln w="28575">
                <a:solidFill>
                  <a:srgbClr val="FF0000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Прямая соединительная линия 181"/>
              <p:cNvCxnSpPr/>
              <p:nvPr/>
            </p:nvCxnSpPr>
            <p:spPr>
              <a:xfrm>
                <a:off x="4811847" y="2482919"/>
                <a:ext cx="359959" cy="558213"/>
              </a:xfrm>
              <a:prstGeom prst="line">
                <a:avLst/>
              </a:prstGeom>
              <a:ln w="28575">
                <a:solidFill>
                  <a:srgbClr val="FF0000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3" name="Rectangle 18"/>
              <p:cNvSpPr txBox="1">
                <a:spLocks noChangeArrowheads="1"/>
              </p:cNvSpPr>
              <p:nvPr/>
            </p:nvSpPr>
            <p:spPr bwMode="auto">
              <a:xfrm>
                <a:off x="4454288" y="1341322"/>
                <a:ext cx="1632781" cy="12007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>
                <a:spAutoFit/>
              </a:bodyPr>
              <a:lstStyle>
                <a:defPPr>
                  <a:defRPr lang="ru-RU"/>
                </a:defPPr>
                <a:lvl1pPr defTabSz="895529">
                  <a:lnSpc>
                    <a:spcPct val="100000"/>
                  </a:lnSpc>
                  <a:spcBef>
                    <a:spcPct val="0"/>
                  </a:spcBef>
                  <a:buClr>
                    <a:srgbClr val="44546A"/>
                  </a:buClr>
                  <a:buFont typeface="Arial" panose="020B0604020202020204" pitchFamily="34" charset="0"/>
                  <a:buNone/>
                  <a:defRPr sz="1100" kern="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193675" indent="-19208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latin typeface="Calibri" panose="020F0502020204030204" pitchFamily="34" charset="0"/>
                  </a:defRPr>
                </a:lvl2pPr>
                <a:lvl3pPr marL="457200" indent="-26193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3pPr>
                <a:lvl4pPr marL="614363" indent="-1555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749300" indent="-1301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5pPr>
                <a:lvl6pPr marL="12065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6pPr>
                <a:lvl7pPr marL="16637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7pPr>
                <a:lvl8pPr marL="21209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8pPr>
                <a:lvl9pPr marL="25781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9pPr>
              </a:lstStyle>
              <a:p>
                <a:pPr defTabSz="503710">
                  <a:defRPr/>
                </a:pPr>
                <a:r>
                  <a:rPr lang="ru-RU" altLang="ru-RU" sz="700" b="1" dirty="0" err="1">
                    <a:solidFill>
                      <a:prstClr val="black"/>
                    </a:solidFill>
                    <a:latin typeface="+mn-lt"/>
                  </a:rPr>
                  <a:t>Есіл</a:t>
                </a:r>
                <a:r>
                  <a:rPr lang="ru-RU" altLang="ru-RU" sz="800" b="1" dirty="0">
                    <a:solidFill>
                      <a:prstClr val="black"/>
                    </a:solidFill>
                    <a:latin typeface="+mn-lt"/>
                  </a:rPr>
                  <a:t> </a:t>
                </a:r>
                <a:endParaRPr lang="en-US" altLang="ru-RU" sz="600" i="1" dirty="0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184" name="Овал 183"/>
              <p:cNvSpPr/>
              <p:nvPr/>
            </p:nvSpPr>
            <p:spPr bwMode="auto">
              <a:xfrm>
                <a:off x="4758868" y="2371566"/>
                <a:ext cx="95493" cy="97554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lIns="91439" tIns="45719" rIns="91439" bIns="45719" anchor="ctr"/>
              <a:lstStyle/>
              <a:p>
                <a:pPr algn="ctr" defTabSz="514324">
                  <a:defRPr/>
                </a:pPr>
                <a:endParaRPr lang="ru-RU" sz="600" kern="0">
                  <a:solidFill>
                    <a:srgbClr val="A5A5A5">
                      <a:lumMod val="50000"/>
                    </a:srgbClr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85" name="Овал 184"/>
              <p:cNvSpPr/>
              <p:nvPr/>
            </p:nvSpPr>
            <p:spPr bwMode="auto">
              <a:xfrm>
                <a:off x="4741945" y="1901096"/>
                <a:ext cx="95493" cy="97554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lIns="91439" tIns="45719" rIns="91439" bIns="45719" anchor="ctr"/>
              <a:lstStyle/>
              <a:p>
                <a:pPr algn="ctr" defTabSz="514324">
                  <a:defRPr/>
                </a:pPr>
                <a:endParaRPr lang="ru-RU" sz="600" kern="0">
                  <a:solidFill>
                    <a:srgbClr val="A5A5A5">
                      <a:lumMod val="50000"/>
                    </a:srgbClr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86" name="Прямая соединительная линия 185"/>
              <p:cNvCxnSpPr/>
              <p:nvPr/>
            </p:nvCxnSpPr>
            <p:spPr>
              <a:xfrm>
                <a:off x="4857238" y="2453375"/>
                <a:ext cx="359959" cy="558213"/>
              </a:xfrm>
              <a:prstGeom prst="line">
                <a:avLst/>
              </a:prstGeom>
              <a:ln w="28575">
                <a:solidFill>
                  <a:schemeClr val="accent6">
                    <a:lumMod val="7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Прямая соединительная линия 186"/>
              <p:cNvCxnSpPr>
                <a:endCxn id="188" idx="1"/>
              </p:cNvCxnSpPr>
              <p:nvPr/>
            </p:nvCxnSpPr>
            <p:spPr>
              <a:xfrm>
                <a:off x="7040191" y="3261279"/>
                <a:ext cx="630295" cy="988683"/>
              </a:xfrm>
              <a:prstGeom prst="line">
                <a:avLst/>
              </a:prstGeom>
              <a:ln w="31750">
                <a:solidFill>
                  <a:srgbClr val="FF0000"/>
                </a:solidFill>
                <a:prstDash val="sysDash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tangle 18"/>
              <p:cNvSpPr txBox="1">
                <a:spLocks noChangeArrowheads="1"/>
              </p:cNvSpPr>
              <p:nvPr/>
            </p:nvSpPr>
            <p:spPr bwMode="auto">
              <a:xfrm>
                <a:off x="7670486" y="4197430"/>
                <a:ext cx="647700" cy="1050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ru-RU"/>
                </a:defPPr>
                <a:lvl1pPr defTabSz="895529">
                  <a:lnSpc>
                    <a:spcPct val="100000"/>
                  </a:lnSpc>
                  <a:spcBef>
                    <a:spcPct val="0"/>
                  </a:spcBef>
                  <a:buClr>
                    <a:srgbClr val="44546A"/>
                  </a:buClr>
                  <a:buFont typeface="Arial" panose="020B0604020202020204" pitchFamily="34" charset="0"/>
                  <a:buNone/>
                  <a:defRPr sz="1100" kern="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193675" indent="-19208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latin typeface="Calibri" panose="020F0502020204030204" pitchFamily="34" charset="0"/>
                  </a:defRPr>
                </a:lvl2pPr>
                <a:lvl3pPr marL="457200" indent="-26193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3pPr>
                <a:lvl4pPr marL="614363" indent="-1555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749300" indent="-1301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5pPr>
                <a:lvl6pPr marL="12065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6pPr>
                <a:lvl7pPr marL="16637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7pPr>
                <a:lvl8pPr marL="21209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8pPr>
                <a:lvl9pPr marL="25781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9pPr>
              </a:lstStyle>
              <a:p>
                <a:pPr defTabSz="671630">
                  <a:defRPr/>
                </a:pPr>
                <a:r>
                  <a:rPr lang="ru-RU" altLang="ru-RU" sz="700" b="1" dirty="0" err="1">
                    <a:solidFill>
                      <a:prstClr val="black"/>
                    </a:solidFill>
                    <a:latin typeface="+mn-lt"/>
                  </a:rPr>
                  <a:t>Алашанкоу</a:t>
                </a:r>
                <a:endParaRPr lang="en-US" altLang="ru-RU" sz="700" b="1" dirty="0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189" name="Овал 188"/>
              <p:cNvSpPr/>
              <p:nvPr/>
            </p:nvSpPr>
            <p:spPr bwMode="auto">
              <a:xfrm>
                <a:off x="5397162" y="3441972"/>
                <a:ext cx="95493" cy="97554"/>
              </a:xfrm>
              <a:prstGeom prst="ellipse">
                <a:avLst/>
              </a:prstGeom>
              <a:solidFill>
                <a:srgbClr val="FFFF00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lIns="91439" tIns="45719" rIns="91439" bIns="45719" anchor="ctr"/>
              <a:lstStyle/>
              <a:p>
                <a:pPr algn="ctr" defTabSz="514324"/>
                <a:endParaRPr lang="ru-RU" sz="600" kern="0">
                  <a:solidFill>
                    <a:srgbClr val="A5A5A5">
                      <a:lumMod val="50000"/>
                    </a:srgbClr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46" name="Группа 145"/>
            <p:cNvGrpSpPr/>
            <p:nvPr/>
          </p:nvGrpSpPr>
          <p:grpSpPr>
            <a:xfrm>
              <a:off x="18966" y="1441258"/>
              <a:ext cx="4183192" cy="599565"/>
              <a:chOff x="86882" y="1211818"/>
              <a:chExt cx="4183192" cy="599565"/>
            </a:xfrm>
          </p:grpSpPr>
          <p:sp>
            <p:nvSpPr>
              <p:cNvPr id="173" name="Прямоугольник 172"/>
              <p:cNvSpPr/>
              <p:nvPr/>
            </p:nvSpPr>
            <p:spPr>
              <a:xfrm>
                <a:off x="86882" y="1211818"/>
                <a:ext cx="4183192" cy="5995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47663" algn="just">
                  <a:tabLst>
                    <a:tab pos="447663" algn="l"/>
                  </a:tabLst>
                </a:pPr>
                <a:r>
                  <a:rPr lang="ru-RU" sz="1200" dirty="0">
                    <a:cs typeface="Arial" panose="020B0604020202020204" pitchFamily="34" charset="0"/>
                  </a:rPr>
                  <a:t>«</a:t>
                </a:r>
                <a:r>
                  <a:rPr lang="ru-RU" sz="1200" dirty="0" err="1">
                    <a:cs typeface="Arial" panose="020B0604020202020204" pitchFamily="34" charset="0"/>
                  </a:rPr>
                  <a:t>Сарыарка</a:t>
                </a:r>
                <a:r>
                  <a:rPr lang="ru-RU" sz="1200" dirty="0">
                    <a:cs typeface="Arial" panose="020B0604020202020204" pitchFamily="34" charset="0"/>
                  </a:rPr>
                  <a:t>» МГҚ </a:t>
                </a:r>
                <a:r>
                  <a:rPr lang="ru-RU" sz="1200" dirty="0" err="1">
                    <a:cs typeface="Arial" panose="020B0604020202020204" pitchFamily="34" charset="0"/>
                  </a:rPr>
                  <a:t>келесі</a:t>
                </a:r>
                <a:r>
                  <a:rPr lang="ru-RU" sz="1200" dirty="0">
                    <a:cs typeface="Arial" panose="020B0604020202020204" pitchFamily="34" charset="0"/>
                  </a:rPr>
                  <a:t> </a:t>
                </a:r>
                <a:r>
                  <a:rPr lang="ru-RU" sz="1200" dirty="0" err="1">
                    <a:cs typeface="Arial" panose="020B0604020202020204" pitchFamily="34" charset="0"/>
                  </a:rPr>
                  <a:t>кезеңдерін</a:t>
                </a:r>
                <a:r>
                  <a:rPr lang="ru-RU" sz="1200" dirty="0">
                    <a:cs typeface="Arial" panose="020B0604020202020204" pitchFamily="34" charset="0"/>
                  </a:rPr>
                  <a:t> </a:t>
                </a:r>
                <a:r>
                  <a:rPr lang="ru-RU" sz="1200" dirty="0" err="1">
                    <a:cs typeface="Arial" panose="020B0604020202020204" pitchFamily="34" charset="0"/>
                  </a:rPr>
                  <a:t>іске</a:t>
                </a:r>
                <a:r>
                  <a:rPr lang="ru-RU" sz="1200" dirty="0">
                    <a:cs typeface="Arial" panose="020B0604020202020204" pitchFamily="34" charset="0"/>
                  </a:rPr>
                  <a:t> </a:t>
                </a:r>
                <a:r>
                  <a:rPr lang="ru-RU" sz="1200" dirty="0" err="1">
                    <a:cs typeface="Arial" panose="020B0604020202020204" pitchFamily="34" charset="0"/>
                  </a:rPr>
                  <a:t>асыру</a:t>
                </a:r>
                <a:endParaRPr lang="ru-RU" sz="1200" dirty="0">
                  <a:solidFill>
                    <a:srgbClr val="006FC0"/>
                  </a:solidFill>
                  <a:cs typeface="Arial" panose="020B0604020202020204" pitchFamily="34" charset="0"/>
                </a:endParaRPr>
              </a:p>
              <a:p>
                <a:pPr marL="447663" algn="just">
                  <a:tabLst>
                    <a:tab pos="447663" algn="l"/>
                  </a:tabLst>
                </a:pPr>
                <a:endParaRPr lang="ru-RU" sz="900" dirty="0">
                  <a:cs typeface="Arial" panose="020B0604020202020204" pitchFamily="34" charset="0"/>
                </a:endParaRPr>
              </a:p>
              <a:p>
                <a:pPr marL="447663" algn="just">
                  <a:tabLst>
                    <a:tab pos="447663" algn="l"/>
                  </a:tabLst>
                </a:pPr>
                <a:r>
                  <a:rPr lang="ru-RU" sz="1200" dirty="0">
                    <a:cs typeface="Arial" panose="020B0604020202020204" pitchFamily="34" charset="0"/>
                  </a:rPr>
                  <a:t>РФ-дан </a:t>
                </a:r>
                <a:r>
                  <a:rPr lang="ru-RU" sz="1200" dirty="0" err="1">
                    <a:cs typeface="Arial" panose="020B0604020202020204" pitchFamily="34" charset="0"/>
                  </a:rPr>
                  <a:t>магистральдық</a:t>
                </a:r>
                <a:r>
                  <a:rPr lang="ru-RU" sz="1200" dirty="0">
                    <a:cs typeface="Arial" panose="020B0604020202020204" pitchFamily="34" charset="0"/>
                  </a:rPr>
                  <a:t> газ </a:t>
                </a:r>
                <a:r>
                  <a:rPr lang="ru-RU" sz="1200" dirty="0" err="1">
                    <a:cs typeface="Arial" panose="020B0604020202020204" pitchFamily="34" charset="0"/>
                  </a:rPr>
                  <a:t>құбыры</a:t>
                </a:r>
                <a:endParaRPr lang="ru-RU" sz="1200" dirty="0">
                  <a:cs typeface="Arial" panose="020B0604020202020204" pitchFamily="34" charset="0"/>
                </a:endParaRPr>
              </a:p>
            </p:txBody>
          </p:sp>
          <p:cxnSp>
            <p:nvCxnSpPr>
              <p:cNvPr id="174" name="Прямая соединительная линия 173"/>
              <p:cNvCxnSpPr/>
              <p:nvPr/>
            </p:nvCxnSpPr>
            <p:spPr>
              <a:xfrm>
                <a:off x="111885" y="1384668"/>
                <a:ext cx="302667" cy="0"/>
              </a:xfrm>
              <a:prstGeom prst="line">
                <a:avLst/>
              </a:prstGeom>
              <a:ln w="28575">
                <a:solidFill>
                  <a:schemeClr val="accent6">
                    <a:lumMod val="7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Прямая соединительная линия 174"/>
              <p:cNvCxnSpPr/>
              <p:nvPr/>
            </p:nvCxnSpPr>
            <p:spPr>
              <a:xfrm>
                <a:off x="111885" y="1726306"/>
                <a:ext cx="308071" cy="3235"/>
              </a:xfrm>
              <a:prstGeom prst="line">
                <a:avLst/>
              </a:prstGeom>
              <a:ln w="28575">
                <a:solidFill>
                  <a:srgbClr val="FF0000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7" name="Прямоугольник 146"/>
            <p:cNvSpPr/>
            <p:nvPr/>
          </p:nvSpPr>
          <p:spPr>
            <a:xfrm rot="2813782">
              <a:off x="4733564" y="2687140"/>
              <a:ext cx="527183" cy="16615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800" b="1" dirty="0">
                  <a:cs typeface="Arial" panose="020B0604020202020204" pitchFamily="34" charset="0"/>
                </a:rPr>
                <a:t>II</a:t>
              </a:r>
              <a:r>
                <a:rPr lang="kk-KZ" sz="800" b="1" dirty="0">
                  <a:cs typeface="Arial" panose="020B0604020202020204" pitchFamily="34" charset="0"/>
                </a:rPr>
                <a:t>-кезең</a:t>
              </a:r>
              <a:endParaRPr lang="ru-RU" sz="800" b="1" dirty="0">
                <a:cs typeface="Arial" panose="020B0604020202020204" pitchFamily="34" charset="0"/>
              </a:endParaRPr>
            </a:p>
          </p:txBody>
        </p:sp>
        <p:sp>
          <p:nvSpPr>
            <p:cNvPr id="148" name="Прямоугольник 147"/>
            <p:cNvSpPr/>
            <p:nvPr/>
          </p:nvSpPr>
          <p:spPr>
            <a:xfrm rot="5400000">
              <a:off x="4487522" y="2159561"/>
              <a:ext cx="554406" cy="16615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800" b="1" dirty="0">
                  <a:cs typeface="Arial" panose="020B0604020202020204" pitchFamily="34" charset="0"/>
                </a:rPr>
                <a:t>III</a:t>
              </a:r>
              <a:r>
                <a:rPr lang="kk-KZ" sz="800" b="1" dirty="0">
                  <a:cs typeface="Arial" panose="020B0604020202020204" pitchFamily="34" charset="0"/>
                </a:rPr>
                <a:t>-кезең</a:t>
              </a:r>
              <a:endParaRPr lang="ru-RU" sz="800" b="1" dirty="0">
                <a:cs typeface="Arial" panose="020B0604020202020204" pitchFamily="34" charset="0"/>
              </a:endParaRPr>
            </a:p>
          </p:txBody>
        </p:sp>
        <p:sp>
          <p:nvSpPr>
            <p:cNvPr id="149" name="object 203"/>
            <p:cNvSpPr/>
            <p:nvPr/>
          </p:nvSpPr>
          <p:spPr>
            <a:xfrm>
              <a:off x="248081" y="2356262"/>
              <a:ext cx="2584022" cy="2667002"/>
            </a:xfrm>
            <a:custGeom>
              <a:avLst/>
              <a:gdLst/>
              <a:ahLst/>
              <a:cxnLst/>
              <a:rect l="l" t="t" r="r" b="b"/>
              <a:pathLst>
                <a:path w="2372360" h="2058670">
                  <a:moveTo>
                    <a:pt x="0" y="439597"/>
                  </a:moveTo>
                  <a:lnTo>
                    <a:pt x="263131" y="528053"/>
                  </a:lnTo>
                  <a:lnTo>
                    <a:pt x="1715249" y="0"/>
                  </a:lnTo>
                </a:path>
                <a:path w="2372360" h="2058670">
                  <a:moveTo>
                    <a:pt x="263131" y="528053"/>
                  </a:moveTo>
                  <a:lnTo>
                    <a:pt x="1504708" y="1776920"/>
                  </a:lnTo>
                  <a:lnTo>
                    <a:pt x="1586166" y="2058644"/>
                  </a:lnTo>
                </a:path>
                <a:path w="2372360" h="2058670">
                  <a:moveTo>
                    <a:pt x="2372271" y="415340"/>
                  </a:moveTo>
                  <a:lnTo>
                    <a:pt x="2176665" y="1657756"/>
                  </a:lnTo>
                  <a:lnTo>
                    <a:pt x="1935162" y="2024862"/>
                  </a:lnTo>
                </a:path>
              </a:pathLst>
            </a:custGeom>
            <a:ln w="28575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>
                <a:cs typeface="Arial" panose="020B0604020202020204" pitchFamily="34" charset="0"/>
              </a:endParaRPr>
            </a:p>
          </p:txBody>
        </p:sp>
        <p:sp>
          <p:nvSpPr>
            <p:cNvPr id="150" name="object 205"/>
            <p:cNvSpPr/>
            <p:nvPr/>
          </p:nvSpPr>
          <p:spPr>
            <a:xfrm>
              <a:off x="1899211" y="4291897"/>
              <a:ext cx="1470747" cy="367391"/>
            </a:xfrm>
            <a:custGeom>
              <a:avLst/>
              <a:gdLst/>
              <a:ahLst/>
              <a:cxnLst/>
              <a:rect l="l" t="t" r="r" b="b"/>
              <a:pathLst>
                <a:path w="1258570" h="323214">
                  <a:moveTo>
                    <a:pt x="0" y="323151"/>
                  </a:moveTo>
                  <a:lnTo>
                    <a:pt x="1258189" y="0"/>
                  </a:lnTo>
                </a:path>
              </a:pathLst>
            </a:custGeom>
            <a:ln w="28575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>
                <a:cs typeface="Arial" panose="020B0604020202020204" pitchFamily="34" charset="0"/>
              </a:endParaRPr>
            </a:p>
          </p:txBody>
        </p:sp>
        <p:sp>
          <p:nvSpPr>
            <p:cNvPr id="151" name="object 205"/>
            <p:cNvSpPr/>
            <p:nvPr/>
          </p:nvSpPr>
          <p:spPr>
            <a:xfrm rot="2203789" flipV="1">
              <a:off x="3124663" y="5069353"/>
              <a:ext cx="2049148" cy="133101"/>
            </a:xfrm>
            <a:custGeom>
              <a:avLst/>
              <a:gdLst/>
              <a:ahLst/>
              <a:cxnLst/>
              <a:rect l="l" t="t" r="r" b="b"/>
              <a:pathLst>
                <a:path w="1258570" h="323214">
                  <a:moveTo>
                    <a:pt x="0" y="323151"/>
                  </a:moveTo>
                  <a:lnTo>
                    <a:pt x="1258189" y="0"/>
                  </a:lnTo>
                </a:path>
              </a:pathLst>
            </a:custGeom>
            <a:ln w="28575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>
                <a:cs typeface="Arial" panose="020B0604020202020204" pitchFamily="34" charset="0"/>
              </a:endParaRPr>
            </a:p>
          </p:txBody>
        </p:sp>
        <p:sp>
          <p:nvSpPr>
            <p:cNvPr id="152" name="object 205"/>
            <p:cNvSpPr/>
            <p:nvPr/>
          </p:nvSpPr>
          <p:spPr>
            <a:xfrm>
              <a:off x="3598844" y="5982969"/>
              <a:ext cx="1469302" cy="343604"/>
            </a:xfrm>
            <a:custGeom>
              <a:avLst/>
              <a:gdLst/>
              <a:ahLst/>
              <a:cxnLst/>
              <a:rect l="l" t="t" r="r" b="b"/>
              <a:pathLst>
                <a:path w="1258570" h="323214">
                  <a:moveTo>
                    <a:pt x="0" y="323151"/>
                  </a:moveTo>
                  <a:lnTo>
                    <a:pt x="1258189" y="0"/>
                  </a:lnTo>
                </a:path>
              </a:pathLst>
            </a:custGeom>
            <a:ln w="28575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>
                <a:cs typeface="Arial" panose="020B0604020202020204" pitchFamily="34" charset="0"/>
              </a:endParaRPr>
            </a:p>
          </p:txBody>
        </p:sp>
        <p:cxnSp>
          <p:nvCxnSpPr>
            <p:cNvPr id="153" name="Прямая соединительная линия 152"/>
            <p:cNvCxnSpPr/>
            <p:nvPr/>
          </p:nvCxnSpPr>
          <p:spPr>
            <a:xfrm flipV="1">
              <a:off x="5068146" y="5627457"/>
              <a:ext cx="161843" cy="355512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</p:cxnSp>
        <p:sp>
          <p:nvSpPr>
            <p:cNvPr id="154" name="object 205"/>
            <p:cNvSpPr/>
            <p:nvPr/>
          </p:nvSpPr>
          <p:spPr>
            <a:xfrm>
              <a:off x="5205986" y="5403121"/>
              <a:ext cx="2207964" cy="235537"/>
            </a:xfrm>
            <a:custGeom>
              <a:avLst/>
              <a:gdLst/>
              <a:ahLst/>
              <a:cxnLst/>
              <a:rect l="l" t="t" r="r" b="b"/>
              <a:pathLst>
                <a:path w="1258570" h="323214">
                  <a:moveTo>
                    <a:pt x="0" y="323151"/>
                  </a:moveTo>
                  <a:lnTo>
                    <a:pt x="1258189" y="0"/>
                  </a:lnTo>
                </a:path>
              </a:pathLst>
            </a:custGeom>
            <a:ln w="28575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>
                <a:cs typeface="Arial" panose="020B0604020202020204" pitchFamily="34" charset="0"/>
              </a:endParaRPr>
            </a:p>
          </p:txBody>
        </p:sp>
        <p:sp>
          <p:nvSpPr>
            <p:cNvPr id="155" name="TextBox 154"/>
            <p:cNvSpPr txBox="1"/>
            <p:nvPr/>
          </p:nvSpPr>
          <p:spPr>
            <a:xfrm>
              <a:off x="874651" y="2995150"/>
              <a:ext cx="1162975" cy="307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cs typeface="Arial" panose="020B0604020202020204" pitchFamily="34" charset="0"/>
                </a:rPr>
                <a:t>98,9%</a:t>
              </a:r>
            </a:p>
          </p:txBody>
        </p:sp>
        <p:sp>
          <p:nvSpPr>
            <p:cNvPr id="156" name="TextBox 155"/>
            <p:cNvSpPr txBox="1"/>
            <p:nvPr/>
          </p:nvSpPr>
          <p:spPr>
            <a:xfrm>
              <a:off x="427301" y="3823864"/>
              <a:ext cx="1162975" cy="307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cs typeface="Arial" panose="020B0604020202020204" pitchFamily="34" charset="0"/>
                </a:rPr>
                <a:t>98,7%</a:t>
              </a:r>
            </a:p>
          </p:txBody>
        </p:sp>
        <p:sp>
          <p:nvSpPr>
            <p:cNvPr id="157" name="TextBox 156"/>
            <p:cNvSpPr txBox="1"/>
            <p:nvPr/>
          </p:nvSpPr>
          <p:spPr>
            <a:xfrm>
              <a:off x="950262" y="5082061"/>
              <a:ext cx="1162975" cy="307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cs typeface="Arial" panose="020B0604020202020204" pitchFamily="34" charset="0"/>
                </a:rPr>
                <a:t>98,4%</a:t>
              </a:r>
            </a:p>
          </p:txBody>
        </p:sp>
        <p:sp>
          <p:nvSpPr>
            <p:cNvPr id="158" name="TextBox 157"/>
            <p:cNvSpPr txBox="1"/>
            <p:nvPr/>
          </p:nvSpPr>
          <p:spPr>
            <a:xfrm>
              <a:off x="1854307" y="3672252"/>
              <a:ext cx="1162975" cy="307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cs typeface="Arial" panose="020B0604020202020204" pitchFamily="34" charset="0"/>
                </a:rPr>
                <a:t>92,7%</a:t>
              </a:r>
            </a:p>
          </p:txBody>
        </p:sp>
        <p:sp>
          <p:nvSpPr>
            <p:cNvPr id="159" name="TextBox 158"/>
            <p:cNvSpPr txBox="1"/>
            <p:nvPr/>
          </p:nvSpPr>
          <p:spPr>
            <a:xfrm>
              <a:off x="3187341" y="2691771"/>
              <a:ext cx="1162975" cy="307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cs typeface="Arial" panose="020B0604020202020204" pitchFamily="34" charset="0"/>
                </a:rPr>
                <a:t>57,9%</a:t>
              </a:r>
            </a:p>
          </p:txBody>
        </p:sp>
        <p:sp>
          <p:nvSpPr>
            <p:cNvPr id="160" name="Овал 159"/>
            <p:cNvSpPr/>
            <p:nvPr/>
          </p:nvSpPr>
          <p:spPr bwMode="auto">
            <a:xfrm>
              <a:off x="4529050" y="6362142"/>
              <a:ext cx="98698" cy="99920"/>
            </a:xfrm>
            <a:prstGeom prst="ellipse">
              <a:avLst/>
            </a:prstGeom>
            <a:solidFill>
              <a:schemeClr val="tx2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lIns="91439" tIns="45719" rIns="91439" bIns="45719" anchor="ctr"/>
            <a:lstStyle/>
            <a:p>
              <a:pPr algn="ctr" defTabSz="514324">
                <a:defRPr/>
              </a:pPr>
              <a:endParaRPr lang="ru-RU" sz="600" kern="0">
                <a:solidFill>
                  <a:srgbClr val="A5A5A5">
                    <a:lumMod val="50000"/>
                  </a:srgb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63" name="Овал 162"/>
            <p:cNvSpPr/>
            <p:nvPr/>
          </p:nvSpPr>
          <p:spPr bwMode="auto">
            <a:xfrm>
              <a:off x="6585462" y="5586585"/>
              <a:ext cx="98698" cy="99920"/>
            </a:xfrm>
            <a:prstGeom prst="ellipse">
              <a:avLst/>
            </a:prstGeom>
            <a:solidFill>
              <a:schemeClr val="tx2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lIns="91439" tIns="45719" rIns="91439" bIns="45719" anchor="ctr"/>
            <a:lstStyle/>
            <a:p>
              <a:pPr algn="ctr" defTabSz="514324">
                <a:defRPr/>
              </a:pPr>
              <a:endParaRPr lang="ru-RU" sz="600" kern="0">
                <a:solidFill>
                  <a:srgbClr val="A5A5A5">
                    <a:lumMod val="50000"/>
                  </a:srgb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66" name="TextBox 165"/>
            <p:cNvSpPr txBox="1"/>
            <p:nvPr/>
          </p:nvSpPr>
          <p:spPr>
            <a:xfrm>
              <a:off x="4597380" y="6266276"/>
              <a:ext cx="1162975" cy="307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cs typeface="Arial" panose="020B0604020202020204" pitchFamily="34" charset="0"/>
                </a:rPr>
                <a:t>92,5%</a:t>
              </a:r>
            </a:p>
          </p:txBody>
        </p:sp>
        <p:sp>
          <p:nvSpPr>
            <p:cNvPr id="167" name="TextBox 166"/>
            <p:cNvSpPr txBox="1"/>
            <p:nvPr/>
          </p:nvSpPr>
          <p:spPr>
            <a:xfrm>
              <a:off x="4293678" y="5752758"/>
              <a:ext cx="1162975" cy="307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cs typeface="Arial" panose="020B0604020202020204" pitchFamily="34" charset="0"/>
                </a:rPr>
                <a:t>66,2%</a:t>
              </a:r>
            </a:p>
          </p:txBody>
        </p:sp>
        <p:sp>
          <p:nvSpPr>
            <p:cNvPr id="168" name="TextBox 167"/>
            <p:cNvSpPr txBox="1"/>
            <p:nvPr/>
          </p:nvSpPr>
          <p:spPr>
            <a:xfrm>
              <a:off x="6102673" y="4651439"/>
              <a:ext cx="1162975" cy="307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cs typeface="Arial" panose="020B0604020202020204" pitchFamily="34" charset="0"/>
                </a:rPr>
                <a:t>63,6%</a:t>
              </a:r>
            </a:p>
          </p:txBody>
        </p:sp>
        <p:sp>
          <p:nvSpPr>
            <p:cNvPr id="169" name="TextBox 168"/>
            <p:cNvSpPr txBox="1"/>
            <p:nvPr/>
          </p:nvSpPr>
          <p:spPr>
            <a:xfrm>
              <a:off x="6667308" y="5439262"/>
              <a:ext cx="1162975" cy="307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cs typeface="Arial" panose="020B0604020202020204" pitchFamily="34" charset="0"/>
                </a:rPr>
                <a:t>98,9%</a:t>
              </a:r>
            </a:p>
          </p:txBody>
        </p:sp>
        <p:sp>
          <p:nvSpPr>
            <p:cNvPr id="170" name="TextBox 169"/>
            <p:cNvSpPr txBox="1"/>
            <p:nvPr/>
          </p:nvSpPr>
          <p:spPr>
            <a:xfrm>
              <a:off x="7291141" y="3586333"/>
              <a:ext cx="1162975" cy="307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cs typeface="Arial" panose="020B0604020202020204" pitchFamily="34" charset="0"/>
                </a:rPr>
                <a:t>1,3%</a:t>
              </a:r>
            </a:p>
          </p:txBody>
        </p:sp>
        <p:sp>
          <p:nvSpPr>
            <p:cNvPr id="171" name="TextBox 170"/>
            <p:cNvSpPr txBox="1"/>
            <p:nvPr/>
          </p:nvSpPr>
          <p:spPr>
            <a:xfrm>
              <a:off x="5005182" y="3968565"/>
              <a:ext cx="1162975" cy="307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cs typeface="Arial" panose="020B0604020202020204" pitchFamily="34" charset="0"/>
                </a:rPr>
                <a:t>3,5%</a:t>
              </a:r>
            </a:p>
          </p:txBody>
        </p:sp>
        <p:sp>
          <p:nvSpPr>
            <p:cNvPr id="172" name="TextBox 171"/>
            <p:cNvSpPr txBox="1"/>
            <p:nvPr/>
          </p:nvSpPr>
          <p:spPr>
            <a:xfrm>
              <a:off x="4216684" y="2798795"/>
              <a:ext cx="583823" cy="307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cs typeface="Arial" panose="020B0604020202020204" pitchFamily="34" charset="0"/>
                </a:rPr>
                <a:t>15,4%</a:t>
              </a:r>
            </a:p>
          </p:txBody>
        </p:sp>
      </p:grpSp>
      <p:sp>
        <p:nvSpPr>
          <p:cNvPr id="231" name="Прямоугольник 230"/>
          <p:cNvSpPr/>
          <p:nvPr/>
        </p:nvSpPr>
        <p:spPr>
          <a:xfrm>
            <a:off x="677957" y="4204316"/>
            <a:ext cx="11078614" cy="223138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/>
            <a:r>
              <a:rPr lang="ru-RU" sz="1400" b="1" dirty="0" err="1"/>
              <a:t>Ресей</a:t>
            </a:r>
            <a:r>
              <a:rPr lang="ru-RU" sz="1400" b="1" dirty="0"/>
              <a:t> </a:t>
            </a:r>
            <a:r>
              <a:rPr lang="ru-RU" sz="1400" b="1" dirty="0" err="1"/>
              <a:t>Федерациясынан</a:t>
            </a:r>
            <a:r>
              <a:rPr lang="ru-RU" sz="1400" b="1" dirty="0"/>
              <a:t> </a:t>
            </a:r>
            <a:r>
              <a:rPr lang="ru-RU" sz="1400" b="1" dirty="0" err="1"/>
              <a:t>газдандыру</a:t>
            </a:r>
            <a:r>
              <a:rPr lang="ru-RU" sz="1400" dirty="0"/>
              <a:t>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400" dirty="0"/>
              <a:t>Газ </a:t>
            </a:r>
            <a:r>
              <a:rPr lang="ru-RU" sz="1400" dirty="0" err="1"/>
              <a:t>құбырларының</a:t>
            </a:r>
            <a:r>
              <a:rPr lang="ru-RU" sz="1400" dirty="0"/>
              <a:t> </a:t>
            </a:r>
            <a:r>
              <a:rPr lang="ru-RU" sz="1400" dirty="0" err="1"/>
              <a:t>ең</a:t>
            </a:r>
            <a:r>
              <a:rPr lang="ru-RU" sz="1400" dirty="0"/>
              <a:t> </a:t>
            </a:r>
            <a:r>
              <a:rPr lang="ru-RU" sz="1400" dirty="0" err="1"/>
              <a:t>оңтайлы</a:t>
            </a:r>
            <a:r>
              <a:rPr lang="ru-RU" sz="1400" dirty="0"/>
              <a:t> </a:t>
            </a:r>
            <a:r>
              <a:rPr lang="ru-RU" sz="1400" dirty="0" err="1"/>
              <a:t>бағыттары</a:t>
            </a:r>
            <a:r>
              <a:rPr lang="ru-RU" sz="1400" dirty="0"/>
              <a:t> </a:t>
            </a:r>
            <a:r>
              <a:rPr lang="ru-RU" sz="1400" dirty="0" err="1"/>
              <a:t>анықталды</a:t>
            </a:r>
            <a:r>
              <a:rPr lang="ru-RU" sz="1400" dirty="0"/>
              <a:t>:</a:t>
            </a:r>
          </a:p>
          <a:p>
            <a:pPr algn="just"/>
            <a:r>
              <a:rPr lang="ru-RU" sz="1400" dirty="0"/>
              <a:t>- </a:t>
            </a:r>
            <a:r>
              <a:rPr lang="ru-RU" sz="1400" dirty="0" err="1"/>
              <a:t>Ұзындығы</a:t>
            </a:r>
            <a:r>
              <a:rPr lang="ru-RU" sz="1400" dirty="0"/>
              <a:t> 1 000 км «</a:t>
            </a:r>
            <a:r>
              <a:rPr lang="ru-RU" sz="1400" dirty="0" err="1"/>
              <a:t>Барнауыл</a:t>
            </a:r>
            <a:r>
              <a:rPr lang="ru-RU" sz="1400" dirty="0"/>
              <a:t> – Рубцовск – Семей – </a:t>
            </a:r>
            <a:r>
              <a:rPr lang="ru-RU" sz="1400" dirty="0" err="1"/>
              <a:t>Өскемен</a:t>
            </a:r>
            <a:r>
              <a:rPr lang="ru-RU" sz="1400" dirty="0"/>
              <a:t> Павлодар </a:t>
            </a:r>
            <a:r>
              <a:rPr lang="ru-RU" sz="1400" dirty="0" err="1"/>
              <a:t>қаласында</a:t>
            </a:r>
            <a:r>
              <a:rPr lang="ru-RU" sz="1400" dirty="0"/>
              <a:t> </a:t>
            </a:r>
            <a:r>
              <a:rPr lang="ru-RU" sz="1400" dirty="0" err="1"/>
              <a:t>тармақталумен</a:t>
            </a:r>
            <a:r>
              <a:rPr lang="ru-RU" sz="1400" dirty="0"/>
              <a:t>»</a:t>
            </a:r>
            <a:r>
              <a:rPr lang="ru-RU" sz="1400" b="1" dirty="0"/>
              <a:t>;</a:t>
            </a:r>
            <a:endParaRPr lang="ru-RU" sz="1400" dirty="0"/>
          </a:p>
          <a:p>
            <a:pPr marL="285750" indent="-285750" algn="just">
              <a:buFontTx/>
              <a:buChar char="-"/>
            </a:pPr>
            <a:r>
              <a:rPr lang="ru-RU" sz="1400" dirty="0" err="1"/>
              <a:t>Ұзындығы</a:t>
            </a:r>
            <a:r>
              <a:rPr lang="ru-RU" sz="1400" dirty="0"/>
              <a:t> 644 км «</a:t>
            </a:r>
            <a:r>
              <a:rPr lang="ru-RU" sz="1400" dirty="0" err="1"/>
              <a:t>Есіл</a:t>
            </a:r>
            <a:r>
              <a:rPr lang="ru-RU" sz="1400" dirty="0"/>
              <a:t> – </a:t>
            </a:r>
            <a:r>
              <a:rPr lang="ru-RU" sz="1400" dirty="0" err="1"/>
              <a:t>Петропавл</a:t>
            </a:r>
            <a:r>
              <a:rPr lang="ru-RU" sz="1400" dirty="0"/>
              <a:t> – </a:t>
            </a:r>
            <a:r>
              <a:rPr lang="ru-RU" sz="1400" dirty="0" err="1"/>
              <a:t>Көкшетау</a:t>
            </a:r>
            <a:r>
              <a:rPr lang="ru-RU" sz="1400" dirty="0"/>
              <a:t> – </a:t>
            </a:r>
            <a:r>
              <a:rPr lang="ru-RU" sz="1400" dirty="0" err="1"/>
              <a:t>Нұр-Сұлтан</a:t>
            </a:r>
            <a:r>
              <a:rPr lang="ru-RU" sz="1400" dirty="0"/>
              <a:t>»</a:t>
            </a:r>
            <a:r>
              <a:rPr lang="ru-RU" sz="1400" b="1" dirty="0"/>
              <a:t>.</a:t>
            </a:r>
            <a:r>
              <a:rPr lang="ru-RU" sz="1400" dirty="0"/>
              <a:t> 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400" dirty="0"/>
              <a:t> </a:t>
            </a:r>
            <a:r>
              <a:rPr lang="ru-RU" sz="1400" dirty="0" err="1"/>
              <a:t>Ағымдағы</a:t>
            </a:r>
            <a:r>
              <a:rPr lang="ru-RU" sz="1400" dirty="0"/>
              <a:t> </a:t>
            </a:r>
            <a:r>
              <a:rPr lang="ru-RU" sz="1400" dirty="0" err="1"/>
              <a:t>жылдың</a:t>
            </a:r>
            <a:r>
              <a:rPr lang="ru-RU" sz="1400" dirty="0"/>
              <a:t> </a:t>
            </a:r>
            <a:r>
              <a:rPr lang="ru-RU" sz="1400" dirty="0" err="1"/>
              <a:t>екінші</a:t>
            </a:r>
            <a:r>
              <a:rPr lang="ru-RU" sz="1400" dirty="0"/>
              <a:t> </a:t>
            </a:r>
            <a:r>
              <a:rPr lang="ru-RU" sz="1400" dirty="0" err="1"/>
              <a:t>тоқсанында</a:t>
            </a:r>
            <a:r>
              <a:rPr lang="ru-RU" sz="1400" dirty="0"/>
              <a:t> </a:t>
            </a:r>
            <a:r>
              <a:rPr lang="ru-RU" sz="1400" dirty="0" err="1"/>
              <a:t>Ресей</a:t>
            </a:r>
            <a:r>
              <a:rPr lang="ru-RU" sz="1400" dirty="0"/>
              <a:t> </a:t>
            </a:r>
            <a:r>
              <a:rPr lang="ru-RU" sz="1400" dirty="0" err="1"/>
              <a:t>тарапынан</a:t>
            </a:r>
            <a:r>
              <a:rPr lang="ru-RU" sz="1400" dirty="0"/>
              <a:t> </a:t>
            </a:r>
            <a:r>
              <a:rPr lang="ru-RU" sz="1400" dirty="0" err="1"/>
              <a:t>есеп</a:t>
            </a:r>
            <a:r>
              <a:rPr lang="ru-RU" sz="1400" dirty="0"/>
              <a:t> </a:t>
            </a:r>
            <a:r>
              <a:rPr lang="ru-RU" sz="1400" dirty="0" err="1"/>
              <a:t>алу</a:t>
            </a:r>
            <a:r>
              <a:rPr lang="ru-RU" sz="1400" dirty="0"/>
              <a:t> </a:t>
            </a:r>
            <a:r>
              <a:rPr lang="ru-RU" sz="1400" dirty="0" err="1"/>
              <a:t>күтілуде</a:t>
            </a:r>
            <a:r>
              <a:rPr lang="ru-RU" sz="1400" dirty="0"/>
              <a:t>.</a:t>
            </a:r>
            <a:endParaRPr lang="ru-RU" sz="800" b="1" dirty="0"/>
          </a:p>
          <a:p>
            <a:pPr algn="just"/>
            <a:r>
              <a:rPr lang="ru-RU" sz="1400" b="1" dirty="0"/>
              <a:t>«</a:t>
            </a:r>
            <a:r>
              <a:rPr lang="ru-RU" sz="1400" b="1" dirty="0" err="1"/>
              <a:t>Сарыарқа</a:t>
            </a:r>
            <a:r>
              <a:rPr lang="ru-RU" sz="1400" b="1" dirty="0"/>
              <a:t>» МГҚ-дан </a:t>
            </a:r>
            <a:r>
              <a:rPr lang="ru-RU" sz="1400" b="1" dirty="0" err="1"/>
              <a:t>газдандыру</a:t>
            </a:r>
            <a:r>
              <a:rPr lang="ru-RU" sz="1400" b="1" dirty="0"/>
              <a:t>. </a:t>
            </a:r>
            <a:endParaRPr lang="ru-RU" sz="1400" dirty="0"/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400" dirty="0"/>
              <a:t>«</a:t>
            </a:r>
            <a:r>
              <a:rPr lang="ru-RU" sz="1400" dirty="0" err="1"/>
              <a:t>Сарыарқа</a:t>
            </a:r>
            <a:r>
              <a:rPr lang="ru-RU" sz="1400" dirty="0"/>
              <a:t>» МГҚ 2-3-кезеңдерінің </a:t>
            </a:r>
            <a:r>
              <a:rPr lang="ru-RU" sz="1400" dirty="0" err="1"/>
              <a:t>құрылысы</a:t>
            </a:r>
            <a:r>
              <a:rPr lang="ru-RU" sz="1400" dirty="0"/>
              <a:t> </a:t>
            </a:r>
            <a:r>
              <a:rPr lang="ru-RU" sz="1400" dirty="0" err="1"/>
              <a:t>бойынша</a:t>
            </a:r>
            <a:r>
              <a:rPr lang="ru-RU" sz="1400" dirty="0"/>
              <a:t> ТЭН </a:t>
            </a:r>
            <a:r>
              <a:rPr lang="ru-RU" sz="1400" dirty="0" err="1"/>
              <a:t>түзетілді</a:t>
            </a:r>
            <a:r>
              <a:rPr lang="ru-RU" sz="1400" dirty="0"/>
              <a:t>. </a:t>
            </a:r>
            <a:r>
              <a:rPr lang="ru-RU" sz="1400" dirty="0" err="1"/>
              <a:t>Мемсараптама</a:t>
            </a:r>
            <a:r>
              <a:rPr lang="ru-RU" sz="1400" dirty="0"/>
              <a:t> </a:t>
            </a:r>
            <a:r>
              <a:rPr lang="ru-RU" sz="1400" dirty="0" err="1"/>
              <a:t>алудың</a:t>
            </a:r>
            <a:r>
              <a:rPr lang="ru-RU" sz="1400" dirty="0"/>
              <a:t> </a:t>
            </a:r>
            <a:r>
              <a:rPr lang="ru-RU" sz="1400" dirty="0" err="1"/>
              <a:t>күтілетін</a:t>
            </a:r>
            <a:r>
              <a:rPr lang="ru-RU" sz="1400" dirty="0"/>
              <a:t> </a:t>
            </a:r>
            <a:r>
              <a:rPr lang="ru-RU" sz="1400" dirty="0" err="1"/>
              <a:t>мерзімі</a:t>
            </a:r>
            <a:r>
              <a:rPr lang="ru-RU" sz="1400" dirty="0"/>
              <a:t> - а. ж. </a:t>
            </a:r>
            <a:r>
              <a:rPr lang="ru-RU" sz="1400" dirty="0" err="1"/>
              <a:t>маусым</a:t>
            </a:r>
            <a:r>
              <a:rPr lang="ru-RU" sz="1400" i="1" dirty="0"/>
              <a:t> </a:t>
            </a:r>
            <a:endParaRPr lang="ru-RU" sz="1400" dirty="0">
              <a:cs typeface="Arial" panose="020B0604020202020204" pitchFamily="34" charset="0"/>
            </a:endParaRPr>
          </a:p>
          <a:p>
            <a:pPr indent="355600" algn="just"/>
            <a:endParaRPr lang="ru-RU" sz="800" dirty="0">
              <a:cs typeface="Arial" panose="020B0604020202020204" pitchFamily="34" charset="0"/>
            </a:endParaRPr>
          </a:p>
          <a:p>
            <a:pPr algn="just"/>
            <a:r>
              <a:rPr lang="ru-RU" sz="1400" dirty="0" err="1">
                <a:cs typeface="Arial" panose="020B0604020202020204" pitchFamily="34" charset="0"/>
              </a:rPr>
              <a:t>Сондай-ақ</a:t>
            </a:r>
            <a:r>
              <a:rPr lang="ru-RU" sz="1400" dirty="0">
                <a:cs typeface="Arial" panose="020B0604020202020204" pitchFamily="34" charset="0"/>
              </a:rPr>
              <a:t>, </a:t>
            </a:r>
            <a:r>
              <a:rPr lang="ru-RU" sz="1400" dirty="0" err="1">
                <a:cs typeface="Arial" panose="020B0604020202020204" pitchFamily="34" charset="0"/>
              </a:rPr>
              <a:t>Ресей</a:t>
            </a:r>
            <a:r>
              <a:rPr lang="ru-RU" sz="1400" dirty="0">
                <a:cs typeface="Arial" panose="020B0604020202020204" pitchFamily="34" charset="0"/>
              </a:rPr>
              <a:t> </a:t>
            </a:r>
            <a:r>
              <a:rPr lang="ru-RU" sz="1400" dirty="0" err="1">
                <a:cs typeface="Arial" panose="020B0604020202020204" pitchFamily="34" charset="0"/>
              </a:rPr>
              <a:t>Федерациясымен</a:t>
            </a:r>
            <a:r>
              <a:rPr lang="ru-RU" sz="1400" dirty="0">
                <a:cs typeface="Arial" panose="020B0604020202020204" pitchFamily="34" charset="0"/>
              </a:rPr>
              <a:t> </a:t>
            </a:r>
            <a:r>
              <a:rPr lang="ru-RU" sz="1400" dirty="0" err="1">
                <a:cs typeface="Arial" panose="020B0604020202020204" pitchFamily="34" charset="0"/>
              </a:rPr>
              <a:t>жұмыс</a:t>
            </a:r>
            <a:r>
              <a:rPr lang="ru-RU" sz="1400" dirty="0">
                <a:cs typeface="Arial" panose="020B0604020202020204" pitchFamily="34" charset="0"/>
              </a:rPr>
              <a:t> </a:t>
            </a:r>
            <a:r>
              <a:rPr lang="ru-RU" sz="1400" dirty="0" err="1">
                <a:cs typeface="Arial" panose="020B0604020202020204" pitchFamily="34" charset="0"/>
              </a:rPr>
              <a:t>тобы</a:t>
            </a:r>
            <a:r>
              <a:rPr lang="ru-RU" sz="1400" dirty="0">
                <a:cs typeface="Arial" panose="020B0604020202020204" pitchFamily="34" charset="0"/>
              </a:rPr>
              <a:t> </a:t>
            </a:r>
            <a:r>
              <a:rPr lang="ru-RU" sz="1400" dirty="0" err="1">
                <a:cs typeface="Arial" panose="020B0604020202020204" pitchFamily="34" charset="0"/>
              </a:rPr>
              <a:t>аясында</a:t>
            </a:r>
            <a:r>
              <a:rPr lang="ru-RU" sz="1400" dirty="0"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2"/>
                </a:solidFill>
                <a:cs typeface="Arial" panose="020B0604020202020204" pitchFamily="34" charset="0"/>
              </a:rPr>
              <a:t>Ресей</a:t>
            </a:r>
            <a:r>
              <a:rPr lang="ru-RU" sz="1400" b="1" dirty="0">
                <a:solidFill>
                  <a:schemeClr val="accent2"/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2"/>
                </a:solidFill>
                <a:cs typeface="Arial" panose="020B0604020202020204" pitchFamily="34" charset="0"/>
              </a:rPr>
              <a:t>Федерациясынан</a:t>
            </a:r>
            <a:r>
              <a:rPr lang="ru-RU" sz="1400" b="1" dirty="0">
                <a:solidFill>
                  <a:schemeClr val="accent2"/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2"/>
                </a:solidFill>
                <a:cs typeface="Arial" panose="020B0604020202020204" pitchFamily="34" charset="0"/>
              </a:rPr>
              <a:t>сұйытылған</a:t>
            </a:r>
            <a:r>
              <a:rPr lang="ru-RU" sz="1400" b="1" dirty="0">
                <a:solidFill>
                  <a:schemeClr val="accent2"/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2"/>
                </a:solidFill>
                <a:cs typeface="Arial" panose="020B0604020202020204" pitchFamily="34" charset="0"/>
              </a:rPr>
              <a:t>табиғи</a:t>
            </a:r>
            <a:r>
              <a:rPr lang="ru-RU" sz="1400" b="1" dirty="0">
                <a:solidFill>
                  <a:schemeClr val="accent2"/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2"/>
                </a:solidFill>
                <a:cs typeface="Arial" panose="020B0604020202020204" pitchFamily="34" charset="0"/>
              </a:rPr>
              <a:t>газды</a:t>
            </a:r>
            <a:r>
              <a:rPr lang="ru-RU" sz="1400" b="1" dirty="0">
                <a:solidFill>
                  <a:schemeClr val="accent2"/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2"/>
                </a:solidFill>
                <a:cs typeface="Arial" panose="020B0604020202020204" pitchFamily="34" charset="0"/>
              </a:rPr>
              <a:t>жеткізу</a:t>
            </a:r>
            <a:r>
              <a:rPr lang="ru-RU" sz="1400" b="1" dirty="0">
                <a:solidFill>
                  <a:schemeClr val="accent2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cs typeface="Arial" panose="020B0604020202020204" pitchFamily="34" charset="0"/>
              </a:rPr>
              <a:t>арқылы</a:t>
            </a:r>
            <a:r>
              <a:rPr lang="ru-RU" sz="1400" dirty="0">
                <a:cs typeface="Arial" panose="020B0604020202020204" pitchFamily="34" charset="0"/>
              </a:rPr>
              <a:t> </a:t>
            </a:r>
            <a:r>
              <a:rPr lang="ru-RU" sz="1400" dirty="0" err="1">
                <a:cs typeface="Arial" panose="020B0604020202020204" pitchFamily="34" charset="0"/>
              </a:rPr>
              <a:t>елдің</a:t>
            </a:r>
            <a:r>
              <a:rPr lang="ru-RU" sz="1400" dirty="0">
                <a:cs typeface="Arial" panose="020B0604020202020204" pitchFamily="34" charset="0"/>
              </a:rPr>
              <a:t> </a:t>
            </a:r>
            <a:r>
              <a:rPr lang="ru-RU" sz="1400" dirty="0" err="1">
                <a:cs typeface="Arial" panose="020B0604020202020204" pitchFamily="34" charset="0"/>
              </a:rPr>
              <a:t>солтүстік</a:t>
            </a:r>
            <a:r>
              <a:rPr lang="ru-RU" sz="1400" dirty="0">
                <a:cs typeface="Arial" panose="020B0604020202020204" pitchFamily="34" charset="0"/>
              </a:rPr>
              <a:t> </a:t>
            </a:r>
            <a:r>
              <a:rPr lang="ru-RU" sz="1400" dirty="0" err="1">
                <a:cs typeface="Arial" panose="020B0604020202020204" pitchFamily="34" charset="0"/>
              </a:rPr>
              <a:t>және</a:t>
            </a:r>
            <a:r>
              <a:rPr lang="ru-RU" sz="1400" dirty="0">
                <a:cs typeface="Arial" panose="020B0604020202020204" pitchFamily="34" charset="0"/>
              </a:rPr>
              <a:t> </a:t>
            </a:r>
            <a:r>
              <a:rPr lang="ru-RU" sz="1400" dirty="0" err="1">
                <a:cs typeface="Arial" panose="020B0604020202020204" pitchFamily="34" charset="0"/>
              </a:rPr>
              <a:t>шығыс</a:t>
            </a:r>
            <a:r>
              <a:rPr lang="ru-RU" sz="1400" dirty="0">
                <a:cs typeface="Arial" panose="020B0604020202020204" pitchFamily="34" charset="0"/>
              </a:rPr>
              <a:t> </a:t>
            </a:r>
            <a:r>
              <a:rPr lang="ru-RU" sz="1400" dirty="0" err="1">
                <a:cs typeface="Arial" panose="020B0604020202020204" pitchFamily="34" charset="0"/>
              </a:rPr>
              <a:t>аймақтарын</a:t>
            </a:r>
            <a:r>
              <a:rPr lang="ru-RU" sz="1400" dirty="0">
                <a:cs typeface="Arial" panose="020B0604020202020204" pitchFamily="34" charset="0"/>
              </a:rPr>
              <a:t> </a:t>
            </a:r>
            <a:r>
              <a:rPr lang="ru-RU" sz="1400" dirty="0" err="1">
                <a:cs typeface="Arial" panose="020B0604020202020204" pitchFamily="34" charset="0"/>
              </a:rPr>
              <a:t>газдандырудың</a:t>
            </a:r>
            <a:r>
              <a:rPr lang="ru-RU" sz="1400" dirty="0">
                <a:cs typeface="Arial" panose="020B0604020202020204" pitchFamily="34" charset="0"/>
              </a:rPr>
              <a:t> </a:t>
            </a:r>
            <a:r>
              <a:rPr lang="ru-RU" sz="1400" dirty="0" err="1">
                <a:cs typeface="Arial" panose="020B0604020202020204" pitchFamily="34" charset="0"/>
              </a:rPr>
              <a:t>балама</a:t>
            </a:r>
            <a:r>
              <a:rPr lang="ru-RU" sz="1400" dirty="0">
                <a:cs typeface="Arial" panose="020B0604020202020204" pitchFamily="34" charset="0"/>
              </a:rPr>
              <a:t> </a:t>
            </a:r>
            <a:r>
              <a:rPr lang="ru-RU" sz="1400" dirty="0" err="1">
                <a:cs typeface="Arial" panose="020B0604020202020204" pitchFamily="34" charset="0"/>
              </a:rPr>
              <a:t>нұсқасы</a:t>
            </a:r>
            <a:r>
              <a:rPr lang="ru-RU" sz="1400" dirty="0">
                <a:cs typeface="Arial" panose="020B0604020202020204" pitchFamily="34" charset="0"/>
              </a:rPr>
              <a:t> </a:t>
            </a:r>
            <a:r>
              <a:rPr lang="ru-RU" sz="1400" dirty="0" err="1">
                <a:cs typeface="Arial" panose="020B0604020202020204" pitchFamily="34" charset="0"/>
              </a:rPr>
              <a:t>зерттелуде</a:t>
            </a:r>
            <a:r>
              <a:rPr lang="ru-RU" sz="1400" b="1" dirty="0"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232" name="object 36"/>
          <p:cNvGrpSpPr/>
          <p:nvPr/>
        </p:nvGrpSpPr>
        <p:grpSpPr>
          <a:xfrm>
            <a:off x="60753" y="4289550"/>
            <a:ext cx="661920" cy="507328"/>
            <a:chOff x="7972323" y="6643641"/>
            <a:chExt cx="802348" cy="600038"/>
          </a:xfrm>
        </p:grpSpPr>
        <p:sp>
          <p:nvSpPr>
            <p:cNvPr id="233" name="object 37"/>
            <p:cNvSpPr/>
            <p:nvPr/>
          </p:nvSpPr>
          <p:spPr>
            <a:xfrm>
              <a:off x="8537181" y="6825780"/>
              <a:ext cx="237490" cy="363220"/>
            </a:xfrm>
            <a:custGeom>
              <a:avLst/>
              <a:gdLst/>
              <a:ahLst/>
              <a:cxnLst/>
              <a:rect l="l" t="t" r="r" b="b"/>
              <a:pathLst>
                <a:path w="237490" h="363220">
                  <a:moveTo>
                    <a:pt x="148285" y="362622"/>
                  </a:moveTo>
                  <a:lnTo>
                    <a:pt x="148323" y="255663"/>
                  </a:lnTo>
                  <a:lnTo>
                    <a:pt x="148826" y="210902"/>
                  </a:lnTo>
                  <a:lnTo>
                    <a:pt x="145094" y="168395"/>
                  </a:lnTo>
                  <a:lnTo>
                    <a:pt x="129260" y="130726"/>
                  </a:lnTo>
                  <a:lnTo>
                    <a:pt x="93459" y="100482"/>
                  </a:lnTo>
                  <a:lnTo>
                    <a:pt x="48977" y="89512"/>
                  </a:lnTo>
                  <a:lnTo>
                    <a:pt x="0" y="88925"/>
                  </a:lnTo>
                  <a:lnTo>
                    <a:pt x="342" y="571"/>
                  </a:lnTo>
                  <a:lnTo>
                    <a:pt x="68945" y="1926"/>
                  </a:lnTo>
                  <a:lnTo>
                    <a:pt x="130517" y="19913"/>
                  </a:lnTo>
                  <a:lnTo>
                    <a:pt x="175625" y="50831"/>
                  </a:lnTo>
                  <a:lnTo>
                    <a:pt x="209054" y="91503"/>
                  </a:lnTo>
                  <a:lnTo>
                    <a:pt x="232070" y="147552"/>
                  </a:lnTo>
                  <a:lnTo>
                    <a:pt x="236860" y="210902"/>
                  </a:lnTo>
                  <a:lnTo>
                    <a:pt x="236931" y="362571"/>
                  </a:lnTo>
                  <a:lnTo>
                    <a:pt x="148285" y="362622"/>
                  </a:lnTo>
                  <a:close/>
                </a:path>
              </a:pathLst>
            </a:custGeom>
            <a:solidFill>
              <a:srgbClr val="008BD2"/>
            </a:solidFill>
          </p:spPr>
          <p:txBody>
            <a:bodyPr wrap="square" lIns="0" tIns="0" rIns="0" bIns="0" rtlCol="0"/>
            <a:lstStyle/>
            <a:p>
              <a:endParaRPr sz="1600"/>
            </a:p>
          </p:txBody>
        </p:sp>
        <p:sp>
          <p:nvSpPr>
            <p:cNvPr id="234" name="object 38"/>
            <p:cNvSpPr/>
            <p:nvPr/>
          </p:nvSpPr>
          <p:spPr>
            <a:xfrm>
              <a:off x="8260309" y="7006825"/>
              <a:ext cx="236854" cy="236854"/>
            </a:xfrm>
            <a:custGeom>
              <a:avLst/>
              <a:gdLst/>
              <a:ahLst/>
              <a:cxnLst/>
              <a:rect l="l" t="t" r="r" b="b"/>
              <a:pathLst>
                <a:path w="236854" h="236854">
                  <a:moveTo>
                    <a:pt x="135178" y="236334"/>
                  </a:moveTo>
                  <a:lnTo>
                    <a:pt x="85367" y="233315"/>
                  </a:lnTo>
                  <a:lnTo>
                    <a:pt x="44319" y="212212"/>
                  </a:lnTo>
                  <a:lnTo>
                    <a:pt x="14906" y="177957"/>
                  </a:lnTo>
                  <a:lnTo>
                    <a:pt x="0" y="135483"/>
                  </a:lnTo>
                  <a:lnTo>
                    <a:pt x="2903" y="84914"/>
                  </a:lnTo>
                  <a:lnTo>
                    <a:pt x="24399" y="43776"/>
                  </a:lnTo>
                  <a:lnTo>
                    <a:pt x="59207" y="14622"/>
                  </a:lnTo>
                  <a:lnTo>
                    <a:pt x="102044" y="0"/>
                  </a:lnTo>
                  <a:lnTo>
                    <a:pt x="151289" y="3164"/>
                  </a:lnTo>
                  <a:lnTo>
                    <a:pt x="187968" y="22186"/>
                  </a:lnTo>
                  <a:lnTo>
                    <a:pt x="121583" y="22186"/>
                  </a:lnTo>
                  <a:lnTo>
                    <a:pt x="104228" y="31051"/>
                  </a:lnTo>
                  <a:lnTo>
                    <a:pt x="86243" y="45391"/>
                  </a:lnTo>
                  <a:lnTo>
                    <a:pt x="72007" y="64171"/>
                  </a:lnTo>
                  <a:lnTo>
                    <a:pt x="62607" y="88206"/>
                  </a:lnTo>
                  <a:lnTo>
                    <a:pt x="60181" y="109221"/>
                  </a:lnTo>
                  <a:lnTo>
                    <a:pt x="46167" y="109221"/>
                  </a:lnTo>
                  <a:lnTo>
                    <a:pt x="39257" y="113596"/>
                  </a:lnTo>
                  <a:lnTo>
                    <a:pt x="36956" y="136372"/>
                  </a:lnTo>
                  <a:lnTo>
                    <a:pt x="47941" y="174962"/>
                  </a:lnTo>
                  <a:lnTo>
                    <a:pt x="73556" y="200841"/>
                  </a:lnTo>
                  <a:lnTo>
                    <a:pt x="107478" y="212966"/>
                  </a:lnTo>
                  <a:lnTo>
                    <a:pt x="187681" y="212966"/>
                  </a:lnTo>
                  <a:lnTo>
                    <a:pt x="177651" y="221566"/>
                  </a:lnTo>
                  <a:lnTo>
                    <a:pt x="135178" y="236334"/>
                  </a:lnTo>
                  <a:close/>
                </a:path>
                <a:path w="236854" h="236854">
                  <a:moveTo>
                    <a:pt x="143319" y="106857"/>
                  </a:moveTo>
                  <a:lnTo>
                    <a:pt x="132389" y="69056"/>
                  </a:lnTo>
                  <a:lnTo>
                    <a:pt x="130564" y="35637"/>
                  </a:lnTo>
                  <a:lnTo>
                    <a:pt x="128914" y="24437"/>
                  </a:lnTo>
                  <a:lnTo>
                    <a:pt x="121583" y="22186"/>
                  </a:lnTo>
                  <a:lnTo>
                    <a:pt x="187968" y="22186"/>
                  </a:lnTo>
                  <a:lnTo>
                    <a:pt x="192298" y="24437"/>
                  </a:lnTo>
                  <a:lnTo>
                    <a:pt x="221766" y="58789"/>
                  </a:lnTo>
                  <a:lnTo>
                    <a:pt x="227317" y="74853"/>
                  </a:lnTo>
                  <a:lnTo>
                    <a:pt x="167436" y="74853"/>
                  </a:lnTo>
                  <a:lnTo>
                    <a:pt x="163780" y="79940"/>
                  </a:lnTo>
                  <a:lnTo>
                    <a:pt x="159250" y="89331"/>
                  </a:lnTo>
                  <a:lnTo>
                    <a:pt x="152783" y="99485"/>
                  </a:lnTo>
                  <a:lnTo>
                    <a:pt x="143319" y="106857"/>
                  </a:lnTo>
                  <a:close/>
                </a:path>
                <a:path w="236854" h="236854">
                  <a:moveTo>
                    <a:pt x="187681" y="212966"/>
                  </a:moveTo>
                  <a:lnTo>
                    <a:pt x="107478" y="212966"/>
                  </a:lnTo>
                  <a:lnTo>
                    <a:pt x="143384" y="210291"/>
                  </a:lnTo>
                  <a:lnTo>
                    <a:pt x="174952" y="191771"/>
                  </a:lnTo>
                  <a:lnTo>
                    <a:pt x="195859" y="156362"/>
                  </a:lnTo>
                  <a:lnTo>
                    <a:pt x="198650" y="143763"/>
                  </a:lnTo>
                  <a:lnTo>
                    <a:pt x="199378" y="131164"/>
                  </a:lnTo>
                  <a:lnTo>
                    <a:pt x="198061" y="118638"/>
                  </a:lnTo>
                  <a:lnTo>
                    <a:pt x="175826" y="76385"/>
                  </a:lnTo>
                  <a:lnTo>
                    <a:pt x="167436" y="74853"/>
                  </a:lnTo>
                  <a:lnTo>
                    <a:pt x="227317" y="74853"/>
                  </a:lnTo>
                  <a:lnTo>
                    <a:pt x="236435" y="101244"/>
                  </a:lnTo>
                  <a:lnTo>
                    <a:pt x="233146" y="151087"/>
                  </a:lnTo>
                  <a:lnTo>
                    <a:pt x="211929" y="192173"/>
                  </a:lnTo>
                  <a:lnTo>
                    <a:pt x="187681" y="212966"/>
                  </a:lnTo>
                  <a:close/>
                </a:path>
                <a:path w="236854" h="236854">
                  <a:moveTo>
                    <a:pt x="59131" y="118313"/>
                  </a:moveTo>
                  <a:lnTo>
                    <a:pt x="54016" y="113907"/>
                  </a:lnTo>
                  <a:lnTo>
                    <a:pt x="46167" y="109221"/>
                  </a:lnTo>
                  <a:lnTo>
                    <a:pt x="60181" y="109221"/>
                  </a:lnTo>
                  <a:lnTo>
                    <a:pt x="59131" y="118313"/>
                  </a:lnTo>
                  <a:close/>
                </a:path>
              </a:pathLst>
            </a:custGeom>
            <a:solidFill>
              <a:srgbClr val="006190"/>
            </a:solidFill>
          </p:spPr>
          <p:txBody>
            <a:bodyPr wrap="square" lIns="0" tIns="0" rIns="0" bIns="0" rtlCol="0"/>
            <a:lstStyle/>
            <a:p>
              <a:endParaRPr sz="1600"/>
            </a:p>
          </p:txBody>
        </p:sp>
        <p:sp>
          <p:nvSpPr>
            <p:cNvPr id="235" name="object 39"/>
            <p:cNvSpPr/>
            <p:nvPr/>
          </p:nvSpPr>
          <p:spPr>
            <a:xfrm>
              <a:off x="7972323" y="6643641"/>
              <a:ext cx="549911" cy="561974"/>
            </a:xfrm>
            <a:custGeom>
              <a:avLst/>
              <a:gdLst/>
              <a:ahLst/>
              <a:cxnLst/>
              <a:rect l="l" t="t" r="r" b="b"/>
              <a:pathLst>
                <a:path w="549909" h="561975">
                  <a:moveTo>
                    <a:pt x="238658" y="235826"/>
                  </a:moveTo>
                  <a:lnTo>
                    <a:pt x="238277" y="193560"/>
                  </a:lnTo>
                  <a:lnTo>
                    <a:pt x="238379" y="180467"/>
                  </a:lnTo>
                  <a:lnTo>
                    <a:pt x="238074" y="184137"/>
                  </a:lnTo>
                  <a:lnTo>
                    <a:pt x="236194" y="182346"/>
                  </a:lnTo>
                  <a:lnTo>
                    <a:pt x="218097" y="182880"/>
                  </a:lnTo>
                  <a:lnTo>
                    <a:pt x="200101" y="182702"/>
                  </a:lnTo>
                  <a:lnTo>
                    <a:pt x="122186" y="195033"/>
                  </a:lnTo>
                  <a:lnTo>
                    <a:pt x="85471" y="213995"/>
                  </a:lnTo>
                  <a:lnTo>
                    <a:pt x="54063" y="240347"/>
                  </a:lnTo>
                  <a:lnTo>
                    <a:pt x="28282" y="273138"/>
                  </a:lnTo>
                  <a:lnTo>
                    <a:pt x="5245" y="328549"/>
                  </a:lnTo>
                  <a:lnTo>
                    <a:pt x="0" y="394284"/>
                  </a:lnTo>
                  <a:lnTo>
                    <a:pt x="0" y="544753"/>
                  </a:lnTo>
                  <a:lnTo>
                    <a:pt x="88658" y="544652"/>
                  </a:lnTo>
                  <a:lnTo>
                    <a:pt x="88099" y="449173"/>
                  </a:lnTo>
                  <a:lnTo>
                    <a:pt x="88226" y="395185"/>
                  </a:lnTo>
                  <a:lnTo>
                    <a:pt x="100152" y="327063"/>
                  </a:lnTo>
                  <a:lnTo>
                    <a:pt x="150583" y="278422"/>
                  </a:lnTo>
                  <a:lnTo>
                    <a:pt x="237185" y="271792"/>
                  </a:lnTo>
                  <a:lnTo>
                    <a:pt x="238417" y="258533"/>
                  </a:lnTo>
                  <a:lnTo>
                    <a:pt x="238658" y="235826"/>
                  </a:lnTo>
                  <a:close/>
                </a:path>
                <a:path w="549909" h="561975">
                  <a:moveTo>
                    <a:pt x="307886" y="244322"/>
                  </a:moveTo>
                  <a:lnTo>
                    <a:pt x="307327" y="199224"/>
                  </a:lnTo>
                  <a:lnTo>
                    <a:pt x="307860" y="187680"/>
                  </a:lnTo>
                  <a:lnTo>
                    <a:pt x="307771" y="177406"/>
                  </a:lnTo>
                  <a:lnTo>
                    <a:pt x="304507" y="170002"/>
                  </a:lnTo>
                  <a:lnTo>
                    <a:pt x="295529" y="167068"/>
                  </a:lnTo>
                  <a:lnTo>
                    <a:pt x="273634" y="166560"/>
                  </a:lnTo>
                  <a:lnTo>
                    <a:pt x="261772" y="167271"/>
                  </a:lnTo>
                  <a:lnTo>
                    <a:pt x="254698" y="169748"/>
                  </a:lnTo>
                  <a:lnTo>
                    <a:pt x="252501" y="185674"/>
                  </a:lnTo>
                  <a:lnTo>
                    <a:pt x="251764" y="217601"/>
                  </a:lnTo>
                  <a:lnTo>
                    <a:pt x="251904" y="251929"/>
                  </a:lnTo>
                  <a:lnTo>
                    <a:pt x="252514" y="283908"/>
                  </a:lnTo>
                  <a:lnTo>
                    <a:pt x="253847" y="286334"/>
                  </a:lnTo>
                  <a:lnTo>
                    <a:pt x="272948" y="287096"/>
                  </a:lnTo>
                  <a:lnTo>
                    <a:pt x="285076" y="287185"/>
                  </a:lnTo>
                  <a:lnTo>
                    <a:pt x="296760" y="286600"/>
                  </a:lnTo>
                  <a:lnTo>
                    <a:pt x="305396" y="284949"/>
                  </a:lnTo>
                  <a:lnTo>
                    <a:pt x="307403" y="269506"/>
                  </a:lnTo>
                  <a:lnTo>
                    <a:pt x="307886" y="244322"/>
                  </a:lnTo>
                  <a:close/>
                </a:path>
                <a:path w="549909" h="561975">
                  <a:moveTo>
                    <a:pt x="322567" y="181267"/>
                  </a:moveTo>
                  <a:lnTo>
                    <a:pt x="321030" y="183984"/>
                  </a:lnTo>
                  <a:lnTo>
                    <a:pt x="322199" y="183362"/>
                  </a:lnTo>
                  <a:lnTo>
                    <a:pt x="322567" y="181267"/>
                  </a:lnTo>
                  <a:close/>
                </a:path>
                <a:path w="549909" h="561975">
                  <a:moveTo>
                    <a:pt x="361264" y="26974"/>
                  </a:moveTo>
                  <a:lnTo>
                    <a:pt x="342328" y="26441"/>
                  </a:lnTo>
                  <a:lnTo>
                    <a:pt x="321729" y="27355"/>
                  </a:lnTo>
                  <a:lnTo>
                    <a:pt x="305066" y="34290"/>
                  </a:lnTo>
                  <a:lnTo>
                    <a:pt x="297954" y="51828"/>
                  </a:lnTo>
                  <a:lnTo>
                    <a:pt x="304469" y="70180"/>
                  </a:lnTo>
                  <a:lnTo>
                    <a:pt x="321094" y="77546"/>
                  </a:lnTo>
                  <a:lnTo>
                    <a:pt x="341960" y="78638"/>
                  </a:lnTo>
                  <a:lnTo>
                    <a:pt x="361213" y="78079"/>
                  </a:lnTo>
                  <a:lnTo>
                    <a:pt x="358825" y="72961"/>
                  </a:lnTo>
                  <a:lnTo>
                    <a:pt x="356641" y="73113"/>
                  </a:lnTo>
                  <a:lnTo>
                    <a:pt x="353822" y="67754"/>
                  </a:lnTo>
                  <a:lnTo>
                    <a:pt x="349745" y="53162"/>
                  </a:lnTo>
                  <a:lnTo>
                    <a:pt x="352094" y="41554"/>
                  </a:lnTo>
                  <a:lnTo>
                    <a:pt x="357174" y="32842"/>
                  </a:lnTo>
                  <a:lnTo>
                    <a:pt x="361264" y="26974"/>
                  </a:lnTo>
                  <a:close/>
                </a:path>
                <a:path w="549909" h="561975">
                  <a:moveTo>
                    <a:pt x="414693" y="115328"/>
                  </a:moveTo>
                  <a:lnTo>
                    <a:pt x="387248" y="115277"/>
                  </a:lnTo>
                  <a:lnTo>
                    <a:pt x="387057" y="166624"/>
                  </a:lnTo>
                  <a:lnTo>
                    <a:pt x="414693" y="167220"/>
                  </a:lnTo>
                  <a:lnTo>
                    <a:pt x="414693" y="115328"/>
                  </a:lnTo>
                  <a:close/>
                </a:path>
                <a:path w="549909" h="561975">
                  <a:moveTo>
                    <a:pt x="418807" y="19583"/>
                  </a:moveTo>
                  <a:lnTo>
                    <a:pt x="413169" y="4953"/>
                  </a:lnTo>
                  <a:lnTo>
                    <a:pt x="401091" y="0"/>
                  </a:lnTo>
                  <a:lnTo>
                    <a:pt x="388899" y="4711"/>
                  </a:lnTo>
                  <a:lnTo>
                    <a:pt x="382943" y="19037"/>
                  </a:lnTo>
                  <a:lnTo>
                    <a:pt x="418807" y="19583"/>
                  </a:lnTo>
                  <a:close/>
                </a:path>
                <a:path w="549909" h="561975">
                  <a:moveTo>
                    <a:pt x="444093" y="48056"/>
                  </a:moveTo>
                  <a:lnTo>
                    <a:pt x="411911" y="27025"/>
                  </a:lnTo>
                  <a:lnTo>
                    <a:pt x="394728" y="26797"/>
                  </a:lnTo>
                  <a:lnTo>
                    <a:pt x="385584" y="26911"/>
                  </a:lnTo>
                  <a:lnTo>
                    <a:pt x="378675" y="27622"/>
                  </a:lnTo>
                  <a:lnTo>
                    <a:pt x="362127" y="38214"/>
                  </a:lnTo>
                  <a:lnTo>
                    <a:pt x="357403" y="55257"/>
                  </a:lnTo>
                  <a:lnTo>
                    <a:pt x="365988" y="71107"/>
                  </a:lnTo>
                  <a:lnTo>
                    <a:pt x="389382" y="78079"/>
                  </a:lnTo>
                  <a:lnTo>
                    <a:pt x="406869" y="78371"/>
                  </a:lnTo>
                  <a:lnTo>
                    <a:pt x="416153" y="78257"/>
                  </a:lnTo>
                  <a:lnTo>
                    <a:pt x="423672" y="77533"/>
                  </a:lnTo>
                  <a:lnTo>
                    <a:pt x="435470" y="71729"/>
                  </a:lnTo>
                  <a:lnTo>
                    <a:pt x="442785" y="60985"/>
                  </a:lnTo>
                  <a:lnTo>
                    <a:pt x="444093" y="48056"/>
                  </a:lnTo>
                  <a:close/>
                </a:path>
                <a:path w="549909" h="561975">
                  <a:moveTo>
                    <a:pt x="470700" y="481799"/>
                  </a:moveTo>
                  <a:lnTo>
                    <a:pt x="461022" y="461352"/>
                  </a:lnTo>
                  <a:lnTo>
                    <a:pt x="454723" y="468896"/>
                  </a:lnTo>
                  <a:lnTo>
                    <a:pt x="446633" y="477875"/>
                  </a:lnTo>
                  <a:lnTo>
                    <a:pt x="437311" y="485419"/>
                  </a:lnTo>
                  <a:lnTo>
                    <a:pt x="427342" y="488696"/>
                  </a:lnTo>
                  <a:lnTo>
                    <a:pt x="415975" y="474751"/>
                  </a:lnTo>
                  <a:lnTo>
                    <a:pt x="409054" y="452666"/>
                  </a:lnTo>
                  <a:lnTo>
                    <a:pt x="405168" y="427939"/>
                  </a:lnTo>
                  <a:lnTo>
                    <a:pt x="402882" y="406095"/>
                  </a:lnTo>
                  <a:lnTo>
                    <a:pt x="389953" y="414820"/>
                  </a:lnTo>
                  <a:lnTo>
                    <a:pt x="378841" y="426567"/>
                  </a:lnTo>
                  <a:lnTo>
                    <a:pt x="370141" y="441325"/>
                  </a:lnTo>
                  <a:lnTo>
                    <a:pt x="364477" y="459117"/>
                  </a:lnTo>
                  <a:lnTo>
                    <a:pt x="362788" y="471106"/>
                  </a:lnTo>
                  <a:lnTo>
                    <a:pt x="362800" y="480923"/>
                  </a:lnTo>
                  <a:lnTo>
                    <a:pt x="364782" y="501637"/>
                  </a:lnTo>
                  <a:lnTo>
                    <a:pt x="365226" y="508584"/>
                  </a:lnTo>
                  <a:lnTo>
                    <a:pt x="359918" y="513791"/>
                  </a:lnTo>
                  <a:lnTo>
                    <a:pt x="348754" y="506742"/>
                  </a:lnTo>
                  <a:lnTo>
                    <a:pt x="346519" y="501192"/>
                  </a:lnTo>
                  <a:lnTo>
                    <a:pt x="340321" y="497865"/>
                  </a:lnTo>
                  <a:lnTo>
                    <a:pt x="348234" y="527189"/>
                  </a:lnTo>
                  <a:lnTo>
                    <a:pt x="367157" y="549668"/>
                  </a:lnTo>
                  <a:lnTo>
                    <a:pt x="394411" y="561416"/>
                  </a:lnTo>
                  <a:lnTo>
                    <a:pt x="427342" y="558495"/>
                  </a:lnTo>
                  <a:lnTo>
                    <a:pt x="456412" y="538848"/>
                  </a:lnTo>
                  <a:lnTo>
                    <a:pt x="470014" y="510451"/>
                  </a:lnTo>
                  <a:lnTo>
                    <a:pt x="470700" y="481799"/>
                  </a:lnTo>
                  <a:close/>
                </a:path>
                <a:path w="549909" h="561975">
                  <a:moveTo>
                    <a:pt x="478980" y="182753"/>
                  </a:moveTo>
                  <a:lnTo>
                    <a:pt x="323900" y="182448"/>
                  </a:lnTo>
                  <a:lnTo>
                    <a:pt x="323888" y="182600"/>
                  </a:lnTo>
                  <a:lnTo>
                    <a:pt x="323888" y="183870"/>
                  </a:lnTo>
                  <a:lnTo>
                    <a:pt x="323875" y="185483"/>
                  </a:lnTo>
                  <a:lnTo>
                    <a:pt x="323875" y="183870"/>
                  </a:lnTo>
                  <a:lnTo>
                    <a:pt x="323888" y="182600"/>
                  </a:lnTo>
                  <a:lnTo>
                    <a:pt x="323862" y="186423"/>
                  </a:lnTo>
                  <a:lnTo>
                    <a:pt x="323761" y="199377"/>
                  </a:lnTo>
                  <a:lnTo>
                    <a:pt x="323761" y="186423"/>
                  </a:lnTo>
                  <a:lnTo>
                    <a:pt x="323862" y="182600"/>
                  </a:lnTo>
                  <a:lnTo>
                    <a:pt x="323672" y="182600"/>
                  </a:lnTo>
                  <a:lnTo>
                    <a:pt x="323672" y="210540"/>
                  </a:lnTo>
                  <a:lnTo>
                    <a:pt x="323570" y="223520"/>
                  </a:lnTo>
                  <a:lnTo>
                    <a:pt x="323570" y="210540"/>
                  </a:lnTo>
                  <a:lnTo>
                    <a:pt x="323672" y="182600"/>
                  </a:lnTo>
                  <a:lnTo>
                    <a:pt x="323481" y="182600"/>
                  </a:lnTo>
                  <a:lnTo>
                    <a:pt x="323481" y="234670"/>
                  </a:lnTo>
                  <a:lnTo>
                    <a:pt x="323380" y="247726"/>
                  </a:lnTo>
                  <a:lnTo>
                    <a:pt x="323380" y="234670"/>
                  </a:lnTo>
                  <a:lnTo>
                    <a:pt x="323481" y="182600"/>
                  </a:lnTo>
                  <a:lnTo>
                    <a:pt x="323291" y="182600"/>
                  </a:lnTo>
                  <a:lnTo>
                    <a:pt x="323291" y="258800"/>
                  </a:lnTo>
                  <a:lnTo>
                    <a:pt x="323240" y="265531"/>
                  </a:lnTo>
                  <a:lnTo>
                    <a:pt x="323240" y="258800"/>
                  </a:lnTo>
                  <a:lnTo>
                    <a:pt x="323291" y="182600"/>
                  </a:lnTo>
                  <a:lnTo>
                    <a:pt x="322427" y="182600"/>
                  </a:lnTo>
                  <a:lnTo>
                    <a:pt x="322427" y="183870"/>
                  </a:lnTo>
                  <a:lnTo>
                    <a:pt x="321894" y="183870"/>
                  </a:lnTo>
                  <a:lnTo>
                    <a:pt x="321894" y="186423"/>
                  </a:lnTo>
                  <a:lnTo>
                    <a:pt x="321589" y="186423"/>
                  </a:lnTo>
                  <a:lnTo>
                    <a:pt x="321589" y="210540"/>
                  </a:lnTo>
                  <a:lnTo>
                    <a:pt x="321424" y="210540"/>
                  </a:lnTo>
                  <a:lnTo>
                    <a:pt x="321424" y="234670"/>
                  </a:lnTo>
                  <a:lnTo>
                    <a:pt x="321424" y="258800"/>
                  </a:lnTo>
                  <a:lnTo>
                    <a:pt x="322135" y="258800"/>
                  </a:lnTo>
                  <a:lnTo>
                    <a:pt x="322135" y="270230"/>
                  </a:lnTo>
                  <a:lnTo>
                    <a:pt x="322745" y="270230"/>
                  </a:lnTo>
                  <a:lnTo>
                    <a:pt x="322745" y="271500"/>
                  </a:lnTo>
                  <a:lnTo>
                    <a:pt x="338836" y="271500"/>
                  </a:lnTo>
                  <a:lnTo>
                    <a:pt x="338836" y="272770"/>
                  </a:lnTo>
                  <a:lnTo>
                    <a:pt x="445211" y="272770"/>
                  </a:lnTo>
                  <a:lnTo>
                    <a:pt x="445211" y="271500"/>
                  </a:lnTo>
                  <a:lnTo>
                    <a:pt x="478142" y="271500"/>
                  </a:lnTo>
                  <a:lnTo>
                    <a:pt x="478142" y="270560"/>
                  </a:lnTo>
                  <a:lnTo>
                    <a:pt x="478383" y="270560"/>
                  </a:lnTo>
                  <a:lnTo>
                    <a:pt x="478878" y="269963"/>
                  </a:lnTo>
                  <a:lnTo>
                    <a:pt x="478980" y="182753"/>
                  </a:lnTo>
                  <a:close/>
                </a:path>
                <a:path w="549909" h="561975">
                  <a:moveTo>
                    <a:pt x="480822" y="272249"/>
                  </a:moveTo>
                  <a:lnTo>
                    <a:pt x="479298" y="272046"/>
                  </a:lnTo>
                  <a:lnTo>
                    <a:pt x="469455" y="272046"/>
                  </a:lnTo>
                  <a:lnTo>
                    <a:pt x="480822" y="272249"/>
                  </a:lnTo>
                  <a:close/>
                </a:path>
                <a:path w="549909" h="561975">
                  <a:moveTo>
                    <a:pt x="504151" y="52539"/>
                  </a:moveTo>
                  <a:lnTo>
                    <a:pt x="496925" y="35001"/>
                  </a:lnTo>
                  <a:lnTo>
                    <a:pt x="476453" y="27025"/>
                  </a:lnTo>
                  <a:lnTo>
                    <a:pt x="440537" y="27127"/>
                  </a:lnTo>
                  <a:lnTo>
                    <a:pt x="444271" y="31927"/>
                  </a:lnTo>
                  <a:lnTo>
                    <a:pt x="447878" y="37084"/>
                  </a:lnTo>
                  <a:lnTo>
                    <a:pt x="450634" y="43446"/>
                  </a:lnTo>
                  <a:lnTo>
                    <a:pt x="451840" y="51828"/>
                  </a:lnTo>
                  <a:lnTo>
                    <a:pt x="450837" y="61125"/>
                  </a:lnTo>
                  <a:lnTo>
                    <a:pt x="448005" y="67691"/>
                  </a:lnTo>
                  <a:lnTo>
                    <a:pt x="440537" y="77927"/>
                  </a:lnTo>
                  <a:lnTo>
                    <a:pt x="473621" y="78079"/>
                  </a:lnTo>
                  <a:lnTo>
                    <a:pt x="496811" y="70091"/>
                  </a:lnTo>
                  <a:lnTo>
                    <a:pt x="504151" y="52539"/>
                  </a:lnTo>
                  <a:close/>
                </a:path>
                <a:path w="549909" h="561975">
                  <a:moveTo>
                    <a:pt x="549529" y="178041"/>
                  </a:moveTo>
                  <a:lnTo>
                    <a:pt x="549084" y="165735"/>
                  </a:lnTo>
                  <a:lnTo>
                    <a:pt x="543966" y="167068"/>
                  </a:lnTo>
                  <a:lnTo>
                    <a:pt x="505815" y="167119"/>
                  </a:lnTo>
                  <a:lnTo>
                    <a:pt x="493217" y="167322"/>
                  </a:lnTo>
                  <a:lnTo>
                    <a:pt x="494411" y="171691"/>
                  </a:lnTo>
                  <a:lnTo>
                    <a:pt x="494411" y="183743"/>
                  </a:lnTo>
                  <a:lnTo>
                    <a:pt x="494411" y="274967"/>
                  </a:lnTo>
                  <a:lnTo>
                    <a:pt x="496976" y="283730"/>
                  </a:lnTo>
                  <a:lnTo>
                    <a:pt x="504774" y="286981"/>
                  </a:lnTo>
                  <a:lnTo>
                    <a:pt x="517994" y="287159"/>
                  </a:lnTo>
                  <a:lnTo>
                    <a:pt x="536778" y="286677"/>
                  </a:lnTo>
                  <a:lnTo>
                    <a:pt x="549427" y="286677"/>
                  </a:lnTo>
                  <a:lnTo>
                    <a:pt x="549529" y="178041"/>
                  </a:lnTo>
                  <a:close/>
                </a:path>
              </a:pathLst>
            </a:custGeom>
            <a:solidFill>
              <a:srgbClr val="008BD2"/>
            </a:solidFill>
          </p:spPr>
          <p:txBody>
            <a:bodyPr wrap="square" lIns="0" tIns="0" rIns="0" bIns="0" rtlCol="0"/>
            <a:lstStyle/>
            <a:p>
              <a:endParaRPr sz="1600"/>
            </a:p>
          </p:txBody>
        </p:sp>
      </p:grpSp>
      <p:pic>
        <p:nvPicPr>
          <p:cNvPr id="236" name="Picture 6" descr="G:\балон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53" y="5617589"/>
            <a:ext cx="754968" cy="744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7" name="object 205"/>
          <p:cNvSpPr/>
          <p:nvPr/>
        </p:nvSpPr>
        <p:spPr>
          <a:xfrm rot="2203789" flipV="1">
            <a:off x="9877517" y="1257668"/>
            <a:ext cx="240387" cy="223499"/>
          </a:xfrm>
          <a:custGeom>
            <a:avLst/>
            <a:gdLst/>
            <a:ahLst/>
            <a:cxnLst/>
            <a:rect l="l" t="t" r="r" b="b"/>
            <a:pathLst>
              <a:path w="1258570" h="323214">
                <a:moveTo>
                  <a:pt x="0" y="323151"/>
                </a:moveTo>
                <a:lnTo>
                  <a:pt x="1258189" y="0"/>
                </a:lnTo>
              </a:path>
            </a:pathLst>
          </a:custGeom>
          <a:ln w="2857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1600">
              <a:cs typeface="Arial" panose="020B0604020202020204" pitchFamily="34" charset="0"/>
            </a:endParaRPr>
          </a:p>
        </p:txBody>
      </p:sp>
      <p:sp>
        <p:nvSpPr>
          <p:cNvPr id="238" name="Прямоугольник 237"/>
          <p:cNvSpPr/>
          <p:nvPr/>
        </p:nvSpPr>
        <p:spPr>
          <a:xfrm>
            <a:off x="428076" y="1471222"/>
            <a:ext cx="5424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7663" algn="just">
              <a:tabLst>
                <a:tab pos="447663" algn="l"/>
              </a:tabLst>
            </a:pPr>
            <a:r>
              <a:rPr lang="ru-RU" sz="1200" dirty="0">
                <a:cs typeface="Arial" panose="020B0604020202020204" pitchFamily="34" charset="0"/>
              </a:rPr>
              <a:t>«</a:t>
            </a:r>
            <a:r>
              <a:rPr lang="ru-RU" sz="1200" dirty="0" err="1">
                <a:cs typeface="Arial" panose="020B0604020202020204" pitchFamily="34" charset="0"/>
              </a:rPr>
              <a:t>Сарыарқа</a:t>
            </a:r>
            <a:r>
              <a:rPr lang="ru-RU" sz="1200" dirty="0">
                <a:cs typeface="Arial" panose="020B0604020202020204" pitchFamily="34" charset="0"/>
              </a:rPr>
              <a:t>» МГҚ-дан </a:t>
            </a:r>
            <a:r>
              <a:rPr lang="ru-RU" sz="1200" dirty="0" err="1">
                <a:cs typeface="Arial" panose="020B0604020202020204" pitchFamily="34" charset="0"/>
              </a:rPr>
              <a:t>нұсқа</a:t>
            </a:r>
            <a:endParaRPr lang="ru-RU" sz="1200" dirty="0">
              <a:cs typeface="Arial" panose="020B0604020202020204" pitchFamily="34" charset="0"/>
            </a:endParaRPr>
          </a:p>
        </p:txBody>
      </p:sp>
      <p:cxnSp>
        <p:nvCxnSpPr>
          <p:cNvPr id="239" name="Прямая соединительная линия 238"/>
          <p:cNvCxnSpPr/>
          <p:nvPr/>
        </p:nvCxnSpPr>
        <p:spPr>
          <a:xfrm>
            <a:off x="461895" y="1639351"/>
            <a:ext cx="398068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1" name="Rectangle 18"/>
          <p:cNvSpPr txBox="1">
            <a:spLocks noChangeArrowheads="1"/>
          </p:cNvSpPr>
          <p:nvPr/>
        </p:nvSpPr>
        <p:spPr bwMode="auto">
          <a:xfrm>
            <a:off x="5822387" y="1808128"/>
            <a:ext cx="1174008" cy="153888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defTabSz="895529">
              <a:lnSpc>
                <a:spcPct val="100000"/>
              </a:lnSpc>
              <a:spcBef>
                <a:spcPct val="0"/>
              </a:spcBef>
              <a:buClr>
                <a:srgbClr val="44546A"/>
              </a:buClr>
              <a:buFont typeface="Arial" panose="020B0604020202020204" pitchFamily="34" charset="0"/>
              <a:buNone/>
              <a:defRPr sz="1100" ker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3675" indent="-192088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457200" indent="-261938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614363" indent="-155575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749300" indent="-130175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12065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16637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21209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25781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pPr defTabSz="503710">
              <a:defRPr/>
            </a:pPr>
            <a:r>
              <a:rPr lang="ru-RU" altLang="ru-RU" sz="1000" b="1" dirty="0" err="1">
                <a:solidFill>
                  <a:prstClr val="black"/>
                </a:solidFill>
                <a:latin typeface="+mn-lt"/>
              </a:rPr>
              <a:t>Көкшетау</a:t>
            </a:r>
            <a:endParaRPr lang="en-US" altLang="ru-RU" sz="1000" b="1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242" name="Прямоугольник 241"/>
          <p:cNvSpPr/>
          <p:nvPr/>
        </p:nvSpPr>
        <p:spPr>
          <a:xfrm rot="19620336">
            <a:off x="7603413" y="2455460"/>
            <a:ext cx="426720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600" b="1" dirty="0">
                <a:cs typeface="Arial" panose="020B0604020202020204" pitchFamily="34" charset="0"/>
              </a:rPr>
              <a:t>450 </a:t>
            </a:r>
            <a:r>
              <a:rPr lang="ru-RU" sz="700" b="1" dirty="0">
                <a:cs typeface="Arial" panose="020B0604020202020204" pitchFamily="34" charset="0"/>
              </a:rPr>
              <a:t>км</a:t>
            </a:r>
            <a:endParaRPr lang="ru-RU" sz="600" b="1" dirty="0">
              <a:cs typeface="Arial" panose="020B0604020202020204" pitchFamily="34" charset="0"/>
            </a:endParaRPr>
          </a:p>
        </p:txBody>
      </p:sp>
      <p:sp>
        <p:nvSpPr>
          <p:cNvPr id="243" name="Прямоугольник 242"/>
          <p:cNvSpPr/>
          <p:nvPr/>
        </p:nvSpPr>
        <p:spPr>
          <a:xfrm rot="844217">
            <a:off x="8744333" y="2303124"/>
            <a:ext cx="429926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b="1" dirty="0">
                <a:cs typeface="Arial" panose="020B0604020202020204" pitchFamily="34" charset="0"/>
              </a:rPr>
              <a:t>332</a:t>
            </a:r>
            <a:r>
              <a:rPr lang="ru-RU" sz="600" b="1" dirty="0">
                <a:cs typeface="Arial" panose="020B0604020202020204" pitchFamily="34" charset="0"/>
              </a:rPr>
              <a:t> км</a:t>
            </a:r>
          </a:p>
        </p:txBody>
      </p:sp>
      <p:sp>
        <p:nvSpPr>
          <p:cNvPr id="244" name="Прямоугольник 243"/>
          <p:cNvSpPr/>
          <p:nvPr/>
        </p:nvSpPr>
        <p:spPr>
          <a:xfrm>
            <a:off x="9712393" y="2648401"/>
            <a:ext cx="410690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600" b="1" dirty="0">
                <a:cs typeface="Arial" panose="020B0604020202020204" pitchFamily="34" charset="0"/>
              </a:rPr>
              <a:t>218 км</a:t>
            </a:r>
          </a:p>
        </p:txBody>
      </p:sp>
      <p:sp>
        <p:nvSpPr>
          <p:cNvPr id="245" name="Прямоугольник 244"/>
          <p:cNvSpPr/>
          <p:nvPr/>
        </p:nvSpPr>
        <p:spPr>
          <a:xfrm rot="18607245">
            <a:off x="9200965" y="2250629"/>
            <a:ext cx="410690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600" b="1" dirty="0">
                <a:cs typeface="Arial" panose="020B0604020202020204" pitchFamily="34" charset="0"/>
              </a:rPr>
              <a:t>117 км</a:t>
            </a:r>
          </a:p>
        </p:txBody>
      </p:sp>
      <p:sp>
        <p:nvSpPr>
          <p:cNvPr id="246" name="Прямоугольник 245"/>
          <p:cNvSpPr/>
          <p:nvPr/>
        </p:nvSpPr>
        <p:spPr>
          <a:xfrm rot="18216918">
            <a:off x="9587550" y="1733608"/>
            <a:ext cx="429926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b="1" dirty="0">
                <a:cs typeface="Arial" panose="020B0604020202020204" pitchFamily="34" charset="0"/>
              </a:rPr>
              <a:t>332</a:t>
            </a:r>
            <a:r>
              <a:rPr lang="ru-RU" sz="600" b="1" dirty="0">
                <a:cs typeface="Arial" panose="020B0604020202020204" pitchFamily="34" charset="0"/>
              </a:rPr>
              <a:t> км</a:t>
            </a:r>
          </a:p>
        </p:txBody>
      </p:sp>
      <p:cxnSp>
        <p:nvCxnSpPr>
          <p:cNvPr id="105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0033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7" name="Номер слайда 3"/>
          <p:cNvSpPr txBox="1">
            <a:spLocks/>
          </p:cNvSpPr>
          <p:nvPr/>
        </p:nvSpPr>
        <p:spPr>
          <a:xfrm>
            <a:off x="11324784" y="121619"/>
            <a:ext cx="8912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</a:t>
            </a: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0138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119336" y="2060104"/>
            <a:ext cx="11985764" cy="2449016"/>
          </a:xfrm>
          <a:prstGeom prst="round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52" name="Прямоугольник 51"/>
          <p:cNvSpPr/>
          <p:nvPr/>
        </p:nvSpPr>
        <p:spPr>
          <a:xfrm>
            <a:off x="21672" y="4555772"/>
            <a:ext cx="12177435" cy="23022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рямоугольник 47"/>
          <p:cNvSpPr/>
          <p:nvPr/>
        </p:nvSpPr>
        <p:spPr>
          <a:xfrm>
            <a:off x="0" y="808998"/>
            <a:ext cx="12177435" cy="11078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AutoShape 6" descr="больница, здание бесплатно значок - Icon-Icons.com"/>
          <p:cNvSpPr>
            <a:spLocks noChangeAspect="1" noChangeArrowheads="1"/>
          </p:cNvSpPr>
          <p:nvPr/>
        </p:nvSpPr>
        <p:spPr bwMode="auto">
          <a:xfrm>
            <a:off x="1831975" y="-163581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600"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77AC08D8-A2CF-4813-BCB9-ECFCFFCE433C}"/>
              </a:ext>
            </a:extLst>
          </p:cNvPr>
          <p:cNvSpPr txBox="1"/>
          <p:nvPr/>
        </p:nvSpPr>
        <p:spPr>
          <a:xfrm>
            <a:off x="181292" y="56951"/>
            <a:ext cx="106775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400" b="1" dirty="0">
                <a:solidFill>
                  <a:srgbClr val="1A4164"/>
                </a:solidFill>
                <a:ea typeface="Barlow Condensed"/>
                <a:cs typeface="Arial" panose="020B0604020202020204" pitchFamily="34" charset="0"/>
              </a:rPr>
              <a:t>ГАЗБЕН ЖАБДЫҚТАУ ОБЪЕКТІЛЕРІН БЕРУ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-64947" y="1109022"/>
            <a:ext cx="31366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600" b="1" u="sng" dirty="0">
                <a:solidFill>
                  <a:srgbClr val="1A4164"/>
                </a:solidFill>
                <a:ea typeface="Barlow Condensed"/>
                <a:cs typeface="Arial" panose="020B0604020202020204" pitchFamily="34" charset="0"/>
              </a:rPr>
              <a:t>ГАЗБЕН ЖАБДЫҚТАУ </a:t>
            </a:r>
          </a:p>
          <a:p>
            <a:pPr algn="ctr">
              <a:defRPr/>
            </a:pPr>
            <a:r>
              <a:rPr lang="ru-RU" sz="1600" b="1" u="sng" dirty="0">
                <a:solidFill>
                  <a:srgbClr val="1A4164"/>
                </a:solidFill>
                <a:ea typeface="Barlow Condensed"/>
                <a:cs typeface="Arial" panose="020B0604020202020204" pitchFamily="34" charset="0"/>
              </a:rPr>
              <a:t>ОБЪЕКТІЛЕРІН БЕРУ СХЕМАСЫ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9245" y="4932520"/>
            <a:ext cx="121381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FontTx/>
              <a:buChar char="-"/>
            </a:pP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Пайдаланушы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ұйымдарға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сенімгерлік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басқаруға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берілген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газбен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жабдықтау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объектілеріне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арналған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шығындарды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өтеу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оларды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ұлғайту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мүмкіндігімен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пайдаланушы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ұйымдардың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қолданыстағы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ea typeface="Tahoma" panose="020B0604030504040204" pitchFamily="34" charset="0"/>
                <a:cs typeface="Arial" panose="020B0604020202020204" pitchFamily="34" charset="0"/>
              </a:rPr>
              <a:t>тарифтерін</a:t>
            </a:r>
            <a:r>
              <a:rPr lang="ru-RU" sz="1600" b="1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ea typeface="Tahoma" panose="020B0604030504040204" pitchFamily="34" charset="0"/>
                <a:cs typeface="Arial" panose="020B0604020202020204" pitchFamily="34" charset="0"/>
              </a:rPr>
              <a:t>жыл</a:t>
            </a:r>
            <a:r>
              <a:rPr lang="ru-RU" sz="1600" b="1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ea typeface="Tahoma" panose="020B0604030504040204" pitchFamily="34" charset="0"/>
                <a:cs typeface="Arial" panose="020B0604020202020204" pitchFamily="34" charset="0"/>
              </a:rPr>
              <a:t>сайын</a:t>
            </a:r>
            <a:r>
              <a:rPr lang="ru-RU" sz="1600" b="1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ea typeface="Tahoma" panose="020B0604030504040204" pitchFamily="34" charset="0"/>
                <a:cs typeface="Arial" panose="020B0604020202020204" pitchFamily="34" charset="0"/>
              </a:rPr>
              <a:t>қайта</a:t>
            </a:r>
            <a:r>
              <a:rPr lang="ru-RU" sz="1600" b="1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ea typeface="Tahoma" panose="020B0604030504040204" pitchFamily="34" charset="0"/>
                <a:cs typeface="Arial" panose="020B0604020202020204" pitchFamily="34" charset="0"/>
              </a:rPr>
              <a:t>қарауға</a:t>
            </a:r>
            <a:r>
              <a:rPr lang="ru-RU" sz="1600" b="1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ea typeface="Tahoma" panose="020B0604030504040204" pitchFamily="34" charset="0"/>
                <a:cs typeface="Arial" panose="020B0604020202020204" pitchFamily="34" charset="0"/>
              </a:rPr>
              <a:t>мүмкіндік</a:t>
            </a:r>
            <a:r>
              <a:rPr lang="ru-RU" sz="1600" b="1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ea typeface="Tahoma" panose="020B0604030504040204" pitchFamily="34" charset="0"/>
                <a:cs typeface="Arial" panose="020B0604020202020204" pitchFamily="34" charset="0"/>
              </a:rPr>
              <a:t>беретін</a:t>
            </a:r>
            <a:r>
              <a:rPr lang="ru-RU" sz="1600" b="1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ea typeface="Tahoma" panose="020B0604030504040204" pitchFamily="34" charset="0"/>
                <a:cs typeface="Arial" panose="020B0604020202020204" pitchFamily="34" charset="0"/>
              </a:rPr>
              <a:t>қолданыстағы</a:t>
            </a:r>
            <a:r>
              <a:rPr lang="ru-RU" sz="1600" b="1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ea typeface="Tahoma" panose="020B0604030504040204" pitchFamily="34" charset="0"/>
                <a:cs typeface="Arial" panose="020B0604020202020204" pitchFamily="34" charset="0"/>
              </a:rPr>
              <a:t>заңнамаға</a:t>
            </a:r>
            <a:r>
              <a:rPr lang="ru-RU" sz="1600" b="1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ea typeface="Tahoma" panose="020B0604030504040204" pitchFamily="34" charset="0"/>
                <a:cs typeface="Arial" panose="020B0604020202020204" pitchFamily="34" charset="0"/>
              </a:rPr>
              <a:t>өзгерістер</a:t>
            </a:r>
            <a:r>
              <a:rPr lang="ru-RU" sz="1600" b="1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ea typeface="Tahoma" panose="020B0604030504040204" pitchFamily="34" charset="0"/>
                <a:cs typeface="Arial" panose="020B0604020202020204" pitchFamily="34" charset="0"/>
              </a:rPr>
              <a:t>енгізу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(ҰЭМ);</a:t>
            </a:r>
          </a:p>
          <a:p>
            <a:pPr marL="171450" indent="-171450" algn="just">
              <a:buFontTx/>
              <a:buChar char="-"/>
            </a:pPr>
            <a:endParaRPr lang="ru-RU" sz="800" dirty="0"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179388" indent="-179388" algn="just">
              <a:buFontTx/>
              <a:buChar char="-"/>
            </a:pPr>
            <a:r>
              <a:rPr lang="ru-RU" sz="1600" b="1" dirty="0">
                <a:ea typeface="Tahoma" panose="020B0604030504040204" pitchFamily="34" charset="0"/>
                <a:cs typeface="Arial" panose="020B0604020202020204" pitchFamily="34" charset="0"/>
              </a:rPr>
              <a:t>ЖАО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пайдаланушы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ұйымдармен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ea typeface="Tahoma" panose="020B0604030504040204" pitchFamily="34" charset="0"/>
                <a:cs typeface="Arial" panose="020B0604020202020204" pitchFamily="34" charset="0"/>
              </a:rPr>
              <a:t>(ҚТГА, ИОА)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бірлесіп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газбен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жабдықтау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объектілерін</a:t>
            </a:r>
            <a:r>
              <a:rPr lang="ru-RU" sz="1600" b="1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беру </a:t>
            </a:r>
            <a:r>
              <a:rPr lang="ru-RU" sz="1600" b="1" dirty="0" err="1">
                <a:ea typeface="Tahoma" panose="020B0604030504040204" pitchFamily="34" charset="0"/>
                <a:cs typeface="Arial" panose="020B0604020202020204" pitchFamily="34" charset="0"/>
              </a:rPr>
              <a:t>процесін</a:t>
            </a:r>
            <a:r>
              <a:rPr lang="ru-RU" sz="1600" b="1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ea typeface="Tahoma" panose="020B0604030504040204" pitchFamily="34" charset="0"/>
                <a:cs typeface="Arial" panose="020B0604020202020204" pitchFamily="34" charset="0"/>
              </a:rPr>
              <a:t>жеделдетуі</a:t>
            </a:r>
            <a:r>
              <a:rPr lang="ru-RU" sz="1600" b="1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ea typeface="Tahoma" panose="020B0604030504040204" pitchFamily="34" charset="0"/>
                <a:cs typeface="Arial" panose="020B0604020202020204" pitchFamily="34" charset="0"/>
              </a:rPr>
              <a:t>қажет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79388" indent="-179388" algn="just">
              <a:buFontTx/>
              <a:buChar char="-"/>
            </a:pPr>
            <a:endParaRPr lang="ru-RU" sz="800" dirty="0"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179388" indent="-179388" algn="just">
              <a:buFontTx/>
              <a:buChar char="-"/>
            </a:pPr>
            <a:r>
              <a:rPr lang="ru-RU" sz="1600" b="1" dirty="0">
                <a:ea typeface="Tahoma" panose="020B0604030504040204" pitchFamily="34" charset="0"/>
                <a:cs typeface="Arial" panose="020B0604020202020204" pitchFamily="34" charset="0"/>
              </a:rPr>
              <a:t>ММЖК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мүлікті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бағалау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рәсімін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жеделдетуі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ea typeface="Tahoma" panose="020B0604030504040204" pitchFamily="34" charset="0"/>
                <a:cs typeface="Arial" panose="020B0604020202020204" pitchFamily="34" charset="0"/>
              </a:rPr>
              <a:t>қажет</a:t>
            </a:r>
            <a:r>
              <a:rPr lang="ru-RU" sz="1600" dirty="0">
                <a:ea typeface="Tahoma" panose="020B060403050404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22443" y="4555028"/>
            <a:ext cx="2038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u="sng" dirty="0"/>
              <a:t>ШЕШУ ЖОЛДАРЫ: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2503759" y="1096291"/>
            <a:ext cx="272814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400" b="1" dirty="0"/>
              <a:t>ЖЕРГІЛІКТІ АТҚАРУШЫ </a:t>
            </a:r>
          </a:p>
          <a:p>
            <a:pPr algn="ctr"/>
            <a:r>
              <a:rPr lang="kk-KZ" sz="1400" b="1" dirty="0"/>
              <a:t>ОРГАН</a:t>
            </a:r>
            <a:endParaRPr lang="x-none" sz="1400" b="1" dirty="0"/>
          </a:p>
        </p:txBody>
      </p:sp>
      <p:sp>
        <p:nvSpPr>
          <p:cNvPr id="34" name="Стрелка вниз 33"/>
          <p:cNvSpPr/>
          <p:nvPr/>
        </p:nvSpPr>
        <p:spPr>
          <a:xfrm rot="16200000">
            <a:off x="4972862" y="1202846"/>
            <a:ext cx="178885" cy="38088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35" name="Прямоугольник 34"/>
          <p:cNvSpPr/>
          <p:nvPr/>
        </p:nvSpPr>
        <p:spPr>
          <a:xfrm>
            <a:off x="5183143" y="1083555"/>
            <a:ext cx="396552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400" b="1" dirty="0"/>
              <a:t>ҚР ҚМ МЕМЛЕКЕТТІК МҮЛІК ЖӘНЕ </a:t>
            </a:r>
          </a:p>
          <a:p>
            <a:pPr algn="ctr"/>
            <a:r>
              <a:rPr lang="kk-KZ" sz="1400" b="1" dirty="0"/>
              <a:t>ЖЕКЕШЕЛЕНДІРУ КОМИТЕТІ</a:t>
            </a:r>
            <a:endParaRPr lang="x-none" sz="1400" b="1" dirty="0"/>
          </a:p>
        </p:txBody>
      </p:sp>
      <p:sp>
        <p:nvSpPr>
          <p:cNvPr id="36" name="Стрелка вниз 35"/>
          <p:cNvSpPr/>
          <p:nvPr/>
        </p:nvSpPr>
        <p:spPr>
          <a:xfrm rot="16200000">
            <a:off x="9077318" y="1182221"/>
            <a:ext cx="178885" cy="38088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37" name="Прямоугольник 36"/>
          <p:cNvSpPr/>
          <p:nvPr/>
        </p:nvSpPr>
        <p:spPr>
          <a:xfrm>
            <a:off x="9137875" y="1191277"/>
            <a:ext cx="33928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400" b="1" dirty="0"/>
              <a:t>«САМҰРЫҚ-ҚАЗЫНА» ҰӘҚ» АҚ</a:t>
            </a:r>
            <a:endParaRPr lang="x-none" sz="14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338386" y="2060104"/>
            <a:ext cx="32630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u="sng" dirty="0">
                <a:solidFill>
                  <a:srgbClr val="1A4164"/>
                </a:solidFill>
                <a:ea typeface="Tahoma" panose="020B0604030504040204" pitchFamily="34" charset="0"/>
                <a:cs typeface="Arial" panose="020B0604020202020204" pitchFamily="34" charset="0"/>
              </a:rPr>
              <a:t>АҒЫМДАҒЫ ЖАҒДАЙ: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747332" y="2609879"/>
            <a:ext cx="513026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kk-KZ" sz="1400" b="1" dirty="0"/>
              <a:t>2020 жылдан бастап газбен жабдықтау объектілерін пайдаланушы ұйымдардың меншігіне беру туралы ҚР ҮҚ-лары қабылданды</a:t>
            </a:r>
            <a:endParaRPr lang="x-none" sz="1100" b="1" dirty="0"/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xmlns="" id="{D983FF89-4C20-4F69-84D8-B9CF18772C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025" y="2690620"/>
            <a:ext cx="462465" cy="402479"/>
          </a:xfrm>
          <a:prstGeom prst="rect">
            <a:avLst/>
          </a:prstGeom>
        </p:spPr>
      </p:pic>
      <p:sp>
        <p:nvSpPr>
          <p:cNvPr id="51" name="TextBox 50"/>
          <p:cNvSpPr txBox="1"/>
          <p:nvPr/>
        </p:nvSpPr>
        <p:spPr>
          <a:xfrm>
            <a:off x="272510" y="3107223"/>
            <a:ext cx="53334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7200" dirty="0">
                <a:solidFill>
                  <a:srgbClr val="FF0000"/>
                </a:solidFill>
              </a:rPr>
              <a:t>-</a:t>
            </a:r>
            <a:endParaRPr lang="ru-RU" sz="7200" dirty="0">
              <a:solidFill>
                <a:srgbClr val="FF0000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70763" y="3626042"/>
            <a:ext cx="505122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kk-KZ" altLang="ru-RU" sz="1400" b="1" dirty="0"/>
              <a:t>Бүгінгі күні берілмеген газбен жабдықтау объектілері</a:t>
            </a:r>
            <a:endParaRPr lang="kk-KZ" altLang="ru-RU" sz="1400" b="1" i="1" dirty="0"/>
          </a:p>
        </p:txBody>
      </p:sp>
      <p:grpSp>
        <p:nvGrpSpPr>
          <p:cNvPr id="23" name="Группа 31">
            <a:extLst>
              <a:ext uri="{FF2B5EF4-FFF2-40B4-BE49-F238E27FC236}">
                <a16:creationId xmlns:a16="http://schemas.microsoft.com/office/drawing/2014/main" xmlns="" id="{5C4AD10E-42B2-4E39-B73A-090A7CACB42E}"/>
              </a:ext>
            </a:extLst>
          </p:cNvPr>
          <p:cNvGrpSpPr/>
          <p:nvPr/>
        </p:nvGrpSpPr>
        <p:grpSpPr>
          <a:xfrm>
            <a:off x="6079351" y="2643232"/>
            <a:ext cx="216000" cy="584775"/>
            <a:chOff x="3699093" y="1951120"/>
            <a:chExt cx="425451" cy="517525"/>
          </a:xfrm>
        </p:grpSpPr>
        <p:sp>
          <p:nvSpPr>
            <p:cNvPr id="27" name="Chevron2">
              <a:extLst>
                <a:ext uri="{FF2B5EF4-FFF2-40B4-BE49-F238E27FC236}">
                  <a16:creationId xmlns:a16="http://schemas.microsoft.com/office/drawing/2014/main" xmlns="" id="{602DA193-8F6E-4F39-B221-F25FA89222C8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3699093" y="1982869"/>
              <a:ext cx="225425" cy="45402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8229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</a:endParaRPr>
            </a:p>
          </p:txBody>
        </p:sp>
        <p:sp>
          <p:nvSpPr>
            <p:cNvPr id="28" name="Chevron2">
              <a:extLst>
                <a:ext uri="{FF2B5EF4-FFF2-40B4-BE49-F238E27FC236}">
                  <a16:creationId xmlns:a16="http://schemas.microsoft.com/office/drawing/2014/main" xmlns="" id="{EE7810E2-FC3B-4DCB-BB12-74AD16E05742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3867369" y="1951120"/>
              <a:ext cx="257175" cy="51752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A6A6A6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8229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6801479" y="2414805"/>
            <a:ext cx="511144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altLang="ru-RU" sz="1600" b="1" dirty="0"/>
              <a:t>Газбен жабдықтаудың жалпы құны </a:t>
            </a:r>
            <a:r>
              <a:rPr kumimoji="0" lang="kk-KZ" altLang="ru-RU" sz="2400" b="1" i="1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</a:rPr>
              <a:t>107,4</a:t>
            </a:r>
            <a:r>
              <a:rPr lang="kk-KZ" altLang="ru-RU" sz="1600" b="1" dirty="0"/>
              <a:t> </a:t>
            </a:r>
            <a:r>
              <a:rPr kumimoji="0" lang="kk-KZ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млрд. тенге  </a:t>
            </a:r>
            <a:r>
              <a:rPr kumimoji="0" lang="kk-KZ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болатын</a:t>
            </a:r>
            <a:r>
              <a:rPr kumimoji="0" lang="en-US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lang="kk-KZ" altLang="ru-RU" sz="2400" b="1" i="1" dirty="0" smtClean="0">
                <a:solidFill>
                  <a:srgbClr val="00B050"/>
                </a:solidFill>
              </a:rPr>
              <a:t>491 </a:t>
            </a:r>
            <a:r>
              <a:rPr lang="kk-KZ" altLang="ru-RU" sz="1600" b="1" dirty="0"/>
              <a:t>бірлік объект</a:t>
            </a:r>
            <a:endParaRPr lang="ru-RU" sz="1600" dirty="0"/>
          </a:p>
        </p:txBody>
      </p:sp>
      <p:grpSp>
        <p:nvGrpSpPr>
          <p:cNvPr id="29" name="Группа 31">
            <a:extLst>
              <a:ext uri="{FF2B5EF4-FFF2-40B4-BE49-F238E27FC236}">
                <a16:creationId xmlns:a16="http://schemas.microsoft.com/office/drawing/2014/main" xmlns="" id="{5C4AD10E-42B2-4E39-B73A-090A7CACB42E}"/>
              </a:ext>
            </a:extLst>
          </p:cNvPr>
          <p:cNvGrpSpPr/>
          <p:nvPr/>
        </p:nvGrpSpPr>
        <p:grpSpPr>
          <a:xfrm>
            <a:off x="6079352" y="3626238"/>
            <a:ext cx="216000" cy="584775"/>
            <a:chOff x="3699093" y="1951120"/>
            <a:chExt cx="425451" cy="517525"/>
          </a:xfrm>
        </p:grpSpPr>
        <p:sp>
          <p:nvSpPr>
            <p:cNvPr id="31" name="Chevron2">
              <a:extLst>
                <a:ext uri="{FF2B5EF4-FFF2-40B4-BE49-F238E27FC236}">
                  <a16:creationId xmlns:a16="http://schemas.microsoft.com/office/drawing/2014/main" xmlns="" id="{602DA193-8F6E-4F39-B221-F25FA89222C8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3699093" y="1982869"/>
              <a:ext cx="225425" cy="45402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8229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</a:endParaRPr>
            </a:p>
          </p:txBody>
        </p:sp>
        <p:sp>
          <p:nvSpPr>
            <p:cNvPr id="32" name="Chevron2">
              <a:extLst>
                <a:ext uri="{FF2B5EF4-FFF2-40B4-BE49-F238E27FC236}">
                  <a16:creationId xmlns:a16="http://schemas.microsoft.com/office/drawing/2014/main" xmlns="" id="{EE7810E2-FC3B-4DCB-BB12-74AD16E05742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3867369" y="1951120"/>
              <a:ext cx="257175" cy="51752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A6A6A6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8229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</a:endParaRPr>
            </a:p>
          </p:txBody>
        </p:sp>
      </p:grpSp>
      <p:sp>
        <p:nvSpPr>
          <p:cNvPr id="4" name="Прямоугольник 3"/>
          <p:cNvSpPr/>
          <p:nvPr/>
        </p:nvSpPr>
        <p:spPr>
          <a:xfrm>
            <a:off x="6759807" y="3431114"/>
            <a:ext cx="508792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kumimoji="0" lang="kk-KZ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Газбен жабдықтаудың жалпы құны </a:t>
            </a:r>
            <a:r>
              <a:rPr kumimoji="0" lang="kk-KZ" altLang="ru-RU" sz="24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194,7</a:t>
            </a:r>
            <a:r>
              <a:rPr kumimoji="0" lang="kk-KZ" altLang="ru-RU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kk-KZ" altLang="ru-RU" sz="16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млрд. тенге  болатын</a:t>
            </a:r>
            <a:r>
              <a:rPr kumimoji="0" lang="kk-KZ" altLang="ru-RU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lang="kk-KZ" altLang="ru-RU" sz="2400" b="1" i="1" dirty="0">
                <a:solidFill>
                  <a:srgbClr val="FF0000"/>
                </a:solidFill>
              </a:rPr>
              <a:t>736</a:t>
            </a:r>
            <a:r>
              <a:rPr lang="kk-KZ" altLang="ru-RU" sz="1600" b="1" dirty="0"/>
              <a:t> </a:t>
            </a:r>
            <a:r>
              <a:rPr kumimoji="0" lang="kk-KZ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бірлік объект</a:t>
            </a:r>
            <a:endParaRPr lang="kk-KZ" altLang="ru-RU" sz="1600" b="1" i="1" dirty="0"/>
          </a:p>
        </p:txBody>
      </p:sp>
      <p:cxnSp>
        <p:nvCxnSpPr>
          <p:cNvPr id="39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0033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Номер слайда 3"/>
          <p:cNvSpPr txBox="1">
            <a:spLocks/>
          </p:cNvSpPr>
          <p:nvPr/>
        </p:nvSpPr>
        <p:spPr>
          <a:xfrm>
            <a:off x="11324784" y="121619"/>
            <a:ext cx="8912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</a:t>
            </a: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1416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77AC08D8-A2CF-4813-BCB9-ECFCFFCE433C}"/>
              </a:ext>
            </a:extLst>
          </p:cNvPr>
          <p:cNvSpPr txBox="1"/>
          <p:nvPr/>
        </p:nvSpPr>
        <p:spPr>
          <a:xfrm>
            <a:off x="157225" y="64641"/>
            <a:ext cx="94622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400" b="1" dirty="0">
                <a:solidFill>
                  <a:srgbClr val="1A4164"/>
                </a:solidFill>
                <a:ea typeface="Barlow Condensed"/>
                <a:cs typeface="Arial" panose="020B0604020202020204" pitchFamily="34" charset="0"/>
              </a:rPr>
              <a:t>ГАЗ ТАСЫМАЛДАУ ЖҮЙЕСІНІҢ ЖАҒДАЙЫН ЖӘНЕ МӘСЕЛЕЛЕРІ</a:t>
            </a:r>
          </a:p>
        </p:txBody>
      </p:sp>
      <p:cxnSp>
        <p:nvCxnSpPr>
          <p:cNvPr id="73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6" name="Группа 27"/>
          <p:cNvGrpSpPr>
            <a:grpSpLocks/>
          </p:cNvGrpSpPr>
          <p:nvPr/>
        </p:nvGrpSpPr>
        <p:grpSpPr bwMode="auto">
          <a:xfrm>
            <a:off x="6060299" y="1104934"/>
            <a:ext cx="6113097" cy="5319157"/>
            <a:chOff x="1052945" y="1086062"/>
            <a:chExt cx="3265386" cy="27219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79" name="Freeform 9"/>
            <p:cNvSpPr/>
            <p:nvPr/>
          </p:nvSpPr>
          <p:spPr>
            <a:xfrm>
              <a:off x="1402550" y="2695915"/>
              <a:ext cx="1083055" cy="1112047"/>
            </a:xfrm>
            <a:custGeom>
              <a:avLst/>
              <a:gdLst>
                <a:gd name="connsiteX0" fmla="*/ 1178719 w 1538288"/>
                <a:gd name="connsiteY0" fmla="*/ 1697831 h 1707356"/>
                <a:gd name="connsiteX1" fmla="*/ 1345406 w 1538288"/>
                <a:gd name="connsiteY1" fmla="*/ 519112 h 1707356"/>
                <a:gd name="connsiteX2" fmla="*/ 1538288 w 1538288"/>
                <a:gd name="connsiteY2" fmla="*/ 471487 h 1707356"/>
                <a:gd name="connsiteX3" fmla="*/ 1514475 w 1538288"/>
                <a:gd name="connsiteY3" fmla="*/ 169069 h 1707356"/>
                <a:gd name="connsiteX4" fmla="*/ 1478756 w 1538288"/>
                <a:gd name="connsiteY4" fmla="*/ 185737 h 1707356"/>
                <a:gd name="connsiteX5" fmla="*/ 1345406 w 1538288"/>
                <a:gd name="connsiteY5" fmla="*/ 111919 h 1707356"/>
                <a:gd name="connsiteX6" fmla="*/ 1262063 w 1538288"/>
                <a:gd name="connsiteY6" fmla="*/ 0 h 1707356"/>
                <a:gd name="connsiteX7" fmla="*/ 1202531 w 1538288"/>
                <a:gd name="connsiteY7" fmla="*/ 64294 h 1707356"/>
                <a:gd name="connsiteX8" fmla="*/ 1138238 w 1538288"/>
                <a:gd name="connsiteY8" fmla="*/ 14287 h 1707356"/>
                <a:gd name="connsiteX9" fmla="*/ 1038225 w 1538288"/>
                <a:gd name="connsiteY9" fmla="*/ 19050 h 1707356"/>
                <a:gd name="connsiteX10" fmla="*/ 1009650 w 1538288"/>
                <a:gd name="connsiteY10" fmla="*/ 57150 h 1707356"/>
                <a:gd name="connsiteX11" fmla="*/ 938213 w 1538288"/>
                <a:gd name="connsiteY11" fmla="*/ 28575 h 1707356"/>
                <a:gd name="connsiteX12" fmla="*/ 869156 w 1538288"/>
                <a:gd name="connsiteY12" fmla="*/ 59531 h 1707356"/>
                <a:gd name="connsiteX13" fmla="*/ 800100 w 1538288"/>
                <a:gd name="connsiteY13" fmla="*/ 57150 h 1707356"/>
                <a:gd name="connsiteX14" fmla="*/ 750094 w 1538288"/>
                <a:gd name="connsiteY14" fmla="*/ 109537 h 1707356"/>
                <a:gd name="connsiteX15" fmla="*/ 716756 w 1538288"/>
                <a:gd name="connsiteY15" fmla="*/ 164306 h 1707356"/>
                <a:gd name="connsiteX16" fmla="*/ 714375 w 1538288"/>
                <a:gd name="connsiteY16" fmla="*/ 202406 h 1707356"/>
                <a:gd name="connsiteX17" fmla="*/ 731044 w 1538288"/>
                <a:gd name="connsiteY17" fmla="*/ 245269 h 1707356"/>
                <a:gd name="connsiteX18" fmla="*/ 750094 w 1538288"/>
                <a:gd name="connsiteY18" fmla="*/ 278606 h 1707356"/>
                <a:gd name="connsiteX19" fmla="*/ 783431 w 1538288"/>
                <a:gd name="connsiteY19" fmla="*/ 278606 h 1707356"/>
                <a:gd name="connsiteX20" fmla="*/ 800100 w 1538288"/>
                <a:gd name="connsiteY20" fmla="*/ 311944 h 1707356"/>
                <a:gd name="connsiteX21" fmla="*/ 831056 w 1538288"/>
                <a:gd name="connsiteY21" fmla="*/ 352425 h 1707356"/>
                <a:gd name="connsiteX22" fmla="*/ 857250 w 1538288"/>
                <a:gd name="connsiteY22" fmla="*/ 326231 h 1707356"/>
                <a:gd name="connsiteX23" fmla="*/ 857250 w 1538288"/>
                <a:gd name="connsiteY23" fmla="*/ 297656 h 1707356"/>
                <a:gd name="connsiteX24" fmla="*/ 897731 w 1538288"/>
                <a:gd name="connsiteY24" fmla="*/ 290512 h 1707356"/>
                <a:gd name="connsiteX25" fmla="*/ 935831 w 1538288"/>
                <a:gd name="connsiteY25" fmla="*/ 250031 h 1707356"/>
                <a:gd name="connsiteX26" fmla="*/ 976313 w 1538288"/>
                <a:gd name="connsiteY26" fmla="*/ 290512 h 1707356"/>
                <a:gd name="connsiteX27" fmla="*/ 983456 w 1538288"/>
                <a:gd name="connsiteY27" fmla="*/ 297656 h 1707356"/>
                <a:gd name="connsiteX28" fmla="*/ 952500 w 1538288"/>
                <a:gd name="connsiteY28" fmla="*/ 345281 h 1707356"/>
                <a:gd name="connsiteX29" fmla="*/ 1000125 w 1538288"/>
                <a:gd name="connsiteY29" fmla="*/ 426244 h 1707356"/>
                <a:gd name="connsiteX30" fmla="*/ 945356 w 1538288"/>
                <a:gd name="connsiteY30" fmla="*/ 435769 h 1707356"/>
                <a:gd name="connsiteX31" fmla="*/ 895350 w 1538288"/>
                <a:gd name="connsiteY31" fmla="*/ 438150 h 1707356"/>
                <a:gd name="connsiteX32" fmla="*/ 866775 w 1538288"/>
                <a:gd name="connsiteY32" fmla="*/ 416719 h 1707356"/>
                <a:gd name="connsiteX33" fmla="*/ 888206 w 1538288"/>
                <a:gd name="connsiteY33" fmla="*/ 383381 h 1707356"/>
                <a:gd name="connsiteX34" fmla="*/ 916781 w 1538288"/>
                <a:gd name="connsiteY34" fmla="*/ 388144 h 1707356"/>
                <a:gd name="connsiteX35" fmla="*/ 938213 w 1538288"/>
                <a:gd name="connsiteY35" fmla="*/ 354806 h 1707356"/>
                <a:gd name="connsiteX36" fmla="*/ 931069 w 1538288"/>
                <a:gd name="connsiteY36" fmla="*/ 333375 h 1707356"/>
                <a:gd name="connsiteX37" fmla="*/ 845344 w 1538288"/>
                <a:gd name="connsiteY37" fmla="*/ 342900 h 1707356"/>
                <a:gd name="connsiteX38" fmla="*/ 826294 w 1538288"/>
                <a:gd name="connsiteY38" fmla="*/ 352425 h 1707356"/>
                <a:gd name="connsiteX39" fmla="*/ 783431 w 1538288"/>
                <a:gd name="connsiteY39" fmla="*/ 328612 h 1707356"/>
                <a:gd name="connsiteX40" fmla="*/ 747713 w 1538288"/>
                <a:gd name="connsiteY40" fmla="*/ 338137 h 1707356"/>
                <a:gd name="connsiteX41" fmla="*/ 626269 w 1538288"/>
                <a:gd name="connsiteY41" fmla="*/ 278606 h 1707356"/>
                <a:gd name="connsiteX42" fmla="*/ 471488 w 1538288"/>
                <a:gd name="connsiteY42" fmla="*/ 221456 h 1707356"/>
                <a:gd name="connsiteX43" fmla="*/ 419100 w 1538288"/>
                <a:gd name="connsiteY43" fmla="*/ 190500 h 1707356"/>
                <a:gd name="connsiteX44" fmla="*/ 376238 w 1538288"/>
                <a:gd name="connsiteY44" fmla="*/ 216694 h 1707356"/>
                <a:gd name="connsiteX45" fmla="*/ 333375 w 1538288"/>
                <a:gd name="connsiteY45" fmla="*/ 195262 h 1707356"/>
                <a:gd name="connsiteX46" fmla="*/ 297656 w 1538288"/>
                <a:gd name="connsiteY46" fmla="*/ 240506 h 1707356"/>
                <a:gd name="connsiteX47" fmla="*/ 283369 w 1538288"/>
                <a:gd name="connsiteY47" fmla="*/ 278606 h 1707356"/>
                <a:gd name="connsiteX48" fmla="*/ 271463 w 1538288"/>
                <a:gd name="connsiteY48" fmla="*/ 295275 h 1707356"/>
                <a:gd name="connsiteX49" fmla="*/ 230981 w 1538288"/>
                <a:gd name="connsiteY49" fmla="*/ 292894 h 1707356"/>
                <a:gd name="connsiteX50" fmla="*/ 202406 w 1538288"/>
                <a:gd name="connsiteY50" fmla="*/ 300037 h 1707356"/>
                <a:gd name="connsiteX51" fmla="*/ 209550 w 1538288"/>
                <a:gd name="connsiteY51" fmla="*/ 340519 h 1707356"/>
                <a:gd name="connsiteX52" fmla="*/ 273844 w 1538288"/>
                <a:gd name="connsiteY52" fmla="*/ 423862 h 1707356"/>
                <a:gd name="connsiteX53" fmla="*/ 309563 w 1538288"/>
                <a:gd name="connsiteY53" fmla="*/ 471487 h 1707356"/>
                <a:gd name="connsiteX54" fmla="*/ 264319 w 1538288"/>
                <a:gd name="connsiteY54" fmla="*/ 457200 h 1707356"/>
                <a:gd name="connsiteX55" fmla="*/ 214313 w 1538288"/>
                <a:gd name="connsiteY55" fmla="*/ 466725 h 1707356"/>
                <a:gd name="connsiteX56" fmla="*/ 173831 w 1538288"/>
                <a:gd name="connsiteY56" fmla="*/ 411956 h 1707356"/>
                <a:gd name="connsiteX57" fmla="*/ 114300 w 1538288"/>
                <a:gd name="connsiteY57" fmla="*/ 392906 h 1707356"/>
                <a:gd name="connsiteX58" fmla="*/ 50006 w 1538288"/>
                <a:gd name="connsiteY58" fmla="*/ 371475 h 1707356"/>
                <a:gd name="connsiteX59" fmla="*/ 21431 w 1538288"/>
                <a:gd name="connsiteY59" fmla="*/ 395287 h 1707356"/>
                <a:gd name="connsiteX60" fmla="*/ 0 w 1538288"/>
                <a:gd name="connsiteY60" fmla="*/ 442912 h 1707356"/>
                <a:gd name="connsiteX61" fmla="*/ 9525 w 1538288"/>
                <a:gd name="connsiteY61" fmla="*/ 476250 h 1707356"/>
                <a:gd name="connsiteX62" fmla="*/ 80963 w 1538288"/>
                <a:gd name="connsiteY62" fmla="*/ 504825 h 1707356"/>
                <a:gd name="connsiteX63" fmla="*/ 116681 w 1538288"/>
                <a:gd name="connsiteY63" fmla="*/ 533400 h 1707356"/>
                <a:gd name="connsiteX64" fmla="*/ 123825 w 1538288"/>
                <a:gd name="connsiteY64" fmla="*/ 590550 h 1707356"/>
                <a:gd name="connsiteX65" fmla="*/ 130969 w 1538288"/>
                <a:gd name="connsiteY65" fmla="*/ 623887 h 1707356"/>
                <a:gd name="connsiteX66" fmla="*/ 145256 w 1538288"/>
                <a:gd name="connsiteY66" fmla="*/ 673894 h 1707356"/>
                <a:gd name="connsiteX67" fmla="*/ 147638 w 1538288"/>
                <a:gd name="connsiteY67" fmla="*/ 721519 h 1707356"/>
                <a:gd name="connsiteX68" fmla="*/ 183356 w 1538288"/>
                <a:gd name="connsiteY68" fmla="*/ 773906 h 1707356"/>
                <a:gd name="connsiteX69" fmla="*/ 178594 w 1538288"/>
                <a:gd name="connsiteY69" fmla="*/ 809625 h 1707356"/>
                <a:gd name="connsiteX70" fmla="*/ 178594 w 1538288"/>
                <a:gd name="connsiteY70" fmla="*/ 845344 h 1707356"/>
                <a:gd name="connsiteX71" fmla="*/ 166688 w 1538288"/>
                <a:gd name="connsiteY71" fmla="*/ 881062 h 1707356"/>
                <a:gd name="connsiteX72" fmla="*/ 154781 w 1538288"/>
                <a:gd name="connsiteY72" fmla="*/ 909637 h 1707356"/>
                <a:gd name="connsiteX73" fmla="*/ 195263 w 1538288"/>
                <a:gd name="connsiteY73" fmla="*/ 902494 h 1707356"/>
                <a:gd name="connsiteX74" fmla="*/ 250031 w 1538288"/>
                <a:gd name="connsiteY74" fmla="*/ 921544 h 1707356"/>
                <a:gd name="connsiteX75" fmla="*/ 269081 w 1538288"/>
                <a:gd name="connsiteY75" fmla="*/ 947737 h 1707356"/>
                <a:gd name="connsiteX76" fmla="*/ 276225 w 1538288"/>
                <a:gd name="connsiteY76" fmla="*/ 988219 h 1707356"/>
                <a:gd name="connsiteX77" fmla="*/ 290513 w 1538288"/>
                <a:gd name="connsiteY77" fmla="*/ 1026319 h 1707356"/>
                <a:gd name="connsiteX78" fmla="*/ 330994 w 1538288"/>
                <a:gd name="connsiteY78" fmla="*/ 1028700 h 1707356"/>
                <a:gd name="connsiteX79" fmla="*/ 373856 w 1538288"/>
                <a:gd name="connsiteY79" fmla="*/ 1050131 h 1707356"/>
                <a:gd name="connsiteX80" fmla="*/ 409575 w 1538288"/>
                <a:gd name="connsiteY80" fmla="*/ 1054894 h 1707356"/>
                <a:gd name="connsiteX81" fmla="*/ 459581 w 1538288"/>
                <a:gd name="connsiteY81" fmla="*/ 1095375 h 1707356"/>
                <a:gd name="connsiteX82" fmla="*/ 459581 w 1538288"/>
                <a:gd name="connsiteY82" fmla="*/ 1147762 h 1707356"/>
                <a:gd name="connsiteX83" fmla="*/ 445294 w 1538288"/>
                <a:gd name="connsiteY83" fmla="*/ 1183481 h 1707356"/>
                <a:gd name="connsiteX84" fmla="*/ 426244 w 1538288"/>
                <a:gd name="connsiteY84" fmla="*/ 1212056 h 1707356"/>
                <a:gd name="connsiteX85" fmla="*/ 371475 w 1538288"/>
                <a:gd name="connsiteY85" fmla="*/ 1273969 h 1707356"/>
                <a:gd name="connsiteX86" fmla="*/ 357188 w 1538288"/>
                <a:gd name="connsiteY86" fmla="*/ 1300162 h 1707356"/>
                <a:gd name="connsiteX87" fmla="*/ 373856 w 1538288"/>
                <a:gd name="connsiteY87" fmla="*/ 1350169 h 1707356"/>
                <a:gd name="connsiteX88" fmla="*/ 361950 w 1538288"/>
                <a:gd name="connsiteY88" fmla="*/ 1371600 h 1707356"/>
                <a:gd name="connsiteX89" fmla="*/ 350044 w 1538288"/>
                <a:gd name="connsiteY89" fmla="*/ 1409700 h 1707356"/>
                <a:gd name="connsiteX90" fmla="*/ 428625 w 1538288"/>
                <a:gd name="connsiteY90" fmla="*/ 1378744 h 1707356"/>
                <a:gd name="connsiteX91" fmla="*/ 550069 w 1538288"/>
                <a:gd name="connsiteY91" fmla="*/ 1300162 h 1707356"/>
                <a:gd name="connsiteX92" fmla="*/ 781050 w 1538288"/>
                <a:gd name="connsiteY92" fmla="*/ 1297781 h 1707356"/>
                <a:gd name="connsiteX93" fmla="*/ 909638 w 1538288"/>
                <a:gd name="connsiteY93" fmla="*/ 1404937 h 1707356"/>
                <a:gd name="connsiteX94" fmla="*/ 966788 w 1538288"/>
                <a:gd name="connsiteY94" fmla="*/ 1447800 h 1707356"/>
                <a:gd name="connsiteX95" fmla="*/ 969169 w 1538288"/>
                <a:gd name="connsiteY95" fmla="*/ 1516856 h 1707356"/>
                <a:gd name="connsiteX96" fmla="*/ 1012031 w 1538288"/>
                <a:gd name="connsiteY96" fmla="*/ 1593056 h 1707356"/>
                <a:gd name="connsiteX97" fmla="*/ 1054894 w 1538288"/>
                <a:gd name="connsiteY97" fmla="*/ 1707356 h 1707356"/>
                <a:gd name="connsiteX98" fmla="*/ 1178719 w 1538288"/>
                <a:gd name="connsiteY98" fmla="*/ 1697831 h 1707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538288" h="1707356">
                  <a:moveTo>
                    <a:pt x="1178719" y="1697831"/>
                  </a:moveTo>
                  <a:lnTo>
                    <a:pt x="1345406" y="519112"/>
                  </a:lnTo>
                  <a:lnTo>
                    <a:pt x="1538288" y="471487"/>
                  </a:lnTo>
                  <a:lnTo>
                    <a:pt x="1514475" y="169069"/>
                  </a:lnTo>
                  <a:lnTo>
                    <a:pt x="1478756" y="185737"/>
                  </a:lnTo>
                  <a:lnTo>
                    <a:pt x="1345406" y="111919"/>
                  </a:lnTo>
                  <a:lnTo>
                    <a:pt x="1262063" y="0"/>
                  </a:lnTo>
                  <a:lnTo>
                    <a:pt x="1202531" y="64294"/>
                  </a:lnTo>
                  <a:lnTo>
                    <a:pt x="1138238" y="14287"/>
                  </a:lnTo>
                  <a:lnTo>
                    <a:pt x="1038225" y="19050"/>
                  </a:lnTo>
                  <a:lnTo>
                    <a:pt x="1009650" y="57150"/>
                  </a:lnTo>
                  <a:lnTo>
                    <a:pt x="938213" y="28575"/>
                  </a:lnTo>
                  <a:lnTo>
                    <a:pt x="869156" y="59531"/>
                  </a:lnTo>
                  <a:lnTo>
                    <a:pt x="800100" y="57150"/>
                  </a:lnTo>
                  <a:lnTo>
                    <a:pt x="750094" y="109537"/>
                  </a:lnTo>
                  <a:lnTo>
                    <a:pt x="716756" y="164306"/>
                  </a:lnTo>
                  <a:lnTo>
                    <a:pt x="714375" y="202406"/>
                  </a:lnTo>
                  <a:lnTo>
                    <a:pt x="731044" y="245269"/>
                  </a:lnTo>
                  <a:lnTo>
                    <a:pt x="750094" y="278606"/>
                  </a:lnTo>
                  <a:lnTo>
                    <a:pt x="783431" y="278606"/>
                  </a:lnTo>
                  <a:lnTo>
                    <a:pt x="800100" y="311944"/>
                  </a:lnTo>
                  <a:lnTo>
                    <a:pt x="831056" y="352425"/>
                  </a:lnTo>
                  <a:lnTo>
                    <a:pt x="857250" y="326231"/>
                  </a:lnTo>
                  <a:lnTo>
                    <a:pt x="857250" y="297656"/>
                  </a:lnTo>
                  <a:lnTo>
                    <a:pt x="897731" y="290512"/>
                  </a:lnTo>
                  <a:lnTo>
                    <a:pt x="935831" y="250031"/>
                  </a:lnTo>
                  <a:lnTo>
                    <a:pt x="976313" y="290512"/>
                  </a:lnTo>
                  <a:lnTo>
                    <a:pt x="983456" y="297656"/>
                  </a:lnTo>
                  <a:lnTo>
                    <a:pt x="952500" y="345281"/>
                  </a:lnTo>
                  <a:lnTo>
                    <a:pt x="1000125" y="426244"/>
                  </a:lnTo>
                  <a:lnTo>
                    <a:pt x="945356" y="435769"/>
                  </a:lnTo>
                  <a:lnTo>
                    <a:pt x="895350" y="438150"/>
                  </a:lnTo>
                  <a:lnTo>
                    <a:pt x="866775" y="416719"/>
                  </a:lnTo>
                  <a:lnTo>
                    <a:pt x="888206" y="383381"/>
                  </a:lnTo>
                  <a:lnTo>
                    <a:pt x="916781" y="388144"/>
                  </a:lnTo>
                  <a:lnTo>
                    <a:pt x="938213" y="354806"/>
                  </a:lnTo>
                  <a:lnTo>
                    <a:pt x="931069" y="333375"/>
                  </a:lnTo>
                  <a:lnTo>
                    <a:pt x="845344" y="342900"/>
                  </a:lnTo>
                  <a:lnTo>
                    <a:pt x="826294" y="352425"/>
                  </a:lnTo>
                  <a:lnTo>
                    <a:pt x="783431" y="328612"/>
                  </a:lnTo>
                  <a:lnTo>
                    <a:pt x="747713" y="338137"/>
                  </a:lnTo>
                  <a:lnTo>
                    <a:pt x="626269" y="278606"/>
                  </a:lnTo>
                  <a:lnTo>
                    <a:pt x="471488" y="221456"/>
                  </a:lnTo>
                  <a:lnTo>
                    <a:pt x="419100" y="190500"/>
                  </a:lnTo>
                  <a:lnTo>
                    <a:pt x="376238" y="216694"/>
                  </a:lnTo>
                  <a:lnTo>
                    <a:pt x="333375" y="195262"/>
                  </a:lnTo>
                  <a:lnTo>
                    <a:pt x="297656" y="240506"/>
                  </a:lnTo>
                  <a:lnTo>
                    <a:pt x="283369" y="278606"/>
                  </a:lnTo>
                  <a:lnTo>
                    <a:pt x="271463" y="295275"/>
                  </a:lnTo>
                  <a:lnTo>
                    <a:pt x="230981" y="292894"/>
                  </a:lnTo>
                  <a:lnTo>
                    <a:pt x="202406" y="300037"/>
                  </a:lnTo>
                  <a:lnTo>
                    <a:pt x="209550" y="340519"/>
                  </a:lnTo>
                  <a:lnTo>
                    <a:pt x="273844" y="423862"/>
                  </a:lnTo>
                  <a:lnTo>
                    <a:pt x="309563" y="471487"/>
                  </a:lnTo>
                  <a:lnTo>
                    <a:pt x="264319" y="457200"/>
                  </a:lnTo>
                  <a:lnTo>
                    <a:pt x="214313" y="466725"/>
                  </a:lnTo>
                  <a:lnTo>
                    <a:pt x="173831" y="411956"/>
                  </a:lnTo>
                  <a:lnTo>
                    <a:pt x="114300" y="392906"/>
                  </a:lnTo>
                  <a:lnTo>
                    <a:pt x="50006" y="371475"/>
                  </a:lnTo>
                  <a:lnTo>
                    <a:pt x="21431" y="395287"/>
                  </a:lnTo>
                  <a:lnTo>
                    <a:pt x="0" y="442912"/>
                  </a:lnTo>
                  <a:lnTo>
                    <a:pt x="9525" y="476250"/>
                  </a:lnTo>
                  <a:lnTo>
                    <a:pt x="80963" y="504825"/>
                  </a:lnTo>
                  <a:lnTo>
                    <a:pt x="116681" y="533400"/>
                  </a:lnTo>
                  <a:lnTo>
                    <a:pt x="123825" y="590550"/>
                  </a:lnTo>
                  <a:lnTo>
                    <a:pt x="130969" y="623887"/>
                  </a:lnTo>
                  <a:lnTo>
                    <a:pt x="145256" y="673894"/>
                  </a:lnTo>
                  <a:lnTo>
                    <a:pt x="147638" y="721519"/>
                  </a:lnTo>
                  <a:lnTo>
                    <a:pt x="183356" y="773906"/>
                  </a:lnTo>
                  <a:lnTo>
                    <a:pt x="178594" y="809625"/>
                  </a:lnTo>
                  <a:lnTo>
                    <a:pt x="178594" y="845344"/>
                  </a:lnTo>
                  <a:lnTo>
                    <a:pt x="166688" y="881062"/>
                  </a:lnTo>
                  <a:lnTo>
                    <a:pt x="154781" y="909637"/>
                  </a:lnTo>
                  <a:lnTo>
                    <a:pt x="195263" y="902494"/>
                  </a:lnTo>
                  <a:lnTo>
                    <a:pt x="250031" y="921544"/>
                  </a:lnTo>
                  <a:lnTo>
                    <a:pt x="269081" y="947737"/>
                  </a:lnTo>
                  <a:lnTo>
                    <a:pt x="276225" y="988219"/>
                  </a:lnTo>
                  <a:lnTo>
                    <a:pt x="290513" y="1026319"/>
                  </a:lnTo>
                  <a:lnTo>
                    <a:pt x="330994" y="1028700"/>
                  </a:lnTo>
                  <a:lnTo>
                    <a:pt x="373856" y="1050131"/>
                  </a:lnTo>
                  <a:lnTo>
                    <a:pt x="409575" y="1054894"/>
                  </a:lnTo>
                  <a:lnTo>
                    <a:pt x="459581" y="1095375"/>
                  </a:lnTo>
                  <a:lnTo>
                    <a:pt x="459581" y="1147762"/>
                  </a:lnTo>
                  <a:lnTo>
                    <a:pt x="445294" y="1183481"/>
                  </a:lnTo>
                  <a:lnTo>
                    <a:pt x="426244" y="1212056"/>
                  </a:lnTo>
                  <a:lnTo>
                    <a:pt x="371475" y="1273969"/>
                  </a:lnTo>
                  <a:lnTo>
                    <a:pt x="357188" y="1300162"/>
                  </a:lnTo>
                  <a:lnTo>
                    <a:pt x="373856" y="1350169"/>
                  </a:lnTo>
                  <a:lnTo>
                    <a:pt x="361950" y="1371600"/>
                  </a:lnTo>
                  <a:lnTo>
                    <a:pt x="350044" y="1409700"/>
                  </a:lnTo>
                  <a:lnTo>
                    <a:pt x="428625" y="1378744"/>
                  </a:lnTo>
                  <a:lnTo>
                    <a:pt x="550069" y="1300162"/>
                  </a:lnTo>
                  <a:lnTo>
                    <a:pt x="781050" y="1297781"/>
                  </a:lnTo>
                  <a:lnTo>
                    <a:pt x="909638" y="1404937"/>
                  </a:lnTo>
                  <a:lnTo>
                    <a:pt x="966788" y="1447800"/>
                  </a:lnTo>
                  <a:cubicBezTo>
                    <a:pt x="967582" y="1470819"/>
                    <a:pt x="968375" y="1493837"/>
                    <a:pt x="969169" y="1516856"/>
                  </a:cubicBezTo>
                  <a:lnTo>
                    <a:pt x="1012031" y="1593056"/>
                  </a:lnTo>
                  <a:lnTo>
                    <a:pt x="1054894" y="1707356"/>
                  </a:lnTo>
                  <a:lnTo>
                    <a:pt x="1178719" y="169783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36000"/>
              </a:schemeClr>
            </a:solidFill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ysDot"/>
              <a:miter lim="800000"/>
            </a:ln>
            <a:effectLst/>
          </p:spPr>
          <p:txBody>
            <a:bodyPr anchor="ctr"/>
            <a:lstStyle/>
            <a:p>
              <a:pPr algn="ctr" defTabSz="514324">
                <a:defRPr/>
              </a:pPr>
              <a:endParaRPr lang="ru-RU" sz="600" kern="0" dirty="0" err="1">
                <a:solidFill>
                  <a:srgbClr val="A5A5A5">
                    <a:lumMod val="50000"/>
                  </a:srgb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0" name="Freeform 16"/>
            <p:cNvSpPr/>
            <p:nvPr/>
          </p:nvSpPr>
          <p:spPr>
            <a:xfrm>
              <a:off x="3181212" y="1086062"/>
              <a:ext cx="1126307" cy="1373606"/>
            </a:xfrm>
            <a:custGeom>
              <a:avLst/>
              <a:gdLst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8637 w 1602581"/>
                <a:gd name="connsiteY101" fmla="*/ 1833562 h 2107406"/>
                <a:gd name="connsiteX102" fmla="*/ 471487 w 1602581"/>
                <a:gd name="connsiteY102" fmla="*/ 1883568 h 2107406"/>
                <a:gd name="connsiteX103" fmla="*/ 400050 w 1602581"/>
                <a:gd name="connsiteY103" fmla="*/ 1800225 h 2107406"/>
                <a:gd name="connsiteX104" fmla="*/ 421481 w 1602581"/>
                <a:gd name="connsiteY104" fmla="*/ 1759743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8637 w 1602581"/>
                <a:gd name="connsiteY107" fmla="*/ 1540668 h 2107406"/>
                <a:gd name="connsiteX108" fmla="*/ 545306 w 1602581"/>
                <a:gd name="connsiteY108" fmla="*/ 1519237 h 2107406"/>
                <a:gd name="connsiteX109" fmla="*/ 490537 w 1602581"/>
                <a:gd name="connsiteY109" fmla="*/ 1347787 h 2107406"/>
                <a:gd name="connsiteX110" fmla="*/ 426243 w 1602581"/>
                <a:gd name="connsiteY110" fmla="*/ 1240631 h 2107406"/>
                <a:gd name="connsiteX111" fmla="*/ 469106 w 1602581"/>
                <a:gd name="connsiteY111" fmla="*/ 1209675 h 2107406"/>
                <a:gd name="connsiteX112" fmla="*/ 409575 w 1602581"/>
                <a:gd name="connsiteY112" fmla="*/ 1109662 h 2107406"/>
                <a:gd name="connsiteX113" fmla="*/ 357187 w 1602581"/>
                <a:gd name="connsiteY113" fmla="*/ 1147762 h 2107406"/>
                <a:gd name="connsiteX114" fmla="*/ 366712 w 1602581"/>
                <a:gd name="connsiteY114" fmla="*/ 1059656 h 2107406"/>
                <a:gd name="connsiteX115" fmla="*/ 278606 w 1602581"/>
                <a:gd name="connsiteY115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8637 w 1602581"/>
                <a:gd name="connsiteY101" fmla="*/ 1833562 h 2107406"/>
                <a:gd name="connsiteX102" fmla="*/ 471487 w 1602581"/>
                <a:gd name="connsiteY102" fmla="*/ 1883568 h 2107406"/>
                <a:gd name="connsiteX103" fmla="*/ 400050 w 1602581"/>
                <a:gd name="connsiteY103" fmla="*/ 1800225 h 2107406"/>
                <a:gd name="connsiteX104" fmla="*/ 421481 w 1602581"/>
                <a:gd name="connsiteY104" fmla="*/ 1759743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8637 w 1602581"/>
                <a:gd name="connsiteY107" fmla="*/ 1540668 h 2107406"/>
                <a:gd name="connsiteX108" fmla="*/ 545306 w 1602581"/>
                <a:gd name="connsiteY108" fmla="*/ 1519237 h 2107406"/>
                <a:gd name="connsiteX109" fmla="*/ 490537 w 1602581"/>
                <a:gd name="connsiteY109" fmla="*/ 1347787 h 2107406"/>
                <a:gd name="connsiteX110" fmla="*/ 426243 w 1602581"/>
                <a:gd name="connsiteY110" fmla="*/ 1240631 h 2107406"/>
                <a:gd name="connsiteX111" fmla="*/ 469106 w 1602581"/>
                <a:gd name="connsiteY111" fmla="*/ 1209675 h 2107406"/>
                <a:gd name="connsiteX112" fmla="*/ 414338 w 1602581"/>
                <a:gd name="connsiteY112" fmla="*/ 1121568 h 2107406"/>
                <a:gd name="connsiteX113" fmla="*/ 357187 w 1602581"/>
                <a:gd name="connsiteY113" fmla="*/ 1147762 h 2107406"/>
                <a:gd name="connsiteX114" fmla="*/ 366712 w 1602581"/>
                <a:gd name="connsiteY114" fmla="*/ 1059656 h 2107406"/>
                <a:gd name="connsiteX115" fmla="*/ 278606 w 1602581"/>
                <a:gd name="connsiteY115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8637 w 1602581"/>
                <a:gd name="connsiteY101" fmla="*/ 1833562 h 2107406"/>
                <a:gd name="connsiteX102" fmla="*/ 471487 w 1602581"/>
                <a:gd name="connsiteY102" fmla="*/ 1883568 h 2107406"/>
                <a:gd name="connsiteX103" fmla="*/ 400050 w 1602581"/>
                <a:gd name="connsiteY103" fmla="*/ 1800225 h 2107406"/>
                <a:gd name="connsiteX104" fmla="*/ 421481 w 1602581"/>
                <a:gd name="connsiteY104" fmla="*/ 1759743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8637 w 1602581"/>
                <a:gd name="connsiteY107" fmla="*/ 1540668 h 2107406"/>
                <a:gd name="connsiteX108" fmla="*/ 545306 w 1602581"/>
                <a:gd name="connsiteY108" fmla="*/ 1519237 h 2107406"/>
                <a:gd name="connsiteX109" fmla="*/ 490537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9106 w 1602581"/>
                <a:gd name="connsiteY111" fmla="*/ 1209675 h 2107406"/>
                <a:gd name="connsiteX112" fmla="*/ 414338 w 1602581"/>
                <a:gd name="connsiteY112" fmla="*/ 1121568 h 2107406"/>
                <a:gd name="connsiteX113" fmla="*/ 357187 w 1602581"/>
                <a:gd name="connsiteY113" fmla="*/ 1147762 h 2107406"/>
                <a:gd name="connsiteX114" fmla="*/ 366712 w 1602581"/>
                <a:gd name="connsiteY114" fmla="*/ 1059656 h 2107406"/>
                <a:gd name="connsiteX115" fmla="*/ 278606 w 1602581"/>
                <a:gd name="connsiteY115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8637 w 1602581"/>
                <a:gd name="connsiteY101" fmla="*/ 1833562 h 2107406"/>
                <a:gd name="connsiteX102" fmla="*/ 471487 w 1602581"/>
                <a:gd name="connsiteY102" fmla="*/ 1883568 h 2107406"/>
                <a:gd name="connsiteX103" fmla="*/ 392907 w 1602581"/>
                <a:gd name="connsiteY103" fmla="*/ 1797844 h 2107406"/>
                <a:gd name="connsiteX104" fmla="*/ 421481 w 1602581"/>
                <a:gd name="connsiteY104" fmla="*/ 1759743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8637 w 1602581"/>
                <a:gd name="connsiteY107" fmla="*/ 1540668 h 2107406"/>
                <a:gd name="connsiteX108" fmla="*/ 545306 w 1602581"/>
                <a:gd name="connsiteY108" fmla="*/ 1519237 h 2107406"/>
                <a:gd name="connsiteX109" fmla="*/ 490537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9106 w 1602581"/>
                <a:gd name="connsiteY111" fmla="*/ 1209675 h 2107406"/>
                <a:gd name="connsiteX112" fmla="*/ 414338 w 1602581"/>
                <a:gd name="connsiteY112" fmla="*/ 1121568 h 2107406"/>
                <a:gd name="connsiteX113" fmla="*/ 357187 w 1602581"/>
                <a:gd name="connsiteY113" fmla="*/ 1147762 h 2107406"/>
                <a:gd name="connsiteX114" fmla="*/ 366712 w 1602581"/>
                <a:gd name="connsiteY114" fmla="*/ 1059656 h 2107406"/>
                <a:gd name="connsiteX115" fmla="*/ 278606 w 1602581"/>
                <a:gd name="connsiteY115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8637 w 1602581"/>
                <a:gd name="connsiteY101" fmla="*/ 1833562 h 2107406"/>
                <a:gd name="connsiteX102" fmla="*/ 471487 w 1602581"/>
                <a:gd name="connsiteY102" fmla="*/ 1883568 h 2107406"/>
                <a:gd name="connsiteX103" fmla="*/ 392907 w 1602581"/>
                <a:gd name="connsiteY103" fmla="*/ 1797844 h 2107406"/>
                <a:gd name="connsiteX104" fmla="*/ 411956 w 1602581"/>
                <a:gd name="connsiteY104" fmla="*/ 1762124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8637 w 1602581"/>
                <a:gd name="connsiteY107" fmla="*/ 1540668 h 2107406"/>
                <a:gd name="connsiteX108" fmla="*/ 545306 w 1602581"/>
                <a:gd name="connsiteY108" fmla="*/ 1519237 h 2107406"/>
                <a:gd name="connsiteX109" fmla="*/ 490537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9106 w 1602581"/>
                <a:gd name="connsiteY111" fmla="*/ 1209675 h 2107406"/>
                <a:gd name="connsiteX112" fmla="*/ 414338 w 1602581"/>
                <a:gd name="connsiteY112" fmla="*/ 1121568 h 2107406"/>
                <a:gd name="connsiteX113" fmla="*/ 357187 w 1602581"/>
                <a:gd name="connsiteY113" fmla="*/ 1147762 h 2107406"/>
                <a:gd name="connsiteX114" fmla="*/ 366712 w 1602581"/>
                <a:gd name="connsiteY114" fmla="*/ 1059656 h 2107406"/>
                <a:gd name="connsiteX115" fmla="*/ 278606 w 1602581"/>
                <a:gd name="connsiteY115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8637 w 1602581"/>
                <a:gd name="connsiteY101" fmla="*/ 1833562 h 2107406"/>
                <a:gd name="connsiteX102" fmla="*/ 471487 w 1602581"/>
                <a:gd name="connsiteY102" fmla="*/ 1883568 h 2107406"/>
                <a:gd name="connsiteX103" fmla="*/ 392907 w 1602581"/>
                <a:gd name="connsiteY103" fmla="*/ 1797844 h 2107406"/>
                <a:gd name="connsiteX104" fmla="*/ 411956 w 1602581"/>
                <a:gd name="connsiteY104" fmla="*/ 1762124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3875 w 1602581"/>
                <a:gd name="connsiteY107" fmla="*/ 1531143 h 2107406"/>
                <a:gd name="connsiteX108" fmla="*/ 545306 w 1602581"/>
                <a:gd name="connsiteY108" fmla="*/ 1519237 h 2107406"/>
                <a:gd name="connsiteX109" fmla="*/ 490537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9106 w 1602581"/>
                <a:gd name="connsiteY111" fmla="*/ 1209675 h 2107406"/>
                <a:gd name="connsiteX112" fmla="*/ 414338 w 1602581"/>
                <a:gd name="connsiteY112" fmla="*/ 1121568 h 2107406"/>
                <a:gd name="connsiteX113" fmla="*/ 357187 w 1602581"/>
                <a:gd name="connsiteY113" fmla="*/ 1147762 h 2107406"/>
                <a:gd name="connsiteX114" fmla="*/ 366712 w 1602581"/>
                <a:gd name="connsiteY114" fmla="*/ 1059656 h 2107406"/>
                <a:gd name="connsiteX115" fmla="*/ 278606 w 1602581"/>
                <a:gd name="connsiteY115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1493 w 1602581"/>
                <a:gd name="connsiteY101" fmla="*/ 1843087 h 2107406"/>
                <a:gd name="connsiteX102" fmla="*/ 471487 w 1602581"/>
                <a:gd name="connsiteY102" fmla="*/ 1883568 h 2107406"/>
                <a:gd name="connsiteX103" fmla="*/ 392907 w 1602581"/>
                <a:gd name="connsiteY103" fmla="*/ 1797844 h 2107406"/>
                <a:gd name="connsiteX104" fmla="*/ 411956 w 1602581"/>
                <a:gd name="connsiteY104" fmla="*/ 1762124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3875 w 1602581"/>
                <a:gd name="connsiteY107" fmla="*/ 1531143 h 2107406"/>
                <a:gd name="connsiteX108" fmla="*/ 545306 w 1602581"/>
                <a:gd name="connsiteY108" fmla="*/ 1519237 h 2107406"/>
                <a:gd name="connsiteX109" fmla="*/ 490537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9106 w 1602581"/>
                <a:gd name="connsiteY111" fmla="*/ 1209675 h 2107406"/>
                <a:gd name="connsiteX112" fmla="*/ 414338 w 1602581"/>
                <a:gd name="connsiteY112" fmla="*/ 1121568 h 2107406"/>
                <a:gd name="connsiteX113" fmla="*/ 357187 w 1602581"/>
                <a:gd name="connsiteY113" fmla="*/ 1147762 h 2107406"/>
                <a:gd name="connsiteX114" fmla="*/ 366712 w 1602581"/>
                <a:gd name="connsiteY114" fmla="*/ 1059656 h 2107406"/>
                <a:gd name="connsiteX115" fmla="*/ 278606 w 1602581"/>
                <a:gd name="connsiteY115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1493 w 1602581"/>
                <a:gd name="connsiteY101" fmla="*/ 1843087 h 2107406"/>
                <a:gd name="connsiteX102" fmla="*/ 471487 w 1602581"/>
                <a:gd name="connsiteY102" fmla="*/ 1883568 h 2107406"/>
                <a:gd name="connsiteX103" fmla="*/ 392907 w 1602581"/>
                <a:gd name="connsiteY103" fmla="*/ 1797844 h 2107406"/>
                <a:gd name="connsiteX104" fmla="*/ 411956 w 1602581"/>
                <a:gd name="connsiteY104" fmla="*/ 1762124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3875 w 1602581"/>
                <a:gd name="connsiteY107" fmla="*/ 1531143 h 2107406"/>
                <a:gd name="connsiteX108" fmla="*/ 545306 w 1602581"/>
                <a:gd name="connsiteY108" fmla="*/ 1519237 h 2107406"/>
                <a:gd name="connsiteX109" fmla="*/ 488156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9106 w 1602581"/>
                <a:gd name="connsiteY111" fmla="*/ 1209675 h 2107406"/>
                <a:gd name="connsiteX112" fmla="*/ 414338 w 1602581"/>
                <a:gd name="connsiteY112" fmla="*/ 1121568 h 2107406"/>
                <a:gd name="connsiteX113" fmla="*/ 357187 w 1602581"/>
                <a:gd name="connsiteY113" fmla="*/ 1147762 h 2107406"/>
                <a:gd name="connsiteX114" fmla="*/ 366712 w 1602581"/>
                <a:gd name="connsiteY114" fmla="*/ 1059656 h 2107406"/>
                <a:gd name="connsiteX115" fmla="*/ 278606 w 1602581"/>
                <a:gd name="connsiteY115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1493 w 1602581"/>
                <a:gd name="connsiteY101" fmla="*/ 1843087 h 2107406"/>
                <a:gd name="connsiteX102" fmla="*/ 471487 w 1602581"/>
                <a:gd name="connsiteY102" fmla="*/ 1883568 h 2107406"/>
                <a:gd name="connsiteX103" fmla="*/ 392907 w 1602581"/>
                <a:gd name="connsiteY103" fmla="*/ 1797844 h 2107406"/>
                <a:gd name="connsiteX104" fmla="*/ 411956 w 1602581"/>
                <a:gd name="connsiteY104" fmla="*/ 1762124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3875 w 1602581"/>
                <a:gd name="connsiteY107" fmla="*/ 1531143 h 2107406"/>
                <a:gd name="connsiteX108" fmla="*/ 545306 w 1602581"/>
                <a:gd name="connsiteY108" fmla="*/ 1519237 h 2107406"/>
                <a:gd name="connsiteX109" fmla="*/ 488156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9106 w 1602581"/>
                <a:gd name="connsiteY111" fmla="*/ 1209675 h 2107406"/>
                <a:gd name="connsiteX112" fmla="*/ 442912 w 1602581"/>
                <a:gd name="connsiteY112" fmla="*/ 1162050 h 2107406"/>
                <a:gd name="connsiteX113" fmla="*/ 414338 w 1602581"/>
                <a:gd name="connsiteY113" fmla="*/ 1121568 h 2107406"/>
                <a:gd name="connsiteX114" fmla="*/ 357187 w 1602581"/>
                <a:gd name="connsiteY114" fmla="*/ 1147762 h 2107406"/>
                <a:gd name="connsiteX115" fmla="*/ 366712 w 1602581"/>
                <a:gd name="connsiteY115" fmla="*/ 1059656 h 2107406"/>
                <a:gd name="connsiteX116" fmla="*/ 278606 w 1602581"/>
                <a:gd name="connsiteY116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1493 w 1602581"/>
                <a:gd name="connsiteY101" fmla="*/ 1843087 h 2107406"/>
                <a:gd name="connsiteX102" fmla="*/ 471487 w 1602581"/>
                <a:gd name="connsiteY102" fmla="*/ 1883568 h 2107406"/>
                <a:gd name="connsiteX103" fmla="*/ 392907 w 1602581"/>
                <a:gd name="connsiteY103" fmla="*/ 1797844 h 2107406"/>
                <a:gd name="connsiteX104" fmla="*/ 411956 w 1602581"/>
                <a:gd name="connsiteY104" fmla="*/ 1762124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3875 w 1602581"/>
                <a:gd name="connsiteY107" fmla="*/ 1531143 h 2107406"/>
                <a:gd name="connsiteX108" fmla="*/ 545306 w 1602581"/>
                <a:gd name="connsiteY108" fmla="*/ 1519237 h 2107406"/>
                <a:gd name="connsiteX109" fmla="*/ 488156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9106 w 1602581"/>
                <a:gd name="connsiteY111" fmla="*/ 1209675 h 2107406"/>
                <a:gd name="connsiteX112" fmla="*/ 435768 w 1602581"/>
                <a:gd name="connsiteY112" fmla="*/ 1162050 h 2107406"/>
                <a:gd name="connsiteX113" fmla="*/ 414338 w 1602581"/>
                <a:gd name="connsiteY113" fmla="*/ 1121568 h 2107406"/>
                <a:gd name="connsiteX114" fmla="*/ 357187 w 1602581"/>
                <a:gd name="connsiteY114" fmla="*/ 1147762 h 2107406"/>
                <a:gd name="connsiteX115" fmla="*/ 366712 w 1602581"/>
                <a:gd name="connsiteY115" fmla="*/ 1059656 h 2107406"/>
                <a:gd name="connsiteX116" fmla="*/ 278606 w 1602581"/>
                <a:gd name="connsiteY116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1493 w 1602581"/>
                <a:gd name="connsiteY101" fmla="*/ 1843087 h 2107406"/>
                <a:gd name="connsiteX102" fmla="*/ 471487 w 1602581"/>
                <a:gd name="connsiteY102" fmla="*/ 1883568 h 2107406"/>
                <a:gd name="connsiteX103" fmla="*/ 392907 w 1602581"/>
                <a:gd name="connsiteY103" fmla="*/ 1797844 h 2107406"/>
                <a:gd name="connsiteX104" fmla="*/ 411956 w 1602581"/>
                <a:gd name="connsiteY104" fmla="*/ 1762124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3875 w 1602581"/>
                <a:gd name="connsiteY107" fmla="*/ 1531143 h 2107406"/>
                <a:gd name="connsiteX108" fmla="*/ 545306 w 1602581"/>
                <a:gd name="connsiteY108" fmla="*/ 1519237 h 2107406"/>
                <a:gd name="connsiteX109" fmla="*/ 488156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9106 w 1602581"/>
                <a:gd name="connsiteY111" fmla="*/ 1209675 h 2107406"/>
                <a:gd name="connsiteX112" fmla="*/ 435768 w 1602581"/>
                <a:gd name="connsiteY112" fmla="*/ 1162050 h 2107406"/>
                <a:gd name="connsiteX113" fmla="*/ 402432 w 1602581"/>
                <a:gd name="connsiteY113" fmla="*/ 1121568 h 2107406"/>
                <a:gd name="connsiteX114" fmla="*/ 357187 w 1602581"/>
                <a:gd name="connsiteY114" fmla="*/ 1147762 h 2107406"/>
                <a:gd name="connsiteX115" fmla="*/ 366712 w 1602581"/>
                <a:gd name="connsiteY115" fmla="*/ 1059656 h 2107406"/>
                <a:gd name="connsiteX116" fmla="*/ 278606 w 1602581"/>
                <a:gd name="connsiteY116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1493 w 1602581"/>
                <a:gd name="connsiteY101" fmla="*/ 1843087 h 2107406"/>
                <a:gd name="connsiteX102" fmla="*/ 471487 w 1602581"/>
                <a:gd name="connsiteY102" fmla="*/ 1883568 h 2107406"/>
                <a:gd name="connsiteX103" fmla="*/ 392907 w 1602581"/>
                <a:gd name="connsiteY103" fmla="*/ 1797844 h 2107406"/>
                <a:gd name="connsiteX104" fmla="*/ 411956 w 1602581"/>
                <a:gd name="connsiteY104" fmla="*/ 1762124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3875 w 1602581"/>
                <a:gd name="connsiteY107" fmla="*/ 1531143 h 2107406"/>
                <a:gd name="connsiteX108" fmla="*/ 545306 w 1602581"/>
                <a:gd name="connsiteY108" fmla="*/ 1519237 h 2107406"/>
                <a:gd name="connsiteX109" fmla="*/ 488156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1963 w 1602581"/>
                <a:gd name="connsiteY111" fmla="*/ 1209675 h 2107406"/>
                <a:gd name="connsiteX112" fmla="*/ 435768 w 1602581"/>
                <a:gd name="connsiteY112" fmla="*/ 1162050 h 2107406"/>
                <a:gd name="connsiteX113" fmla="*/ 402432 w 1602581"/>
                <a:gd name="connsiteY113" fmla="*/ 1121568 h 2107406"/>
                <a:gd name="connsiteX114" fmla="*/ 357187 w 1602581"/>
                <a:gd name="connsiteY114" fmla="*/ 1147762 h 2107406"/>
                <a:gd name="connsiteX115" fmla="*/ 366712 w 1602581"/>
                <a:gd name="connsiteY115" fmla="*/ 1059656 h 2107406"/>
                <a:gd name="connsiteX116" fmla="*/ 278606 w 1602581"/>
                <a:gd name="connsiteY116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1493 w 1602581"/>
                <a:gd name="connsiteY101" fmla="*/ 1843087 h 2107406"/>
                <a:gd name="connsiteX102" fmla="*/ 471487 w 1602581"/>
                <a:gd name="connsiteY102" fmla="*/ 1883568 h 2107406"/>
                <a:gd name="connsiteX103" fmla="*/ 392907 w 1602581"/>
                <a:gd name="connsiteY103" fmla="*/ 1797844 h 2107406"/>
                <a:gd name="connsiteX104" fmla="*/ 411956 w 1602581"/>
                <a:gd name="connsiteY104" fmla="*/ 1762124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3875 w 1602581"/>
                <a:gd name="connsiteY107" fmla="*/ 1531143 h 2107406"/>
                <a:gd name="connsiteX108" fmla="*/ 545306 w 1602581"/>
                <a:gd name="connsiteY108" fmla="*/ 1519237 h 2107406"/>
                <a:gd name="connsiteX109" fmla="*/ 488156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1963 w 1602581"/>
                <a:gd name="connsiteY111" fmla="*/ 1209675 h 2107406"/>
                <a:gd name="connsiteX112" fmla="*/ 435768 w 1602581"/>
                <a:gd name="connsiteY112" fmla="*/ 1162050 h 2107406"/>
                <a:gd name="connsiteX113" fmla="*/ 402432 w 1602581"/>
                <a:gd name="connsiteY113" fmla="*/ 1121568 h 2107406"/>
                <a:gd name="connsiteX114" fmla="*/ 357187 w 1602581"/>
                <a:gd name="connsiteY114" fmla="*/ 1159668 h 2107406"/>
                <a:gd name="connsiteX115" fmla="*/ 366712 w 1602581"/>
                <a:gd name="connsiteY115" fmla="*/ 1059656 h 2107406"/>
                <a:gd name="connsiteX116" fmla="*/ 278606 w 1602581"/>
                <a:gd name="connsiteY116" fmla="*/ 1064418 h 2107406"/>
                <a:gd name="connsiteX0" fmla="*/ 285750 w 1602581"/>
                <a:gd name="connsiteY0" fmla="*/ 1073943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1493 w 1602581"/>
                <a:gd name="connsiteY101" fmla="*/ 1843087 h 2107406"/>
                <a:gd name="connsiteX102" fmla="*/ 471487 w 1602581"/>
                <a:gd name="connsiteY102" fmla="*/ 1883568 h 2107406"/>
                <a:gd name="connsiteX103" fmla="*/ 392907 w 1602581"/>
                <a:gd name="connsiteY103" fmla="*/ 1797844 h 2107406"/>
                <a:gd name="connsiteX104" fmla="*/ 411956 w 1602581"/>
                <a:gd name="connsiteY104" fmla="*/ 1762124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3875 w 1602581"/>
                <a:gd name="connsiteY107" fmla="*/ 1531143 h 2107406"/>
                <a:gd name="connsiteX108" fmla="*/ 545306 w 1602581"/>
                <a:gd name="connsiteY108" fmla="*/ 1519237 h 2107406"/>
                <a:gd name="connsiteX109" fmla="*/ 488156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1963 w 1602581"/>
                <a:gd name="connsiteY111" fmla="*/ 1209675 h 2107406"/>
                <a:gd name="connsiteX112" fmla="*/ 435768 w 1602581"/>
                <a:gd name="connsiteY112" fmla="*/ 1162050 h 2107406"/>
                <a:gd name="connsiteX113" fmla="*/ 402432 w 1602581"/>
                <a:gd name="connsiteY113" fmla="*/ 1121568 h 2107406"/>
                <a:gd name="connsiteX114" fmla="*/ 357187 w 1602581"/>
                <a:gd name="connsiteY114" fmla="*/ 1159668 h 2107406"/>
                <a:gd name="connsiteX115" fmla="*/ 366712 w 1602581"/>
                <a:gd name="connsiteY115" fmla="*/ 1059656 h 2107406"/>
                <a:gd name="connsiteX116" fmla="*/ 285750 w 1602581"/>
                <a:gd name="connsiteY116" fmla="*/ 1073943 h 2107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</a:cxnLst>
              <a:rect l="l" t="t" r="r" b="b"/>
              <a:pathLst>
                <a:path w="1602581" h="2107406">
                  <a:moveTo>
                    <a:pt x="285750" y="1073943"/>
                  </a:moveTo>
                  <a:lnTo>
                    <a:pt x="247650" y="1016793"/>
                  </a:lnTo>
                  <a:lnTo>
                    <a:pt x="209550" y="1000125"/>
                  </a:lnTo>
                  <a:lnTo>
                    <a:pt x="164306" y="1012031"/>
                  </a:lnTo>
                  <a:lnTo>
                    <a:pt x="135731" y="957262"/>
                  </a:lnTo>
                  <a:lnTo>
                    <a:pt x="76200" y="957262"/>
                  </a:lnTo>
                  <a:lnTo>
                    <a:pt x="47625" y="947737"/>
                  </a:lnTo>
                  <a:lnTo>
                    <a:pt x="50006" y="897731"/>
                  </a:lnTo>
                  <a:lnTo>
                    <a:pt x="21431" y="876300"/>
                  </a:lnTo>
                  <a:lnTo>
                    <a:pt x="0" y="835818"/>
                  </a:lnTo>
                  <a:lnTo>
                    <a:pt x="47625" y="788193"/>
                  </a:lnTo>
                  <a:lnTo>
                    <a:pt x="133350" y="759618"/>
                  </a:lnTo>
                  <a:lnTo>
                    <a:pt x="173831" y="731043"/>
                  </a:lnTo>
                  <a:lnTo>
                    <a:pt x="183356" y="652462"/>
                  </a:lnTo>
                  <a:lnTo>
                    <a:pt x="133350" y="597693"/>
                  </a:lnTo>
                  <a:cubicBezTo>
                    <a:pt x="154062" y="589927"/>
                    <a:pt x="146335" y="593584"/>
                    <a:pt x="157162" y="588168"/>
                  </a:cubicBezTo>
                  <a:lnTo>
                    <a:pt x="207168" y="519112"/>
                  </a:lnTo>
                  <a:lnTo>
                    <a:pt x="250031" y="500062"/>
                  </a:lnTo>
                  <a:lnTo>
                    <a:pt x="321468" y="521493"/>
                  </a:lnTo>
                  <a:lnTo>
                    <a:pt x="402431" y="521493"/>
                  </a:lnTo>
                  <a:lnTo>
                    <a:pt x="419100" y="509587"/>
                  </a:lnTo>
                  <a:lnTo>
                    <a:pt x="416718" y="469106"/>
                  </a:lnTo>
                  <a:lnTo>
                    <a:pt x="354806" y="440531"/>
                  </a:lnTo>
                  <a:lnTo>
                    <a:pt x="309562" y="419100"/>
                  </a:lnTo>
                  <a:lnTo>
                    <a:pt x="247650" y="419100"/>
                  </a:lnTo>
                  <a:lnTo>
                    <a:pt x="228600" y="388143"/>
                  </a:lnTo>
                  <a:lnTo>
                    <a:pt x="250031" y="364331"/>
                  </a:lnTo>
                  <a:lnTo>
                    <a:pt x="314325" y="345281"/>
                  </a:lnTo>
                  <a:lnTo>
                    <a:pt x="328612" y="323850"/>
                  </a:lnTo>
                  <a:lnTo>
                    <a:pt x="297656" y="292893"/>
                  </a:lnTo>
                  <a:lnTo>
                    <a:pt x="250031" y="311943"/>
                  </a:lnTo>
                  <a:lnTo>
                    <a:pt x="216693" y="280987"/>
                  </a:lnTo>
                  <a:lnTo>
                    <a:pt x="238125" y="257175"/>
                  </a:lnTo>
                  <a:lnTo>
                    <a:pt x="245268" y="219075"/>
                  </a:lnTo>
                  <a:lnTo>
                    <a:pt x="233362" y="195262"/>
                  </a:lnTo>
                  <a:lnTo>
                    <a:pt x="261937" y="145256"/>
                  </a:lnTo>
                  <a:lnTo>
                    <a:pt x="319087" y="157162"/>
                  </a:lnTo>
                  <a:lnTo>
                    <a:pt x="357187" y="195262"/>
                  </a:lnTo>
                  <a:lnTo>
                    <a:pt x="485775" y="197643"/>
                  </a:lnTo>
                  <a:lnTo>
                    <a:pt x="614362" y="178593"/>
                  </a:lnTo>
                  <a:lnTo>
                    <a:pt x="673893" y="157162"/>
                  </a:lnTo>
                  <a:lnTo>
                    <a:pt x="812006" y="126206"/>
                  </a:lnTo>
                  <a:lnTo>
                    <a:pt x="833437" y="123825"/>
                  </a:lnTo>
                  <a:lnTo>
                    <a:pt x="866775" y="107156"/>
                  </a:lnTo>
                  <a:lnTo>
                    <a:pt x="1028700" y="111918"/>
                  </a:lnTo>
                  <a:lnTo>
                    <a:pt x="1042987" y="57150"/>
                  </a:lnTo>
                  <a:lnTo>
                    <a:pt x="1114425" y="14287"/>
                  </a:lnTo>
                  <a:lnTo>
                    <a:pt x="1133475" y="4762"/>
                  </a:lnTo>
                  <a:lnTo>
                    <a:pt x="1223962" y="0"/>
                  </a:lnTo>
                  <a:lnTo>
                    <a:pt x="1262062" y="2381"/>
                  </a:lnTo>
                  <a:lnTo>
                    <a:pt x="1233487" y="30956"/>
                  </a:lnTo>
                  <a:lnTo>
                    <a:pt x="1259681" y="76200"/>
                  </a:lnTo>
                  <a:lnTo>
                    <a:pt x="1273968" y="104775"/>
                  </a:lnTo>
                  <a:lnTo>
                    <a:pt x="1235868" y="140493"/>
                  </a:lnTo>
                  <a:lnTo>
                    <a:pt x="1273968" y="159543"/>
                  </a:lnTo>
                  <a:lnTo>
                    <a:pt x="1276350" y="188118"/>
                  </a:lnTo>
                  <a:lnTo>
                    <a:pt x="1219200" y="245268"/>
                  </a:lnTo>
                  <a:lnTo>
                    <a:pt x="1278731" y="309562"/>
                  </a:lnTo>
                  <a:lnTo>
                    <a:pt x="1243012" y="354806"/>
                  </a:lnTo>
                  <a:lnTo>
                    <a:pt x="1281112" y="397668"/>
                  </a:lnTo>
                  <a:lnTo>
                    <a:pt x="1240631" y="433387"/>
                  </a:lnTo>
                  <a:lnTo>
                    <a:pt x="1269206" y="469106"/>
                  </a:lnTo>
                  <a:lnTo>
                    <a:pt x="1202531" y="526256"/>
                  </a:lnTo>
                  <a:lnTo>
                    <a:pt x="1202531" y="719137"/>
                  </a:lnTo>
                  <a:lnTo>
                    <a:pt x="1131093" y="845343"/>
                  </a:lnTo>
                  <a:lnTo>
                    <a:pt x="1042987" y="952500"/>
                  </a:lnTo>
                  <a:lnTo>
                    <a:pt x="1092993" y="992981"/>
                  </a:lnTo>
                  <a:lnTo>
                    <a:pt x="1097756" y="1157287"/>
                  </a:lnTo>
                  <a:lnTo>
                    <a:pt x="1181100" y="1154906"/>
                  </a:lnTo>
                  <a:lnTo>
                    <a:pt x="1209675" y="1178718"/>
                  </a:lnTo>
                  <a:lnTo>
                    <a:pt x="1252537" y="1238250"/>
                  </a:lnTo>
                  <a:lnTo>
                    <a:pt x="1347787" y="1235868"/>
                  </a:lnTo>
                  <a:lnTo>
                    <a:pt x="1390650" y="1300162"/>
                  </a:lnTo>
                  <a:lnTo>
                    <a:pt x="1481137" y="1347787"/>
                  </a:lnTo>
                  <a:lnTo>
                    <a:pt x="1583531" y="1333500"/>
                  </a:lnTo>
                  <a:lnTo>
                    <a:pt x="1602581" y="1357312"/>
                  </a:lnTo>
                  <a:lnTo>
                    <a:pt x="1552575" y="1407318"/>
                  </a:lnTo>
                  <a:lnTo>
                    <a:pt x="1493043" y="1447800"/>
                  </a:lnTo>
                  <a:lnTo>
                    <a:pt x="1419225" y="1585912"/>
                  </a:lnTo>
                  <a:lnTo>
                    <a:pt x="1297781" y="1688306"/>
                  </a:lnTo>
                  <a:lnTo>
                    <a:pt x="1262062" y="1719262"/>
                  </a:lnTo>
                  <a:lnTo>
                    <a:pt x="1271587" y="1762125"/>
                  </a:lnTo>
                  <a:lnTo>
                    <a:pt x="1240631" y="1797843"/>
                  </a:lnTo>
                  <a:lnTo>
                    <a:pt x="1202531" y="1821656"/>
                  </a:lnTo>
                  <a:lnTo>
                    <a:pt x="1183481" y="1883568"/>
                  </a:lnTo>
                  <a:lnTo>
                    <a:pt x="1131093" y="1859756"/>
                  </a:lnTo>
                  <a:lnTo>
                    <a:pt x="1085850" y="1921668"/>
                  </a:lnTo>
                  <a:lnTo>
                    <a:pt x="1050131" y="1921668"/>
                  </a:lnTo>
                  <a:lnTo>
                    <a:pt x="1009650" y="1914525"/>
                  </a:lnTo>
                  <a:lnTo>
                    <a:pt x="947737" y="1895475"/>
                  </a:lnTo>
                  <a:lnTo>
                    <a:pt x="933450" y="1866900"/>
                  </a:lnTo>
                  <a:lnTo>
                    <a:pt x="895350" y="1878806"/>
                  </a:lnTo>
                  <a:lnTo>
                    <a:pt x="890587" y="1926431"/>
                  </a:lnTo>
                  <a:lnTo>
                    <a:pt x="878681" y="1959768"/>
                  </a:lnTo>
                  <a:lnTo>
                    <a:pt x="823912" y="2019300"/>
                  </a:lnTo>
                  <a:lnTo>
                    <a:pt x="800100" y="2040731"/>
                  </a:lnTo>
                  <a:lnTo>
                    <a:pt x="797718" y="2090737"/>
                  </a:lnTo>
                  <a:lnTo>
                    <a:pt x="747712" y="2107406"/>
                  </a:lnTo>
                  <a:lnTo>
                    <a:pt x="719137" y="2028825"/>
                  </a:lnTo>
                  <a:lnTo>
                    <a:pt x="523875" y="1916906"/>
                  </a:lnTo>
                  <a:lnTo>
                    <a:pt x="550068" y="1862137"/>
                  </a:lnTo>
                  <a:lnTo>
                    <a:pt x="521493" y="1843087"/>
                  </a:lnTo>
                  <a:lnTo>
                    <a:pt x="471487" y="1883568"/>
                  </a:lnTo>
                  <a:lnTo>
                    <a:pt x="392907" y="1797844"/>
                  </a:lnTo>
                  <a:lnTo>
                    <a:pt x="411956" y="1762124"/>
                  </a:lnTo>
                  <a:cubicBezTo>
                    <a:pt x="411162" y="1726405"/>
                    <a:pt x="410369" y="1690687"/>
                    <a:pt x="409575" y="1654968"/>
                  </a:cubicBezTo>
                  <a:lnTo>
                    <a:pt x="504825" y="1545431"/>
                  </a:lnTo>
                  <a:cubicBezTo>
                    <a:pt x="527031" y="1540496"/>
                    <a:pt x="514176" y="1531143"/>
                    <a:pt x="523875" y="1531143"/>
                  </a:cubicBezTo>
                  <a:lnTo>
                    <a:pt x="545306" y="1519237"/>
                  </a:lnTo>
                  <a:lnTo>
                    <a:pt x="488156" y="1347787"/>
                  </a:lnTo>
                  <a:lnTo>
                    <a:pt x="419099" y="1233488"/>
                  </a:lnTo>
                  <a:lnTo>
                    <a:pt x="461963" y="1209675"/>
                  </a:lnTo>
                  <a:lnTo>
                    <a:pt x="435768" y="1162050"/>
                  </a:lnTo>
                  <a:lnTo>
                    <a:pt x="402432" y="1121568"/>
                  </a:lnTo>
                  <a:lnTo>
                    <a:pt x="357187" y="1159668"/>
                  </a:lnTo>
                  <a:lnTo>
                    <a:pt x="366712" y="1059656"/>
                  </a:lnTo>
                  <a:lnTo>
                    <a:pt x="285750" y="107394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36000"/>
              </a:schemeClr>
            </a:solidFill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ysDot"/>
              <a:miter lim="800000"/>
            </a:ln>
            <a:effectLst/>
          </p:spPr>
          <p:txBody>
            <a:bodyPr anchor="ctr"/>
            <a:lstStyle/>
            <a:p>
              <a:pPr algn="ctr" defTabSz="514324">
                <a:defRPr/>
              </a:pPr>
              <a:endParaRPr lang="ru-RU" sz="600" kern="0" dirty="0" err="1">
                <a:solidFill>
                  <a:srgbClr val="A5A5A5">
                    <a:lumMod val="50000"/>
                  </a:srgb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1" name="Freeform 7"/>
            <p:cNvSpPr/>
            <p:nvPr/>
          </p:nvSpPr>
          <p:spPr>
            <a:xfrm>
              <a:off x="1052945" y="1485993"/>
              <a:ext cx="1299306" cy="718865"/>
            </a:xfrm>
            <a:custGeom>
              <a:avLst/>
              <a:gdLst>
                <a:gd name="connsiteX0" fmla="*/ 114300 w 1847850"/>
                <a:gd name="connsiteY0" fmla="*/ 981075 h 1101725"/>
                <a:gd name="connsiteX1" fmla="*/ 79375 w 1847850"/>
                <a:gd name="connsiteY1" fmla="*/ 882650 h 1101725"/>
                <a:gd name="connsiteX2" fmla="*/ 0 w 1847850"/>
                <a:gd name="connsiteY2" fmla="*/ 825500 h 1101725"/>
                <a:gd name="connsiteX3" fmla="*/ 114300 w 1847850"/>
                <a:gd name="connsiteY3" fmla="*/ 688975 h 1101725"/>
                <a:gd name="connsiteX4" fmla="*/ 146050 w 1847850"/>
                <a:gd name="connsiteY4" fmla="*/ 688975 h 1101725"/>
                <a:gd name="connsiteX5" fmla="*/ 174625 w 1847850"/>
                <a:gd name="connsiteY5" fmla="*/ 666750 h 1101725"/>
                <a:gd name="connsiteX6" fmla="*/ 196850 w 1847850"/>
                <a:gd name="connsiteY6" fmla="*/ 619125 h 1101725"/>
                <a:gd name="connsiteX7" fmla="*/ 149225 w 1847850"/>
                <a:gd name="connsiteY7" fmla="*/ 561975 h 1101725"/>
                <a:gd name="connsiteX8" fmla="*/ 209550 w 1847850"/>
                <a:gd name="connsiteY8" fmla="*/ 406400 h 1101725"/>
                <a:gd name="connsiteX9" fmla="*/ 279400 w 1847850"/>
                <a:gd name="connsiteY9" fmla="*/ 406400 h 1101725"/>
                <a:gd name="connsiteX10" fmla="*/ 317500 w 1847850"/>
                <a:gd name="connsiteY10" fmla="*/ 368300 h 1101725"/>
                <a:gd name="connsiteX11" fmla="*/ 323850 w 1847850"/>
                <a:gd name="connsiteY11" fmla="*/ 307975 h 1101725"/>
                <a:gd name="connsiteX12" fmla="*/ 381000 w 1847850"/>
                <a:gd name="connsiteY12" fmla="*/ 257175 h 1101725"/>
                <a:gd name="connsiteX13" fmla="*/ 438150 w 1847850"/>
                <a:gd name="connsiteY13" fmla="*/ 301625 h 1101725"/>
                <a:gd name="connsiteX14" fmla="*/ 466725 w 1847850"/>
                <a:gd name="connsiteY14" fmla="*/ 400050 h 1101725"/>
                <a:gd name="connsiteX15" fmla="*/ 488950 w 1847850"/>
                <a:gd name="connsiteY15" fmla="*/ 447675 h 1101725"/>
                <a:gd name="connsiteX16" fmla="*/ 498475 w 1847850"/>
                <a:gd name="connsiteY16" fmla="*/ 482600 h 1101725"/>
                <a:gd name="connsiteX17" fmla="*/ 533400 w 1847850"/>
                <a:gd name="connsiteY17" fmla="*/ 498475 h 1101725"/>
                <a:gd name="connsiteX18" fmla="*/ 565150 w 1847850"/>
                <a:gd name="connsiteY18" fmla="*/ 498475 h 1101725"/>
                <a:gd name="connsiteX19" fmla="*/ 619125 w 1847850"/>
                <a:gd name="connsiteY19" fmla="*/ 479425 h 1101725"/>
                <a:gd name="connsiteX20" fmla="*/ 654050 w 1847850"/>
                <a:gd name="connsiteY20" fmla="*/ 473075 h 1101725"/>
                <a:gd name="connsiteX21" fmla="*/ 657225 w 1847850"/>
                <a:gd name="connsiteY21" fmla="*/ 444500 h 1101725"/>
                <a:gd name="connsiteX22" fmla="*/ 660400 w 1847850"/>
                <a:gd name="connsiteY22" fmla="*/ 434975 h 1101725"/>
                <a:gd name="connsiteX23" fmla="*/ 619125 w 1847850"/>
                <a:gd name="connsiteY23" fmla="*/ 396875 h 1101725"/>
                <a:gd name="connsiteX24" fmla="*/ 615950 w 1847850"/>
                <a:gd name="connsiteY24" fmla="*/ 317500 h 1101725"/>
                <a:gd name="connsiteX25" fmla="*/ 615950 w 1847850"/>
                <a:gd name="connsiteY25" fmla="*/ 247650 h 1101725"/>
                <a:gd name="connsiteX26" fmla="*/ 688975 w 1847850"/>
                <a:gd name="connsiteY26" fmla="*/ 257175 h 1101725"/>
                <a:gd name="connsiteX27" fmla="*/ 768350 w 1847850"/>
                <a:gd name="connsiteY27" fmla="*/ 228600 h 1101725"/>
                <a:gd name="connsiteX28" fmla="*/ 806450 w 1847850"/>
                <a:gd name="connsiteY28" fmla="*/ 215900 h 1101725"/>
                <a:gd name="connsiteX29" fmla="*/ 806450 w 1847850"/>
                <a:gd name="connsiteY29" fmla="*/ 139700 h 1101725"/>
                <a:gd name="connsiteX30" fmla="*/ 898525 w 1847850"/>
                <a:gd name="connsiteY30" fmla="*/ 168275 h 1101725"/>
                <a:gd name="connsiteX31" fmla="*/ 974725 w 1847850"/>
                <a:gd name="connsiteY31" fmla="*/ 120650 h 1101725"/>
                <a:gd name="connsiteX32" fmla="*/ 1019175 w 1847850"/>
                <a:gd name="connsiteY32" fmla="*/ 130175 h 1101725"/>
                <a:gd name="connsiteX33" fmla="*/ 1136650 w 1847850"/>
                <a:gd name="connsiteY33" fmla="*/ 0 h 1101725"/>
                <a:gd name="connsiteX34" fmla="*/ 1190625 w 1847850"/>
                <a:gd name="connsiteY34" fmla="*/ 19050 h 1101725"/>
                <a:gd name="connsiteX35" fmla="*/ 1190625 w 1847850"/>
                <a:gd name="connsiteY35" fmla="*/ 19050 h 1101725"/>
                <a:gd name="connsiteX36" fmla="*/ 1225550 w 1847850"/>
                <a:gd name="connsiteY36" fmla="*/ 66675 h 1101725"/>
                <a:gd name="connsiteX37" fmla="*/ 1266825 w 1847850"/>
                <a:gd name="connsiteY37" fmla="*/ 114300 h 1101725"/>
                <a:gd name="connsiteX38" fmla="*/ 1317625 w 1847850"/>
                <a:gd name="connsiteY38" fmla="*/ 114300 h 1101725"/>
                <a:gd name="connsiteX39" fmla="*/ 1346200 w 1847850"/>
                <a:gd name="connsiteY39" fmla="*/ 98425 h 1101725"/>
                <a:gd name="connsiteX40" fmla="*/ 1387475 w 1847850"/>
                <a:gd name="connsiteY40" fmla="*/ 60325 h 1101725"/>
                <a:gd name="connsiteX41" fmla="*/ 1438275 w 1847850"/>
                <a:gd name="connsiteY41" fmla="*/ 60325 h 1101725"/>
                <a:gd name="connsiteX42" fmla="*/ 1460500 w 1847850"/>
                <a:gd name="connsiteY42" fmla="*/ 88900 h 1101725"/>
                <a:gd name="connsiteX43" fmla="*/ 1489075 w 1847850"/>
                <a:gd name="connsiteY43" fmla="*/ 155575 h 1101725"/>
                <a:gd name="connsiteX44" fmla="*/ 1603375 w 1847850"/>
                <a:gd name="connsiteY44" fmla="*/ 177800 h 1101725"/>
                <a:gd name="connsiteX45" fmla="*/ 1670050 w 1847850"/>
                <a:gd name="connsiteY45" fmla="*/ 203200 h 1101725"/>
                <a:gd name="connsiteX46" fmla="*/ 1698625 w 1847850"/>
                <a:gd name="connsiteY46" fmla="*/ 266700 h 1101725"/>
                <a:gd name="connsiteX47" fmla="*/ 1708150 w 1847850"/>
                <a:gd name="connsiteY47" fmla="*/ 292100 h 1101725"/>
                <a:gd name="connsiteX48" fmla="*/ 1749425 w 1847850"/>
                <a:gd name="connsiteY48" fmla="*/ 320675 h 1101725"/>
                <a:gd name="connsiteX49" fmla="*/ 1774825 w 1847850"/>
                <a:gd name="connsiteY49" fmla="*/ 374650 h 1101725"/>
                <a:gd name="connsiteX50" fmla="*/ 1790700 w 1847850"/>
                <a:gd name="connsiteY50" fmla="*/ 415925 h 1101725"/>
                <a:gd name="connsiteX51" fmla="*/ 1835150 w 1847850"/>
                <a:gd name="connsiteY51" fmla="*/ 431800 h 1101725"/>
                <a:gd name="connsiteX52" fmla="*/ 1797050 w 1847850"/>
                <a:gd name="connsiteY52" fmla="*/ 463550 h 1101725"/>
                <a:gd name="connsiteX53" fmla="*/ 1797050 w 1847850"/>
                <a:gd name="connsiteY53" fmla="*/ 511175 h 1101725"/>
                <a:gd name="connsiteX54" fmla="*/ 1825625 w 1847850"/>
                <a:gd name="connsiteY54" fmla="*/ 539750 h 1101725"/>
                <a:gd name="connsiteX55" fmla="*/ 1847850 w 1847850"/>
                <a:gd name="connsiteY55" fmla="*/ 539750 h 1101725"/>
                <a:gd name="connsiteX56" fmla="*/ 1831975 w 1847850"/>
                <a:gd name="connsiteY56" fmla="*/ 561975 h 1101725"/>
                <a:gd name="connsiteX57" fmla="*/ 1825625 w 1847850"/>
                <a:gd name="connsiteY57" fmla="*/ 574675 h 1101725"/>
                <a:gd name="connsiteX58" fmla="*/ 1838325 w 1847850"/>
                <a:gd name="connsiteY58" fmla="*/ 628650 h 1101725"/>
                <a:gd name="connsiteX59" fmla="*/ 1841500 w 1847850"/>
                <a:gd name="connsiteY59" fmla="*/ 688975 h 1101725"/>
                <a:gd name="connsiteX60" fmla="*/ 1838325 w 1847850"/>
                <a:gd name="connsiteY60" fmla="*/ 717550 h 1101725"/>
                <a:gd name="connsiteX61" fmla="*/ 1752600 w 1847850"/>
                <a:gd name="connsiteY61" fmla="*/ 800100 h 1101725"/>
                <a:gd name="connsiteX62" fmla="*/ 1689100 w 1847850"/>
                <a:gd name="connsiteY62" fmla="*/ 806450 h 1101725"/>
                <a:gd name="connsiteX63" fmla="*/ 1651000 w 1847850"/>
                <a:gd name="connsiteY63" fmla="*/ 815975 h 1101725"/>
                <a:gd name="connsiteX64" fmla="*/ 1622425 w 1847850"/>
                <a:gd name="connsiteY64" fmla="*/ 828675 h 1101725"/>
                <a:gd name="connsiteX65" fmla="*/ 1593850 w 1847850"/>
                <a:gd name="connsiteY65" fmla="*/ 876300 h 1101725"/>
                <a:gd name="connsiteX66" fmla="*/ 1571625 w 1847850"/>
                <a:gd name="connsiteY66" fmla="*/ 908050 h 1101725"/>
                <a:gd name="connsiteX67" fmla="*/ 1552575 w 1847850"/>
                <a:gd name="connsiteY67" fmla="*/ 930275 h 1101725"/>
                <a:gd name="connsiteX68" fmla="*/ 1511300 w 1847850"/>
                <a:gd name="connsiteY68" fmla="*/ 933450 h 1101725"/>
                <a:gd name="connsiteX69" fmla="*/ 1466850 w 1847850"/>
                <a:gd name="connsiteY69" fmla="*/ 946150 h 1101725"/>
                <a:gd name="connsiteX70" fmla="*/ 1428750 w 1847850"/>
                <a:gd name="connsiteY70" fmla="*/ 908050 h 1101725"/>
                <a:gd name="connsiteX71" fmla="*/ 1365250 w 1847850"/>
                <a:gd name="connsiteY71" fmla="*/ 1016000 h 1101725"/>
                <a:gd name="connsiteX72" fmla="*/ 1289050 w 1847850"/>
                <a:gd name="connsiteY72" fmla="*/ 1101725 h 1101725"/>
                <a:gd name="connsiteX73" fmla="*/ 1190625 w 1847850"/>
                <a:gd name="connsiteY73" fmla="*/ 1012825 h 1101725"/>
                <a:gd name="connsiteX74" fmla="*/ 1139825 w 1847850"/>
                <a:gd name="connsiteY74" fmla="*/ 946150 h 1101725"/>
                <a:gd name="connsiteX75" fmla="*/ 1114425 w 1847850"/>
                <a:gd name="connsiteY75" fmla="*/ 968375 h 1101725"/>
                <a:gd name="connsiteX76" fmla="*/ 1038225 w 1847850"/>
                <a:gd name="connsiteY76" fmla="*/ 936625 h 1101725"/>
                <a:gd name="connsiteX77" fmla="*/ 952500 w 1847850"/>
                <a:gd name="connsiteY77" fmla="*/ 1016000 h 1101725"/>
                <a:gd name="connsiteX78" fmla="*/ 822325 w 1847850"/>
                <a:gd name="connsiteY78" fmla="*/ 1012825 h 1101725"/>
                <a:gd name="connsiteX79" fmla="*/ 704850 w 1847850"/>
                <a:gd name="connsiteY79" fmla="*/ 1085850 h 1101725"/>
                <a:gd name="connsiteX80" fmla="*/ 650875 w 1847850"/>
                <a:gd name="connsiteY80" fmla="*/ 1079500 h 1101725"/>
                <a:gd name="connsiteX81" fmla="*/ 606425 w 1847850"/>
                <a:gd name="connsiteY81" fmla="*/ 1098550 h 1101725"/>
                <a:gd name="connsiteX82" fmla="*/ 488950 w 1847850"/>
                <a:gd name="connsiteY82" fmla="*/ 1038225 h 1101725"/>
                <a:gd name="connsiteX83" fmla="*/ 390525 w 1847850"/>
                <a:gd name="connsiteY83" fmla="*/ 977900 h 1101725"/>
                <a:gd name="connsiteX84" fmla="*/ 114300 w 1847850"/>
                <a:gd name="connsiteY84" fmla="*/ 981075 h 1101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1847850" h="1101725">
                  <a:moveTo>
                    <a:pt x="114300" y="981075"/>
                  </a:moveTo>
                  <a:lnTo>
                    <a:pt x="79375" y="882650"/>
                  </a:lnTo>
                  <a:lnTo>
                    <a:pt x="0" y="825500"/>
                  </a:lnTo>
                  <a:lnTo>
                    <a:pt x="114300" y="688975"/>
                  </a:lnTo>
                  <a:lnTo>
                    <a:pt x="146050" y="688975"/>
                  </a:lnTo>
                  <a:lnTo>
                    <a:pt x="174625" y="666750"/>
                  </a:lnTo>
                  <a:lnTo>
                    <a:pt x="196850" y="619125"/>
                  </a:lnTo>
                  <a:lnTo>
                    <a:pt x="149225" y="561975"/>
                  </a:lnTo>
                  <a:lnTo>
                    <a:pt x="209550" y="406400"/>
                  </a:lnTo>
                  <a:lnTo>
                    <a:pt x="279400" y="406400"/>
                  </a:lnTo>
                  <a:lnTo>
                    <a:pt x="317500" y="368300"/>
                  </a:lnTo>
                  <a:lnTo>
                    <a:pt x="323850" y="307975"/>
                  </a:lnTo>
                  <a:lnTo>
                    <a:pt x="381000" y="257175"/>
                  </a:lnTo>
                  <a:lnTo>
                    <a:pt x="438150" y="301625"/>
                  </a:lnTo>
                  <a:lnTo>
                    <a:pt x="466725" y="400050"/>
                  </a:lnTo>
                  <a:lnTo>
                    <a:pt x="488950" y="447675"/>
                  </a:lnTo>
                  <a:lnTo>
                    <a:pt x="498475" y="482600"/>
                  </a:lnTo>
                  <a:lnTo>
                    <a:pt x="533400" y="498475"/>
                  </a:lnTo>
                  <a:lnTo>
                    <a:pt x="565150" y="498475"/>
                  </a:lnTo>
                  <a:lnTo>
                    <a:pt x="619125" y="479425"/>
                  </a:lnTo>
                  <a:lnTo>
                    <a:pt x="654050" y="473075"/>
                  </a:lnTo>
                  <a:cubicBezTo>
                    <a:pt x="655108" y="463550"/>
                    <a:pt x="655649" y="453953"/>
                    <a:pt x="657225" y="444500"/>
                  </a:cubicBezTo>
                  <a:cubicBezTo>
                    <a:pt x="657775" y="441199"/>
                    <a:pt x="660400" y="434975"/>
                    <a:pt x="660400" y="434975"/>
                  </a:cubicBezTo>
                  <a:lnTo>
                    <a:pt x="619125" y="396875"/>
                  </a:lnTo>
                  <a:lnTo>
                    <a:pt x="615950" y="317500"/>
                  </a:lnTo>
                  <a:lnTo>
                    <a:pt x="615950" y="247650"/>
                  </a:lnTo>
                  <a:lnTo>
                    <a:pt x="688975" y="257175"/>
                  </a:lnTo>
                  <a:lnTo>
                    <a:pt x="768350" y="228600"/>
                  </a:lnTo>
                  <a:lnTo>
                    <a:pt x="806450" y="215900"/>
                  </a:lnTo>
                  <a:lnTo>
                    <a:pt x="806450" y="139700"/>
                  </a:lnTo>
                  <a:lnTo>
                    <a:pt x="898525" y="168275"/>
                  </a:lnTo>
                  <a:lnTo>
                    <a:pt x="974725" y="120650"/>
                  </a:lnTo>
                  <a:lnTo>
                    <a:pt x="1019175" y="130175"/>
                  </a:lnTo>
                  <a:lnTo>
                    <a:pt x="1136650" y="0"/>
                  </a:lnTo>
                  <a:lnTo>
                    <a:pt x="1190625" y="19050"/>
                  </a:lnTo>
                  <a:lnTo>
                    <a:pt x="1190625" y="19050"/>
                  </a:lnTo>
                  <a:lnTo>
                    <a:pt x="1225550" y="66675"/>
                  </a:lnTo>
                  <a:lnTo>
                    <a:pt x="1266825" y="114300"/>
                  </a:lnTo>
                  <a:lnTo>
                    <a:pt x="1317625" y="114300"/>
                  </a:lnTo>
                  <a:cubicBezTo>
                    <a:pt x="1345241" y="103944"/>
                    <a:pt x="1338981" y="112863"/>
                    <a:pt x="1346200" y="98425"/>
                  </a:cubicBezTo>
                  <a:lnTo>
                    <a:pt x="1387475" y="60325"/>
                  </a:lnTo>
                  <a:lnTo>
                    <a:pt x="1438275" y="60325"/>
                  </a:lnTo>
                  <a:lnTo>
                    <a:pt x="1460500" y="88900"/>
                  </a:lnTo>
                  <a:lnTo>
                    <a:pt x="1489075" y="155575"/>
                  </a:lnTo>
                  <a:lnTo>
                    <a:pt x="1603375" y="177800"/>
                  </a:lnTo>
                  <a:lnTo>
                    <a:pt x="1670050" y="203200"/>
                  </a:lnTo>
                  <a:lnTo>
                    <a:pt x="1698625" y="266700"/>
                  </a:lnTo>
                  <a:lnTo>
                    <a:pt x="1708150" y="292100"/>
                  </a:lnTo>
                  <a:lnTo>
                    <a:pt x="1749425" y="320675"/>
                  </a:lnTo>
                  <a:lnTo>
                    <a:pt x="1774825" y="374650"/>
                  </a:lnTo>
                  <a:lnTo>
                    <a:pt x="1790700" y="415925"/>
                  </a:lnTo>
                  <a:lnTo>
                    <a:pt x="1835150" y="431800"/>
                  </a:lnTo>
                  <a:lnTo>
                    <a:pt x="1797050" y="463550"/>
                  </a:lnTo>
                  <a:lnTo>
                    <a:pt x="1797050" y="511175"/>
                  </a:lnTo>
                  <a:lnTo>
                    <a:pt x="1825625" y="539750"/>
                  </a:lnTo>
                  <a:lnTo>
                    <a:pt x="1847850" y="539750"/>
                  </a:lnTo>
                  <a:lnTo>
                    <a:pt x="1831975" y="561975"/>
                  </a:lnTo>
                  <a:lnTo>
                    <a:pt x="1825625" y="574675"/>
                  </a:lnTo>
                  <a:lnTo>
                    <a:pt x="1838325" y="628650"/>
                  </a:lnTo>
                  <a:lnTo>
                    <a:pt x="1841500" y="688975"/>
                  </a:lnTo>
                  <a:lnTo>
                    <a:pt x="1838325" y="717550"/>
                  </a:lnTo>
                  <a:lnTo>
                    <a:pt x="1752600" y="800100"/>
                  </a:lnTo>
                  <a:lnTo>
                    <a:pt x="1689100" y="806450"/>
                  </a:lnTo>
                  <a:lnTo>
                    <a:pt x="1651000" y="815975"/>
                  </a:lnTo>
                  <a:lnTo>
                    <a:pt x="1622425" y="828675"/>
                  </a:lnTo>
                  <a:lnTo>
                    <a:pt x="1593850" y="876300"/>
                  </a:lnTo>
                  <a:lnTo>
                    <a:pt x="1571625" y="908050"/>
                  </a:lnTo>
                  <a:lnTo>
                    <a:pt x="1552575" y="930275"/>
                  </a:lnTo>
                  <a:lnTo>
                    <a:pt x="1511300" y="933450"/>
                  </a:lnTo>
                  <a:lnTo>
                    <a:pt x="1466850" y="946150"/>
                  </a:lnTo>
                  <a:lnTo>
                    <a:pt x="1428750" y="908050"/>
                  </a:lnTo>
                  <a:lnTo>
                    <a:pt x="1365250" y="1016000"/>
                  </a:lnTo>
                  <a:lnTo>
                    <a:pt x="1289050" y="1101725"/>
                  </a:lnTo>
                  <a:lnTo>
                    <a:pt x="1190625" y="1012825"/>
                  </a:lnTo>
                  <a:lnTo>
                    <a:pt x="1139825" y="946150"/>
                  </a:lnTo>
                  <a:lnTo>
                    <a:pt x="1114425" y="968375"/>
                  </a:lnTo>
                  <a:lnTo>
                    <a:pt x="1038225" y="936625"/>
                  </a:lnTo>
                  <a:lnTo>
                    <a:pt x="952500" y="1016000"/>
                  </a:lnTo>
                  <a:lnTo>
                    <a:pt x="822325" y="1012825"/>
                  </a:lnTo>
                  <a:lnTo>
                    <a:pt x="704850" y="1085850"/>
                  </a:lnTo>
                  <a:lnTo>
                    <a:pt x="650875" y="1079500"/>
                  </a:lnTo>
                  <a:lnTo>
                    <a:pt x="606425" y="1098550"/>
                  </a:lnTo>
                  <a:lnTo>
                    <a:pt x="488950" y="1038225"/>
                  </a:lnTo>
                  <a:lnTo>
                    <a:pt x="390525" y="977900"/>
                  </a:lnTo>
                  <a:lnTo>
                    <a:pt x="114300" y="98107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36000"/>
              </a:schemeClr>
            </a:solidFill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ysDot"/>
              <a:miter lim="800000"/>
            </a:ln>
            <a:effectLst/>
          </p:spPr>
          <p:txBody>
            <a:bodyPr anchor="ctr"/>
            <a:lstStyle/>
            <a:p>
              <a:pPr algn="ctr" defTabSz="514324">
                <a:defRPr/>
              </a:pPr>
              <a:endParaRPr lang="ru-RU" sz="600" kern="0" dirty="0" err="1">
                <a:solidFill>
                  <a:srgbClr val="A5A5A5">
                    <a:lumMod val="50000"/>
                  </a:srgb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3" name="Freeform 8"/>
            <p:cNvSpPr/>
            <p:nvPr/>
          </p:nvSpPr>
          <p:spPr>
            <a:xfrm>
              <a:off x="1110612" y="2063111"/>
              <a:ext cx="1355171" cy="755990"/>
            </a:xfrm>
            <a:custGeom>
              <a:avLst/>
              <a:gdLst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34925 w 1927225"/>
                <a:gd name="connsiteY54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13694 w 1927225"/>
                <a:gd name="connsiteY54" fmla="*/ 616744 h 1073150"/>
                <a:gd name="connsiteX55" fmla="*/ 34925 w 1927225"/>
                <a:gd name="connsiteY55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34925 w 1927225"/>
                <a:gd name="connsiteY55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20838 w 1927225"/>
                <a:gd name="connsiteY55" fmla="*/ 588169 h 1073150"/>
                <a:gd name="connsiteX56" fmla="*/ 34925 w 1927225"/>
                <a:gd name="connsiteY56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34925 w 1927225"/>
                <a:gd name="connsiteY56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632744 w 1927225"/>
                <a:gd name="connsiteY56" fmla="*/ 540544 h 1073150"/>
                <a:gd name="connsiteX57" fmla="*/ 34925 w 1927225"/>
                <a:gd name="connsiteY57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34925 w 1927225"/>
                <a:gd name="connsiteY57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589881 w 1927225"/>
                <a:gd name="connsiteY57" fmla="*/ 450056 h 1073150"/>
                <a:gd name="connsiteX58" fmla="*/ 34925 w 1927225"/>
                <a:gd name="connsiteY58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34925 w 1927225"/>
                <a:gd name="connsiteY58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666081 w 1927225"/>
                <a:gd name="connsiteY58" fmla="*/ 419100 h 1073150"/>
                <a:gd name="connsiteX59" fmla="*/ 34925 w 1927225"/>
                <a:gd name="connsiteY59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34925 w 1927225"/>
                <a:gd name="connsiteY59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597025 w 1927225"/>
                <a:gd name="connsiteY59" fmla="*/ 361950 h 1073150"/>
                <a:gd name="connsiteX60" fmla="*/ 34925 w 1927225"/>
                <a:gd name="connsiteY60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34925 w 1927225"/>
                <a:gd name="connsiteY60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661319 w 1927225"/>
                <a:gd name="connsiteY60" fmla="*/ 328613 h 1073150"/>
                <a:gd name="connsiteX61" fmla="*/ 34925 w 1927225"/>
                <a:gd name="connsiteY61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34925 w 1927225"/>
                <a:gd name="connsiteY61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673225 w 1927225"/>
                <a:gd name="connsiteY61" fmla="*/ 257175 h 1073150"/>
                <a:gd name="connsiteX62" fmla="*/ 34925 w 1927225"/>
                <a:gd name="connsiteY62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34925 w 1927225"/>
                <a:gd name="connsiteY62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639888 w 1927225"/>
                <a:gd name="connsiteY62" fmla="*/ 209550 h 1073150"/>
                <a:gd name="connsiteX63" fmla="*/ 34925 w 1927225"/>
                <a:gd name="connsiteY63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34925 w 1927225"/>
                <a:gd name="connsiteY63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1692275 w 1927225"/>
                <a:gd name="connsiteY63" fmla="*/ 169069 h 1073150"/>
                <a:gd name="connsiteX64" fmla="*/ 34925 w 1927225"/>
                <a:gd name="connsiteY64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1680369 w 1927225"/>
                <a:gd name="connsiteY63" fmla="*/ 128588 h 1073150"/>
                <a:gd name="connsiteX64" fmla="*/ 34925 w 1927225"/>
                <a:gd name="connsiteY64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1680369 w 1927225"/>
                <a:gd name="connsiteY63" fmla="*/ 128588 h 1073150"/>
                <a:gd name="connsiteX64" fmla="*/ 1604169 w 1927225"/>
                <a:gd name="connsiteY64" fmla="*/ 123825 h 1073150"/>
                <a:gd name="connsiteX65" fmla="*/ 34925 w 1927225"/>
                <a:gd name="connsiteY65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1680369 w 1927225"/>
                <a:gd name="connsiteY63" fmla="*/ 128588 h 1073150"/>
                <a:gd name="connsiteX64" fmla="*/ 1639888 w 1927225"/>
                <a:gd name="connsiteY64" fmla="*/ 150019 h 1073150"/>
                <a:gd name="connsiteX65" fmla="*/ 34925 w 1927225"/>
                <a:gd name="connsiteY65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1680369 w 1927225"/>
                <a:gd name="connsiteY63" fmla="*/ 128588 h 1073150"/>
                <a:gd name="connsiteX64" fmla="*/ 1639888 w 1927225"/>
                <a:gd name="connsiteY64" fmla="*/ 150019 h 1073150"/>
                <a:gd name="connsiteX65" fmla="*/ 1582738 w 1927225"/>
                <a:gd name="connsiteY65" fmla="*/ 142875 h 1073150"/>
                <a:gd name="connsiteX66" fmla="*/ 34925 w 1927225"/>
                <a:gd name="connsiteY66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1680369 w 1927225"/>
                <a:gd name="connsiteY63" fmla="*/ 128588 h 1073150"/>
                <a:gd name="connsiteX64" fmla="*/ 1639888 w 1927225"/>
                <a:gd name="connsiteY64" fmla="*/ 150019 h 1073150"/>
                <a:gd name="connsiteX65" fmla="*/ 1558925 w 1927225"/>
                <a:gd name="connsiteY65" fmla="*/ 107156 h 1073150"/>
                <a:gd name="connsiteX66" fmla="*/ 34925 w 1927225"/>
                <a:gd name="connsiteY66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1680369 w 1927225"/>
                <a:gd name="connsiteY63" fmla="*/ 128588 h 1073150"/>
                <a:gd name="connsiteX64" fmla="*/ 1639888 w 1927225"/>
                <a:gd name="connsiteY64" fmla="*/ 150019 h 1073150"/>
                <a:gd name="connsiteX65" fmla="*/ 1558925 w 1927225"/>
                <a:gd name="connsiteY65" fmla="*/ 107156 h 1073150"/>
                <a:gd name="connsiteX66" fmla="*/ 1527969 w 1927225"/>
                <a:gd name="connsiteY66" fmla="*/ 102394 h 1073150"/>
                <a:gd name="connsiteX67" fmla="*/ 34925 w 1927225"/>
                <a:gd name="connsiteY67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1680369 w 1927225"/>
                <a:gd name="connsiteY63" fmla="*/ 128588 h 1073150"/>
                <a:gd name="connsiteX64" fmla="*/ 1639888 w 1927225"/>
                <a:gd name="connsiteY64" fmla="*/ 150019 h 1073150"/>
                <a:gd name="connsiteX65" fmla="*/ 1558925 w 1927225"/>
                <a:gd name="connsiteY65" fmla="*/ 107156 h 1073150"/>
                <a:gd name="connsiteX66" fmla="*/ 1556544 w 1927225"/>
                <a:gd name="connsiteY66" fmla="*/ 57150 h 1073150"/>
                <a:gd name="connsiteX67" fmla="*/ 34925 w 1927225"/>
                <a:gd name="connsiteY67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1680369 w 1927225"/>
                <a:gd name="connsiteY63" fmla="*/ 128588 h 1073150"/>
                <a:gd name="connsiteX64" fmla="*/ 1639888 w 1927225"/>
                <a:gd name="connsiteY64" fmla="*/ 150019 h 1073150"/>
                <a:gd name="connsiteX65" fmla="*/ 1558925 w 1927225"/>
                <a:gd name="connsiteY65" fmla="*/ 107156 h 1073150"/>
                <a:gd name="connsiteX66" fmla="*/ 1556544 w 1927225"/>
                <a:gd name="connsiteY66" fmla="*/ 57150 h 1073150"/>
                <a:gd name="connsiteX67" fmla="*/ 1473200 w 1927225"/>
                <a:gd name="connsiteY67" fmla="*/ 47625 h 1073150"/>
                <a:gd name="connsiteX68" fmla="*/ 34925 w 1927225"/>
                <a:gd name="connsiteY68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1680369 w 1927225"/>
                <a:gd name="connsiteY63" fmla="*/ 128588 h 1073150"/>
                <a:gd name="connsiteX64" fmla="*/ 1639888 w 1927225"/>
                <a:gd name="connsiteY64" fmla="*/ 150019 h 1073150"/>
                <a:gd name="connsiteX65" fmla="*/ 1558925 w 1927225"/>
                <a:gd name="connsiteY65" fmla="*/ 107156 h 1073150"/>
                <a:gd name="connsiteX66" fmla="*/ 1556544 w 1927225"/>
                <a:gd name="connsiteY66" fmla="*/ 57150 h 1073150"/>
                <a:gd name="connsiteX67" fmla="*/ 1563688 w 1927225"/>
                <a:gd name="connsiteY67" fmla="*/ 7144 h 1073150"/>
                <a:gd name="connsiteX68" fmla="*/ 34925 w 1927225"/>
                <a:gd name="connsiteY68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1680369 w 1927225"/>
                <a:gd name="connsiteY63" fmla="*/ 128588 h 1073150"/>
                <a:gd name="connsiteX64" fmla="*/ 1639888 w 1927225"/>
                <a:gd name="connsiteY64" fmla="*/ 150019 h 1073150"/>
                <a:gd name="connsiteX65" fmla="*/ 1558925 w 1927225"/>
                <a:gd name="connsiteY65" fmla="*/ 107156 h 1073150"/>
                <a:gd name="connsiteX66" fmla="*/ 1556544 w 1927225"/>
                <a:gd name="connsiteY66" fmla="*/ 57150 h 1073150"/>
                <a:gd name="connsiteX67" fmla="*/ 1563688 w 1927225"/>
                <a:gd name="connsiteY67" fmla="*/ 7144 h 1073150"/>
                <a:gd name="connsiteX68" fmla="*/ 1518444 w 1927225"/>
                <a:gd name="connsiteY68" fmla="*/ 2381 h 1073150"/>
                <a:gd name="connsiteX69" fmla="*/ 34925 w 1927225"/>
                <a:gd name="connsiteY69" fmla="*/ 0 h 1073150"/>
                <a:gd name="connsiteX0" fmla="*/ 34925 w 1927225"/>
                <a:gd name="connsiteY0" fmla="*/ 11907 h 1085057"/>
                <a:gd name="connsiteX1" fmla="*/ 15875 w 1927225"/>
                <a:gd name="connsiteY1" fmla="*/ 27782 h 1085057"/>
                <a:gd name="connsiteX2" fmla="*/ 3175 w 1927225"/>
                <a:gd name="connsiteY2" fmla="*/ 59532 h 1085057"/>
                <a:gd name="connsiteX3" fmla="*/ 0 w 1927225"/>
                <a:gd name="connsiteY3" fmla="*/ 91282 h 1085057"/>
                <a:gd name="connsiteX4" fmla="*/ 3175 w 1927225"/>
                <a:gd name="connsiteY4" fmla="*/ 123032 h 1085057"/>
                <a:gd name="connsiteX5" fmla="*/ 38100 w 1927225"/>
                <a:gd name="connsiteY5" fmla="*/ 157957 h 1085057"/>
                <a:gd name="connsiteX6" fmla="*/ 82550 w 1927225"/>
                <a:gd name="connsiteY6" fmla="*/ 113507 h 1085057"/>
                <a:gd name="connsiteX7" fmla="*/ 120650 w 1927225"/>
                <a:gd name="connsiteY7" fmla="*/ 157957 h 1085057"/>
                <a:gd name="connsiteX8" fmla="*/ 177800 w 1927225"/>
                <a:gd name="connsiteY8" fmla="*/ 161132 h 1085057"/>
                <a:gd name="connsiteX9" fmla="*/ 222250 w 1927225"/>
                <a:gd name="connsiteY9" fmla="*/ 186532 h 1085057"/>
                <a:gd name="connsiteX10" fmla="*/ 228600 w 1927225"/>
                <a:gd name="connsiteY10" fmla="*/ 215107 h 1085057"/>
                <a:gd name="connsiteX11" fmla="*/ 231775 w 1927225"/>
                <a:gd name="connsiteY11" fmla="*/ 234157 h 1085057"/>
                <a:gd name="connsiteX12" fmla="*/ 228600 w 1927225"/>
                <a:gd name="connsiteY12" fmla="*/ 265907 h 1085057"/>
                <a:gd name="connsiteX13" fmla="*/ 257175 w 1927225"/>
                <a:gd name="connsiteY13" fmla="*/ 294482 h 1085057"/>
                <a:gd name="connsiteX14" fmla="*/ 279400 w 1927225"/>
                <a:gd name="connsiteY14" fmla="*/ 342107 h 1085057"/>
                <a:gd name="connsiteX15" fmla="*/ 279400 w 1927225"/>
                <a:gd name="connsiteY15" fmla="*/ 383382 h 1085057"/>
                <a:gd name="connsiteX16" fmla="*/ 279400 w 1927225"/>
                <a:gd name="connsiteY16" fmla="*/ 415132 h 1085057"/>
                <a:gd name="connsiteX17" fmla="*/ 333375 w 1927225"/>
                <a:gd name="connsiteY17" fmla="*/ 526257 h 1085057"/>
                <a:gd name="connsiteX18" fmla="*/ 346075 w 1927225"/>
                <a:gd name="connsiteY18" fmla="*/ 548482 h 1085057"/>
                <a:gd name="connsiteX19" fmla="*/ 285750 w 1927225"/>
                <a:gd name="connsiteY19" fmla="*/ 567532 h 1085057"/>
                <a:gd name="connsiteX20" fmla="*/ 225425 w 1927225"/>
                <a:gd name="connsiteY20" fmla="*/ 507207 h 1085057"/>
                <a:gd name="connsiteX21" fmla="*/ 184150 w 1927225"/>
                <a:gd name="connsiteY21" fmla="*/ 558007 h 1085057"/>
                <a:gd name="connsiteX22" fmla="*/ 314325 w 1927225"/>
                <a:gd name="connsiteY22" fmla="*/ 669132 h 1085057"/>
                <a:gd name="connsiteX23" fmla="*/ 352425 w 1927225"/>
                <a:gd name="connsiteY23" fmla="*/ 640557 h 1085057"/>
                <a:gd name="connsiteX24" fmla="*/ 403225 w 1927225"/>
                <a:gd name="connsiteY24" fmla="*/ 631032 h 1085057"/>
                <a:gd name="connsiteX25" fmla="*/ 469900 w 1927225"/>
                <a:gd name="connsiteY25" fmla="*/ 640557 h 1085057"/>
                <a:gd name="connsiteX26" fmla="*/ 615950 w 1927225"/>
                <a:gd name="connsiteY26" fmla="*/ 589757 h 1085057"/>
                <a:gd name="connsiteX27" fmla="*/ 803275 w 1927225"/>
                <a:gd name="connsiteY27" fmla="*/ 523082 h 1085057"/>
                <a:gd name="connsiteX28" fmla="*/ 911225 w 1927225"/>
                <a:gd name="connsiteY28" fmla="*/ 580232 h 1085057"/>
                <a:gd name="connsiteX29" fmla="*/ 1016000 w 1927225"/>
                <a:gd name="connsiteY29" fmla="*/ 662782 h 1085057"/>
                <a:gd name="connsiteX30" fmla="*/ 1092200 w 1927225"/>
                <a:gd name="connsiteY30" fmla="*/ 611982 h 1085057"/>
                <a:gd name="connsiteX31" fmla="*/ 1171575 w 1927225"/>
                <a:gd name="connsiteY31" fmla="*/ 646907 h 1085057"/>
                <a:gd name="connsiteX32" fmla="*/ 1200150 w 1927225"/>
                <a:gd name="connsiteY32" fmla="*/ 653257 h 1085057"/>
                <a:gd name="connsiteX33" fmla="*/ 1203325 w 1927225"/>
                <a:gd name="connsiteY33" fmla="*/ 738982 h 1085057"/>
                <a:gd name="connsiteX34" fmla="*/ 1219200 w 1927225"/>
                <a:gd name="connsiteY34" fmla="*/ 773907 h 1085057"/>
                <a:gd name="connsiteX35" fmla="*/ 1238250 w 1927225"/>
                <a:gd name="connsiteY35" fmla="*/ 799307 h 1085057"/>
                <a:gd name="connsiteX36" fmla="*/ 1231900 w 1927225"/>
                <a:gd name="connsiteY36" fmla="*/ 878682 h 1085057"/>
                <a:gd name="connsiteX37" fmla="*/ 1212850 w 1927225"/>
                <a:gd name="connsiteY37" fmla="*/ 923132 h 1085057"/>
                <a:gd name="connsiteX38" fmla="*/ 1209675 w 1927225"/>
                <a:gd name="connsiteY38" fmla="*/ 951707 h 1085057"/>
                <a:gd name="connsiteX39" fmla="*/ 1282700 w 1927225"/>
                <a:gd name="connsiteY39" fmla="*/ 958057 h 1085057"/>
                <a:gd name="connsiteX40" fmla="*/ 1311275 w 1927225"/>
                <a:gd name="connsiteY40" fmla="*/ 945357 h 1085057"/>
                <a:gd name="connsiteX41" fmla="*/ 1352550 w 1927225"/>
                <a:gd name="connsiteY41" fmla="*/ 926307 h 1085057"/>
                <a:gd name="connsiteX42" fmla="*/ 1425575 w 1927225"/>
                <a:gd name="connsiteY42" fmla="*/ 961232 h 1085057"/>
                <a:gd name="connsiteX43" fmla="*/ 1457325 w 1927225"/>
                <a:gd name="connsiteY43" fmla="*/ 916782 h 1085057"/>
                <a:gd name="connsiteX44" fmla="*/ 1555750 w 1927225"/>
                <a:gd name="connsiteY44" fmla="*/ 913607 h 1085057"/>
                <a:gd name="connsiteX45" fmla="*/ 1616075 w 1927225"/>
                <a:gd name="connsiteY45" fmla="*/ 967582 h 1085057"/>
                <a:gd name="connsiteX46" fmla="*/ 1676400 w 1927225"/>
                <a:gd name="connsiteY46" fmla="*/ 897732 h 1085057"/>
                <a:gd name="connsiteX47" fmla="*/ 1895475 w 1927225"/>
                <a:gd name="connsiteY47" fmla="*/ 1085057 h 1085057"/>
                <a:gd name="connsiteX48" fmla="*/ 1895475 w 1927225"/>
                <a:gd name="connsiteY48" fmla="*/ 1085057 h 1085057"/>
                <a:gd name="connsiteX49" fmla="*/ 1927225 w 1927225"/>
                <a:gd name="connsiteY49" fmla="*/ 1062832 h 1085057"/>
                <a:gd name="connsiteX50" fmla="*/ 1895475 w 1927225"/>
                <a:gd name="connsiteY50" fmla="*/ 904082 h 1085057"/>
                <a:gd name="connsiteX51" fmla="*/ 1778000 w 1927225"/>
                <a:gd name="connsiteY51" fmla="*/ 850107 h 1085057"/>
                <a:gd name="connsiteX52" fmla="*/ 1698625 w 1927225"/>
                <a:gd name="connsiteY52" fmla="*/ 773907 h 1085057"/>
                <a:gd name="connsiteX53" fmla="*/ 1679575 w 1927225"/>
                <a:gd name="connsiteY53" fmla="*/ 656432 h 1085057"/>
                <a:gd name="connsiteX54" fmla="*/ 1673225 w 1927225"/>
                <a:gd name="connsiteY54" fmla="*/ 616745 h 1085057"/>
                <a:gd name="connsiteX55" fmla="*/ 1694656 w 1927225"/>
                <a:gd name="connsiteY55" fmla="*/ 569120 h 1085057"/>
                <a:gd name="connsiteX56" fmla="*/ 1720850 w 1927225"/>
                <a:gd name="connsiteY56" fmla="*/ 495301 h 1085057"/>
                <a:gd name="connsiteX57" fmla="*/ 1747043 w 1927225"/>
                <a:gd name="connsiteY57" fmla="*/ 452438 h 1085057"/>
                <a:gd name="connsiteX58" fmla="*/ 1725613 w 1927225"/>
                <a:gd name="connsiteY58" fmla="*/ 407195 h 1085057"/>
                <a:gd name="connsiteX59" fmla="*/ 1716088 w 1927225"/>
                <a:gd name="connsiteY59" fmla="*/ 354807 h 1085057"/>
                <a:gd name="connsiteX60" fmla="*/ 1713706 w 1927225"/>
                <a:gd name="connsiteY60" fmla="*/ 273845 h 1085057"/>
                <a:gd name="connsiteX61" fmla="*/ 1713706 w 1927225"/>
                <a:gd name="connsiteY61" fmla="*/ 233363 h 1085057"/>
                <a:gd name="connsiteX62" fmla="*/ 1739900 w 1927225"/>
                <a:gd name="connsiteY62" fmla="*/ 183357 h 1085057"/>
                <a:gd name="connsiteX63" fmla="*/ 1680369 w 1927225"/>
                <a:gd name="connsiteY63" fmla="*/ 140495 h 1085057"/>
                <a:gd name="connsiteX64" fmla="*/ 1639888 w 1927225"/>
                <a:gd name="connsiteY64" fmla="*/ 161926 h 1085057"/>
                <a:gd name="connsiteX65" fmla="*/ 1558925 w 1927225"/>
                <a:gd name="connsiteY65" fmla="*/ 119063 h 1085057"/>
                <a:gd name="connsiteX66" fmla="*/ 1556544 w 1927225"/>
                <a:gd name="connsiteY66" fmla="*/ 69057 h 1085057"/>
                <a:gd name="connsiteX67" fmla="*/ 1563688 w 1927225"/>
                <a:gd name="connsiteY67" fmla="*/ 19051 h 1085057"/>
                <a:gd name="connsiteX68" fmla="*/ 1592263 w 1927225"/>
                <a:gd name="connsiteY68" fmla="*/ 0 h 1085057"/>
                <a:gd name="connsiteX69" fmla="*/ 34925 w 1927225"/>
                <a:gd name="connsiteY69" fmla="*/ 11907 h 1085057"/>
                <a:gd name="connsiteX0" fmla="*/ 34925 w 1927225"/>
                <a:gd name="connsiteY0" fmla="*/ 14286 h 1087436"/>
                <a:gd name="connsiteX1" fmla="*/ 15875 w 1927225"/>
                <a:gd name="connsiteY1" fmla="*/ 30161 h 1087436"/>
                <a:gd name="connsiteX2" fmla="*/ 3175 w 1927225"/>
                <a:gd name="connsiteY2" fmla="*/ 61911 h 1087436"/>
                <a:gd name="connsiteX3" fmla="*/ 0 w 1927225"/>
                <a:gd name="connsiteY3" fmla="*/ 93661 h 1087436"/>
                <a:gd name="connsiteX4" fmla="*/ 3175 w 1927225"/>
                <a:gd name="connsiteY4" fmla="*/ 125411 h 1087436"/>
                <a:gd name="connsiteX5" fmla="*/ 38100 w 1927225"/>
                <a:gd name="connsiteY5" fmla="*/ 160336 h 1087436"/>
                <a:gd name="connsiteX6" fmla="*/ 82550 w 1927225"/>
                <a:gd name="connsiteY6" fmla="*/ 115886 h 1087436"/>
                <a:gd name="connsiteX7" fmla="*/ 120650 w 1927225"/>
                <a:gd name="connsiteY7" fmla="*/ 160336 h 1087436"/>
                <a:gd name="connsiteX8" fmla="*/ 177800 w 1927225"/>
                <a:gd name="connsiteY8" fmla="*/ 163511 h 1087436"/>
                <a:gd name="connsiteX9" fmla="*/ 222250 w 1927225"/>
                <a:gd name="connsiteY9" fmla="*/ 188911 h 1087436"/>
                <a:gd name="connsiteX10" fmla="*/ 228600 w 1927225"/>
                <a:gd name="connsiteY10" fmla="*/ 217486 h 1087436"/>
                <a:gd name="connsiteX11" fmla="*/ 231775 w 1927225"/>
                <a:gd name="connsiteY11" fmla="*/ 236536 h 1087436"/>
                <a:gd name="connsiteX12" fmla="*/ 228600 w 1927225"/>
                <a:gd name="connsiteY12" fmla="*/ 268286 h 1087436"/>
                <a:gd name="connsiteX13" fmla="*/ 257175 w 1927225"/>
                <a:gd name="connsiteY13" fmla="*/ 296861 h 1087436"/>
                <a:gd name="connsiteX14" fmla="*/ 279400 w 1927225"/>
                <a:gd name="connsiteY14" fmla="*/ 344486 h 1087436"/>
                <a:gd name="connsiteX15" fmla="*/ 279400 w 1927225"/>
                <a:gd name="connsiteY15" fmla="*/ 385761 h 1087436"/>
                <a:gd name="connsiteX16" fmla="*/ 279400 w 1927225"/>
                <a:gd name="connsiteY16" fmla="*/ 417511 h 1087436"/>
                <a:gd name="connsiteX17" fmla="*/ 333375 w 1927225"/>
                <a:gd name="connsiteY17" fmla="*/ 528636 h 1087436"/>
                <a:gd name="connsiteX18" fmla="*/ 346075 w 1927225"/>
                <a:gd name="connsiteY18" fmla="*/ 550861 h 1087436"/>
                <a:gd name="connsiteX19" fmla="*/ 285750 w 1927225"/>
                <a:gd name="connsiteY19" fmla="*/ 569911 h 1087436"/>
                <a:gd name="connsiteX20" fmla="*/ 225425 w 1927225"/>
                <a:gd name="connsiteY20" fmla="*/ 509586 h 1087436"/>
                <a:gd name="connsiteX21" fmla="*/ 184150 w 1927225"/>
                <a:gd name="connsiteY21" fmla="*/ 560386 h 1087436"/>
                <a:gd name="connsiteX22" fmla="*/ 314325 w 1927225"/>
                <a:gd name="connsiteY22" fmla="*/ 671511 h 1087436"/>
                <a:gd name="connsiteX23" fmla="*/ 352425 w 1927225"/>
                <a:gd name="connsiteY23" fmla="*/ 642936 h 1087436"/>
                <a:gd name="connsiteX24" fmla="*/ 403225 w 1927225"/>
                <a:gd name="connsiteY24" fmla="*/ 633411 h 1087436"/>
                <a:gd name="connsiteX25" fmla="*/ 469900 w 1927225"/>
                <a:gd name="connsiteY25" fmla="*/ 642936 h 1087436"/>
                <a:gd name="connsiteX26" fmla="*/ 615950 w 1927225"/>
                <a:gd name="connsiteY26" fmla="*/ 592136 h 1087436"/>
                <a:gd name="connsiteX27" fmla="*/ 803275 w 1927225"/>
                <a:gd name="connsiteY27" fmla="*/ 525461 h 1087436"/>
                <a:gd name="connsiteX28" fmla="*/ 911225 w 1927225"/>
                <a:gd name="connsiteY28" fmla="*/ 582611 h 1087436"/>
                <a:gd name="connsiteX29" fmla="*/ 1016000 w 1927225"/>
                <a:gd name="connsiteY29" fmla="*/ 665161 h 1087436"/>
                <a:gd name="connsiteX30" fmla="*/ 1092200 w 1927225"/>
                <a:gd name="connsiteY30" fmla="*/ 614361 h 1087436"/>
                <a:gd name="connsiteX31" fmla="*/ 1171575 w 1927225"/>
                <a:gd name="connsiteY31" fmla="*/ 649286 h 1087436"/>
                <a:gd name="connsiteX32" fmla="*/ 1200150 w 1927225"/>
                <a:gd name="connsiteY32" fmla="*/ 655636 h 1087436"/>
                <a:gd name="connsiteX33" fmla="*/ 1203325 w 1927225"/>
                <a:gd name="connsiteY33" fmla="*/ 741361 h 1087436"/>
                <a:gd name="connsiteX34" fmla="*/ 1219200 w 1927225"/>
                <a:gd name="connsiteY34" fmla="*/ 776286 h 1087436"/>
                <a:gd name="connsiteX35" fmla="*/ 1238250 w 1927225"/>
                <a:gd name="connsiteY35" fmla="*/ 801686 h 1087436"/>
                <a:gd name="connsiteX36" fmla="*/ 1231900 w 1927225"/>
                <a:gd name="connsiteY36" fmla="*/ 881061 h 1087436"/>
                <a:gd name="connsiteX37" fmla="*/ 1212850 w 1927225"/>
                <a:gd name="connsiteY37" fmla="*/ 925511 h 1087436"/>
                <a:gd name="connsiteX38" fmla="*/ 1209675 w 1927225"/>
                <a:gd name="connsiteY38" fmla="*/ 954086 h 1087436"/>
                <a:gd name="connsiteX39" fmla="*/ 1282700 w 1927225"/>
                <a:gd name="connsiteY39" fmla="*/ 960436 h 1087436"/>
                <a:gd name="connsiteX40" fmla="*/ 1311275 w 1927225"/>
                <a:gd name="connsiteY40" fmla="*/ 947736 h 1087436"/>
                <a:gd name="connsiteX41" fmla="*/ 1352550 w 1927225"/>
                <a:gd name="connsiteY41" fmla="*/ 928686 h 1087436"/>
                <a:gd name="connsiteX42" fmla="*/ 1425575 w 1927225"/>
                <a:gd name="connsiteY42" fmla="*/ 963611 h 1087436"/>
                <a:gd name="connsiteX43" fmla="*/ 1457325 w 1927225"/>
                <a:gd name="connsiteY43" fmla="*/ 919161 h 1087436"/>
                <a:gd name="connsiteX44" fmla="*/ 1555750 w 1927225"/>
                <a:gd name="connsiteY44" fmla="*/ 915986 h 1087436"/>
                <a:gd name="connsiteX45" fmla="*/ 1616075 w 1927225"/>
                <a:gd name="connsiteY45" fmla="*/ 969961 h 1087436"/>
                <a:gd name="connsiteX46" fmla="*/ 1676400 w 1927225"/>
                <a:gd name="connsiteY46" fmla="*/ 900111 h 1087436"/>
                <a:gd name="connsiteX47" fmla="*/ 1895475 w 1927225"/>
                <a:gd name="connsiteY47" fmla="*/ 1087436 h 1087436"/>
                <a:gd name="connsiteX48" fmla="*/ 1895475 w 1927225"/>
                <a:gd name="connsiteY48" fmla="*/ 1087436 h 1087436"/>
                <a:gd name="connsiteX49" fmla="*/ 1927225 w 1927225"/>
                <a:gd name="connsiteY49" fmla="*/ 1065211 h 1087436"/>
                <a:gd name="connsiteX50" fmla="*/ 1895475 w 1927225"/>
                <a:gd name="connsiteY50" fmla="*/ 906461 h 1087436"/>
                <a:gd name="connsiteX51" fmla="*/ 1778000 w 1927225"/>
                <a:gd name="connsiteY51" fmla="*/ 852486 h 1087436"/>
                <a:gd name="connsiteX52" fmla="*/ 1698625 w 1927225"/>
                <a:gd name="connsiteY52" fmla="*/ 776286 h 1087436"/>
                <a:gd name="connsiteX53" fmla="*/ 1679575 w 1927225"/>
                <a:gd name="connsiteY53" fmla="*/ 658811 h 1087436"/>
                <a:gd name="connsiteX54" fmla="*/ 1673225 w 1927225"/>
                <a:gd name="connsiteY54" fmla="*/ 619124 h 1087436"/>
                <a:gd name="connsiteX55" fmla="*/ 1694656 w 1927225"/>
                <a:gd name="connsiteY55" fmla="*/ 571499 h 1087436"/>
                <a:gd name="connsiteX56" fmla="*/ 1720850 w 1927225"/>
                <a:gd name="connsiteY56" fmla="*/ 497680 h 1087436"/>
                <a:gd name="connsiteX57" fmla="*/ 1747043 w 1927225"/>
                <a:gd name="connsiteY57" fmla="*/ 454817 h 1087436"/>
                <a:gd name="connsiteX58" fmla="*/ 1725613 w 1927225"/>
                <a:gd name="connsiteY58" fmla="*/ 409574 h 1087436"/>
                <a:gd name="connsiteX59" fmla="*/ 1716088 w 1927225"/>
                <a:gd name="connsiteY59" fmla="*/ 357186 h 1087436"/>
                <a:gd name="connsiteX60" fmla="*/ 1713706 w 1927225"/>
                <a:gd name="connsiteY60" fmla="*/ 276224 h 1087436"/>
                <a:gd name="connsiteX61" fmla="*/ 1713706 w 1927225"/>
                <a:gd name="connsiteY61" fmla="*/ 235742 h 1087436"/>
                <a:gd name="connsiteX62" fmla="*/ 1739900 w 1927225"/>
                <a:gd name="connsiteY62" fmla="*/ 185736 h 1087436"/>
                <a:gd name="connsiteX63" fmla="*/ 1680369 w 1927225"/>
                <a:gd name="connsiteY63" fmla="*/ 142874 h 1087436"/>
                <a:gd name="connsiteX64" fmla="*/ 1639888 w 1927225"/>
                <a:gd name="connsiteY64" fmla="*/ 164305 h 1087436"/>
                <a:gd name="connsiteX65" fmla="*/ 1558925 w 1927225"/>
                <a:gd name="connsiteY65" fmla="*/ 121442 h 1087436"/>
                <a:gd name="connsiteX66" fmla="*/ 1556544 w 1927225"/>
                <a:gd name="connsiteY66" fmla="*/ 71436 h 1087436"/>
                <a:gd name="connsiteX67" fmla="*/ 1563688 w 1927225"/>
                <a:gd name="connsiteY67" fmla="*/ 21430 h 1087436"/>
                <a:gd name="connsiteX68" fmla="*/ 1592263 w 1927225"/>
                <a:gd name="connsiteY68" fmla="*/ 2379 h 1087436"/>
                <a:gd name="connsiteX69" fmla="*/ 1518444 w 1927225"/>
                <a:gd name="connsiteY69" fmla="*/ 0 h 1087436"/>
                <a:gd name="connsiteX70" fmla="*/ 34925 w 1927225"/>
                <a:gd name="connsiteY70" fmla="*/ 14286 h 1087436"/>
                <a:gd name="connsiteX0" fmla="*/ 34925 w 1927225"/>
                <a:gd name="connsiteY0" fmla="*/ 47624 h 1120774"/>
                <a:gd name="connsiteX1" fmla="*/ 15875 w 1927225"/>
                <a:gd name="connsiteY1" fmla="*/ 63499 h 1120774"/>
                <a:gd name="connsiteX2" fmla="*/ 3175 w 1927225"/>
                <a:gd name="connsiteY2" fmla="*/ 95249 h 1120774"/>
                <a:gd name="connsiteX3" fmla="*/ 0 w 1927225"/>
                <a:gd name="connsiteY3" fmla="*/ 126999 h 1120774"/>
                <a:gd name="connsiteX4" fmla="*/ 3175 w 1927225"/>
                <a:gd name="connsiteY4" fmla="*/ 158749 h 1120774"/>
                <a:gd name="connsiteX5" fmla="*/ 38100 w 1927225"/>
                <a:gd name="connsiteY5" fmla="*/ 193674 h 1120774"/>
                <a:gd name="connsiteX6" fmla="*/ 82550 w 1927225"/>
                <a:gd name="connsiteY6" fmla="*/ 149224 h 1120774"/>
                <a:gd name="connsiteX7" fmla="*/ 120650 w 1927225"/>
                <a:gd name="connsiteY7" fmla="*/ 193674 h 1120774"/>
                <a:gd name="connsiteX8" fmla="*/ 177800 w 1927225"/>
                <a:gd name="connsiteY8" fmla="*/ 196849 h 1120774"/>
                <a:gd name="connsiteX9" fmla="*/ 222250 w 1927225"/>
                <a:gd name="connsiteY9" fmla="*/ 222249 h 1120774"/>
                <a:gd name="connsiteX10" fmla="*/ 228600 w 1927225"/>
                <a:gd name="connsiteY10" fmla="*/ 250824 h 1120774"/>
                <a:gd name="connsiteX11" fmla="*/ 231775 w 1927225"/>
                <a:gd name="connsiteY11" fmla="*/ 269874 h 1120774"/>
                <a:gd name="connsiteX12" fmla="*/ 228600 w 1927225"/>
                <a:gd name="connsiteY12" fmla="*/ 301624 h 1120774"/>
                <a:gd name="connsiteX13" fmla="*/ 257175 w 1927225"/>
                <a:gd name="connsiteY13" fmla="*/ 330199 h 1120774"/>
                <a:gd name="connsiteX14" fmla="*/ 279400 w 1927225"/>
                <a:gd name="connsiteY14" fmla="*/ 377824 h 1120774"/>
                <a:gd name="connsiteX15" fmla="*/ 279400 w 1927225"/>
                <a:gd name="connsiteY15" fmla="*/ 419099 h 1120774"/>
                <a:gd name="connsiteX16" fmla="*/ 279400 w 1927225"/>
                <a:gd name="connsiteY16" fmla="*/ 450849 h 1120774"/>
                <a:gd name="connsiteX17" fmla="*/ 333375 w 1927225"/>
                <a:gd name="connsiteY17" fmla="*/ 561974 h 1120774"/>
                <a:gd name="connsiteX18" fmla="*/ 346075 w 1927225"/>
                <a:gd name="connsiteY18" fmla="*/ 584199 h 1120774"/>
                <a:gd name="connsiteX19" fmla="*/ 285750 w 1927225"/>
                <a:gd name="connsiteY19" fmla="*/ 603249 h 1120774"/>
                <a:gd name="connsiteX20" fmla="*/ 225425 w 1927225"/>
                <a:gd name="connsiteY20" fmla="*/ 542924 h 1120774"/>
                <a:gd name="connsiteX21" fmla="*/ 184150 w 1927225"/>
                <a:gd name="connsiteY21" fmla="*/ 593724 h 1120774"/>
                <a:gd name="connsiteX22" fmla="*/ 314325 w 1927225"/>
                <a:gd name="connsiteY22" fmla="*/ 704849 h 1120774"/>
                <a:gd name="connsiteX23" fmla="*/ 352425 w 1927225"/>
                <a:gd name="connsiteY23" fmla="*/ 676274 h 1120774"/>
                <a:gd name="connsiteX24" fmla="*/ 403225 w 1927225"/>
                <a:gd name="connsiteY24" fmla="*/ 666749 h 1120774"/>
                <a:gd name="connsiteX25" fmla="*/ 469900 w 1927225"/>
                <a:gd name="connsiteY25" fmla="*/ 676274 h 1120774"/>
                <a:gd name="connsiteX26" fmla="*/ 615950 w 1927225"/>
                <a:gd name="connsiteY26" fmla="*/ 625474 h 1120774"/>
                <a:gd name="connsiteX27" fmla="*/ 803275 w 1927225"/>
                <a:gd name="connsiteY27" fmla="*/ 558799 h 1120774"/>
                <a:gd name="connsiteX28" fmla="*/ 911225 w 1927225"/>
                <a:gd name="connsiteY28" fmla="*/ 615949 h 1120774"/>
                <a:gd name="connsiteX29" fmla="*/ 1016000 w 1927225"/>
                <a:gd name="connsiteY29" fmla="*/ 698499 h 1120774"/>
                <a:gd name="connsiteX30" fmla="*/ 1092200 w 1927225"/>
                <a:gd name="connsiteY30" fmla="*/ 647699 h 1120774"/>
                <a:gd name="connsiteX31" fmla="*/ 1171575 w 1927225"/>
                <a:gd name="connsiteY31" fmla="*/ 682624 h 1120774"/>
                <a:gd name="connsiteX32" fmla="*/ 1200150 w 1927225"/>
                <a:gd name="connsiteY32" fmla="*/ 688974 h 1120774"/>
                <a:gd name="connsiteX33" fmla="*/ 1203325 w 1927225"/>
                <a:gd name="connsiteY33" fmla="*/ 774699 h 1120774"/>
                <a:gd name="connsiteX34" fmla="*/ 1219200 w 1927225"/>
                <a:gd name="connsiteY34" fmla="*/ 809624 h 1120774"/>
                <a:gd name="connsiteX35" fmla="*/ 1238250 w 1927225"/>
                <a:gd name="connsiteY35" fmla="*/ 835024 h 1120774"/>
                <a:gd name="connsiteX36" fmla="*/ 1231900 w 1927225"/>
                <a:gd name="connsiteY36" fmla="*/ 914399 h 1120774"/>
                <a:gd name="connsiteX37" fmla="*/ 1212850 w 1927225"/>
                <a:gd name="connsiteY37" fmla="*/ 958849 h 1120774"/>
                <a:gd name="connsiteX38" fmla="*/ 1209675 w 1927225"/>
                <a:gd name="connsiteY38" fmla="*/ 987424 h 1120774"/>
                <a:gd name="connsiteX39" fmla="*/ 1282700 w 1927225"/>
                <a:gd name="connsiteY39" fmla="*/ 993774 h 1120774"/>
                <a:gd name="connsiteX40" fmla="*/ 1311275 w 1927225"/>
                <a:gd name="connsiteY40" fmla="*/ 981074 h 1120774"/>
                <a:gd name="connsiteX41" fmla="*/ 1352550 w 1927225"/>
                <a:gd name="connsiteY41" fmla="*/ 962024 h 1120774"/>
                <a:gd name="connsiteX42" fmla="*/ 1425575 w 1927225"/>
                <a:gd name="connsiteY42" fmla="*/ 996949 h 1120774"/>
                <a:gd name="connsiteX43" fmla="*/ 1457325 w 1927225"/>
                <a:gd name="connsiteY43" fmla="*/ 952499 h 1120774"/>
                <a:gd name="connsiteX44" fmla="*/ 1555750 w 1927225"/>
                <a:gd name="connsiteY44" fmla="*/ 949324 h 1120774"/>
                <a:gd name="connsiteX45" fmla="*/ 1616075 w 1927225"/>
                <a:gd name="connsiteY45" fmla="*/ 1003299 h 1120774"/>
                <a:gd name="connsiteX46" fmla="*/ 1676400 w 1927225"/>
                <a:gd name="connsiteY46" fmla="*/ 933449 h 1120774"/>
                <a:gd name="connsiteX47" fmla="*/ 1895475 w 1927225"/>
                <a:gd name="connsiteY47" fmla="*/ 1120774 h 1120774"/>
                <a:gd name="connsiteX48" fmla="*/ 1895475 w 1927225"/>
                <a:gd name="connsiteY48" fmla="*/ 1120774 h 1120774"/>
                <a:gd name="connsiteX49" fmla="*/ 1927225 w 1927225"/>
                <a:gd name="connsiteY49" fmla="*/ 1098549 h 1120774"/>
                <a:gd name="connsiteX50" fmla="*/ 1895475 w 1927225"/>
                <a:gd name="connsiteY50" fmla="*/ 939799 h 1120774"/>
                <a:gd name="connsiteX51" fmla="*/ 1778000 w 1927225"/>
                <a:gd name="connsiteY51" fmla="*/ 885824 h 1120774"/>
                <a:gd name="connsiteX52" fmla="*/ 1698625 w 1927225"/>
                <a:gd name="connsiteY52" fmla="*/ 809624 h 1120774"/>
                <a:gd name="connsiteX53" fmla="*/ 1679575 w 1927225"/>
                <a:gd name="connsiteY53" fmla="*/ 692149 h 1120774"/>
                <a:gd name="connsiteX54" fmla="*/ 1673225 w 1927225"/>
                <a:gd name="connsiteY54" fmla="*/ 652462 h 1120774"/>
                <a:gd name="connsiteX55" fmla="*/ 1694656 w 1927225"/>
                <a:gd name="connsiteY55" fmla="*/ 604837 h 1120774"/>
                <a:gd name="connsiteX56" fmla="*/ 1720850 w 1927225"/>
                <a:gd name="connsiteY56" fmla="*/ 531018 h 1120774"/>
                <a:gd name="connsiteX57" fmla="*/ 1747043 w 1927225"/>
                <a:gd name="connsiteY57" fmla="*/ 488155 h 1120774"/>
                <a:gd name="connsiteX58" fmla="*/ 1725613 w 1927225"/>
                <a:gd name="connsiteY58" fmla="*/ 442912 h 1120774"/>
                <a:gd name="connsiteX59" fmla="*/ 1716088 w 1927225"/>
                <a:gd name="connsiteY59" fmla="*/ 390524 h 1120774"/>
                <a:gd name="connsiteX60" fmla="*/ 1713706 w 1927225"/>
                <a:gd name="connsiteY60" fmla="*/ 309562 h 1120774"/>
                <a:gd name="connsiteX61" fmla="*/ 1713706 w 1927225"/>
                <a:gd name="connsiteY61" fmla="*/ 269080 h 1120774"/>
                <a:gd name="connsiteX62" fmla="*/ 1739900 w 1927225"/>
                <a:gd name="connsiteY62" fmla="*/ 219074 h 1120774"/>
                <a:gd name="connsiteX63" fmla="*/ 1680369 w 1927225"/>
                <a:gd name="connsiteY63" fmla="*/ 176212 h 1120774"/>
                <a:gd name="connsiteX64" fmla="*/ 1639888 w 1927225"/>
                <a:gd name="connsiteY64" fmla="*/ 197643 h 1120774"/>
                <a:gd name="connsiteX65" fmla="*/ 1558925 w 1927225"/>
                <a:gd name="connsiteY65" fmla="*/ 154780 h 1120774"/>
                <a:gd name="connsiteX66" fmla="*/ 1556544 w 1927225"/>
                <a:gd name="connsiteY66" fmla="*/ 104774 h 1120774"/>
                <a:gd name="connsiteX67" fmla="*/ 1563688 w 1927225"/>
                <a:gd name="connsiteY67" fmla="*/ 54768 h 1120774"/>
                <a:gd name="connsiteX68" fmla="*/ 1592263 w 1927225"/>
                <a:gd name="connsiteY68" fmla="*/ 35717 h 1120774"/>
                <a:gd name="connsiteX69" fmla="*/ 1537494 w 1927225"/>
                <a:gd name="connsiteY69" fmla="*/ 0 h 1120774"/>
                <a:gd name="connsiteX70" fmla="*/ 34925 w 1927225"/>
                <a:gd name="connsiteY70" fmla="*/ 47624 h 1120774"/>
                <a:gd name="connsiteX0" fmla="*/ 34925 w 1927225"/>
                <a:gd name="connsiteY0" fmla="*/ 47624 h 1120774"/>
                <a:gd name="connsiteX1" fmla="*/ 15875 w 1927225"/>
                <a:gd name="connsiteY1" fmla="*/ 63499 h 1120774"/>
                <a:gd name="connsiteX2" fmla="*/ 3175 w 1927225"/>
                <a:gd name="connsiteY2" fmla="*/ 95249 h 1120774"/>
                <a:gd name="connsiteX3" fmla="*/ 0 w 1927225"/>
                <a:gd name="connsiteY3" fmla="*/ 126999 h 1120774"/>
                <a:gd name="connsiteX4" fmla="*/ 3175 w 1927225"/>
                <a:gd name="connsiteY4" fmla="*/ 158749 h 1120774"/>
                <a:gd name="connsiteX5" fmla="*/ 38100 w 1927225"/>
                <a:gd name="connsiteY5" fmla="*/ 193674 h 1120774"/>
                <a:gd name="connsiteX6" fmla="*/ 82550 w 1927225"/>
                <a:gd name="connsiteY6" fmla="*/ 149224 h 1120774"/>
                <a:gd name="connsiteX7" fmla="*/ 120650 w 1927225"/>
                <a:gd name="connsiteY7" fmla="*/ 193674 h 1120774"/>
                <a:gd name="connsiteX8" fmla="*/ 177800 w 1927225"/>
                <a:gd name="connsiteY8" fmla="*/ 196849 h 1120774"/>
                <a:gd name="connsiteX9" fmla="*/ 222250 w 1927225"/>
                <a:gd name="connsiteY9" fmla="*/ 222249 h 1120774"/>
                <a:gd name="connsiteX10" fmla="*/ 228600 w 1927225"/>
                <a:gd name="connsiteY10" fmla="*/ 250824 h 1120774"/>
                <a:gd name="connsiteX11" fmla="*/ 231775 w 1927225"/>
                <a:gd name="connsiteY11" fmla="*/ 269874 h 1120774"/>
                <a:gd name="connsiteX12" fmla="*/ 228600 w 1927225"/>
                <a:gd name="connsiteY12" fmla="*/ 301624 h 1120774"/>
                <a:gd name="connsiteX13" fmla="*/ 257175 w 1927225"/>
                <a:gd name="connsiteY13" fmla="*/ 330199 h 1120774"/>
                <a:gd name="connsiteX14" fmla="*/ 279400 w 1927225"/>
                <a:gd name="connsiteY14" fmla="*/ 377824 h 1120774"/>
                <a:gd name="connsiteX15" fmla="*/ 279400 w 1927225"/>
                <a:gd name="connsiteY15" fmla="*/ 419099 h 1120774"/>
                <a:gd name="connsiteX16" fmla="*/ 279400 w 1927225"/>
                <a:gd name="connsiteY16" fmla="*/ 450849 h 1120774"/>
                <a:gd name="connsiteX17" fmla="*/ 333375 w 1927225"/>
                <a:gd name="connsiteY17" fmla="*/ 561974 h 1120774"/>
                <a:gd name="connsiteX18" fmla="*/ 346075 w 1927225"/>
                <a:gd name="connsiteY18" fmla="*/ 584199 h 1120774"/>
                <a:gd name="connsiteX19" fmla="*/ 285750 w 1927225"/>
                <a:gd name="connsiteY19" fmla="*/ 603249 h 1120774"/>
                <a:gd name="connsiteX20" fmla="*/ 225425 w 1927225"/>
                <a:gd name="connsiteY20" fmla="*/ 542924 h 1120774"/>
                <a:gd name="connsiteX21" fmla="*/ 184150 w 1927225"/>
                <a:gd name="connsiteY21" fmla="*/ 593724 h 1120774"/>
                <a:gd name="connsiteX22" fmla="*/ 314325 w 1927225"/>
                <a:gd name="connsiteY22" fmla="*/ 704849 h 1120774"/>
                <a:gd name="connsiteX23" fmla="*/ 352425 w 1927225"/>
                <a:gd name="connsiteY23" fmla="*/ 676274 h 1120774"/>
                <a:gd name="connsiteX24" fmla="*/ 403225 w 1927225"/>
                <a:gd name="connsiteY24" fmla="*/ 666749 h 1120774"/>
                <a:gd name="connsiteX25" fmla="*/ 469900 w 1927225"/>
                <a:gd name="connsiteY25" fmla="*/ 676274 h 1120774"/>
                <a:gd name="connsiteX26" fmla="*/ 615950 w 1927225"/>
                <a:gd name="connsiteY26" fmla="*/ 625474 h 1120774"/>
                <a:gd name="connsiteX27" fmla="*/ 803275 w 1927225"/>
                <a:gd name="connsiteY27" fmla="*/ 558799 h 1120774"/>
                <a:gd name="connsiteX28" fmla="*/ 911225 w 1927225"/>
                <a:gd name="connsiteY28" fmla="*/ 615949 h 1120774"/>
                <a:gd name="connsiteX29" fmla="*/ 1016000 w 1927225"/>
                <a:gd name="connsiteY29" fmla="*/ 698499 h 1120774"/>
                <a:gd name="connsiteX30" fmla="*/ 1092200 w 1927225"/>
                <a:gd name="connsiteY30" fmla="*/ 647699 h 1120774"/>
                <a:gd name="connsiteX31" fmla="*/ 1171575 w 1927225"/>
                <a:gd name="connsiteY31" fmla="*/ 682624 h 1120774"/>
                <a:gd name="connsiteX32" fmla="*/ 1200150 w 1927225"/>
                <a:gd name="connsiteY32" fmla="*/ 688974 h 1120774"/>
                <a:gd name="connsiteX33" fmla="*/ 1203325 w 1927225"/>
                <a:gd name="connsiteY33" fmla="*/ 774699 h 1120774"/>
                <a:gd name="connsiteX34" fmla="*/ 1219200 w 1927225"/>
                <a:gd name="connsiteY34" fmla="*/ 809624 h 1120774"/>
                <a:gd name="connsiteX35" fmla="*/ 1238250 w 1927225"/>
                <a:gd name="connsiteY35" fmla="*/ 835024 h 1120774"/>
                <a:gd name="connsiteX36" fmla="*/ 1231900 w 1927225"/>
                <a:gd name="connsiteY36" fmla="*/ 914399 h 1120774"/>
                <a:gd name="connsiteX37" fmla="*/ 1212850 w 1927225"/>
                <a:gd name="connsiteY37" fmla="*/ 958849 h 1120774"/>
                <a:gd name="connsiteX38" fmla="*/ 1209675 w 1927225"/>
                <a:gd name="connsiteY38" fmla="*/ 987424 h 1120774"/>
                <a:gd name="connsiteX39" fmla="*/ 1282700 w 1927225"/>
                <a:gd name="connsiteY39" fmla="*/ 993774 h 1120774"/>
                <a:gd name="connsiteX40" fmla="*/ 1311275 w 1927225"/>
                <a:gd name="connsiteY40" fmla="*/ 981074 h 1120774"/>
                <a:gd name="connsiteX41" fmla="*/ 1352550 w 1927225"/>
                <a:gd name="connsiteY41" fmla="*/ 962024 h 1120774"/>
                <a:gd name="connsiteX42" fmla="*/ 1425575 w 1927225"/>
                <a:gd name="connsiteY42" fmla="*/ 996949 h 1120774"/>
                <a:gd name="connsiteX43" fmla="*/ 1457325 w 1927225"/>
                <a:gd name="connsiteY43" fmla="*/ 952499 h 1120774"/>
                <a:gd name="connsiteX44" fmla="*/ 1555750 w 1927225"/>
                <a:gd name="connsiteY44" fmla="*/ 949324 h 1120774"/>
                <a:gd name="connsiteX45" fmla="*/ 1616075 w 1927225"/>
                <a:gd name="connsiteY45" fmla="*/ 1003299 h 1120774"/>
                <a:gd name="connsiteX46" fmla="*/ 1676400 w 1927225"/>
                <a:gd name="connsiteY46" fmla="*/ 933449 h 1120774"/>
                <a:gd name="connsiteX47" fmla="*/ 1895475 w 1927225"/>
                <a:gd name="connsiteY47" fmla="*/ 1120774 h 1120774"/>
                <a:gd name="connsiteX48" fmla="*/ 1895475 w 1927225"/>
                <a:gd name="connsiteY48" fmla="*/ 1120774 h 1120774"/>
                <a:gd name="connsiteX49" fmla="*/ 1927225 w 1927225"/>
                <a:gd name="connsiteY49" fmla="*/ 1098549 h 1120774"/>
                <a:gd name="connsiteX50" fmla="*/ 1895475 w 1927225"/>
                <a:gd name="connsiteY50" fmla="*/ 939799 h 1120774"/>
                <a:gd name="connsiteX51" fmla="*/ 1778000 w 1927225"/>
                <a:gd name="connsiteY51" fmla="*/ 885824 h 1120774"/>
                <a:gd name="connsiteX52" fmla="*/ 1698625 w 1927225"/>
                <a:gd name="connsiteY52" fmla="*/ 809624 h 1120774"/>
                <a:gd name="connsiteX53" fmla="*/ 1679575 w 1927225"/>
                <a:gd name="connsiteY53" fmla="*/ 692149 h 1120774"/>
                <a:gd name="connsiteX54" fmla="*/ 1673225 w 1927225"/>
                <a:gd name="connsiteY54" fmla="*/ 652462 h 1120774"/>
                <a:gd name="connsiteX55" fmla="*/ 1694656 w 1927225"/>
                <a:gd name="connsiteY55" fmla="*/ 604837 h 1120774"/>
                <a:gd name="connsiteX56" fmla="*/ 1720850 w 1927225"/>
                <a:gd name="connsiteY56" fmla="*/ 531018 h 1120774"/>
                <a:gd name="connsiteX57" fmla="*/ 1747043 w 1927225"/>
                <a:gd name="connsiteY57" fmla="*/ 488155 h 1120774"/>
                <a:gd name="connsiteX58" fmla="*/ 1725613 w 1927225"/>
                <a:gd name="connsiteY58" fmla="*/ 442912 h 1120774"/>
                <a:gd name="connsiteX59" fmla="*/ 1716088 w 1927225"/>
                <a:gd name="connsiteY59" fmla="*/ 390524 h 1120774"/>
                <a:gd name="connsiteX60" fmla="*/ 1713706 w 1927225"/>
                <a:gd name="connsiteY60" fmla="*/ 309562 h 1120774"/>
                <a:gd name="connsiteX61" fmla="*/ 1713706 w 1927225"/>
                <a:gd name="connsiteY61" fmla="*/ 269080 h 1120774"/>
                <a:gd name="connsiteX62" fmla="*/ 1739900 w 1927225"/>
                <a:gd name="connsiteY62" fmla="*/ 219074 h 1120774"/>
                <a:gd name="connsiteX63" fmla="*/ 1680369 w 1927225"/>
                <a:gd name="connsiteY63" fmla="*/ 176212 h 1120774"/>
                <a:gd name="connsiteX64" fmla="*/ 1639888 w 1927225"/>
                <a:gd name="connsiteY64" fmla="*/ 197643 h 1120774"/>
                <a:gd name="connsiteX65" fmla="*/ 1558925 w 1927225"/>
                <a:gd name="connsiteY65" fmla="*/ 154780 h 1120774"/>
                <a:gd name="connsiteX66" fmla="*/ 1556544 w 1927225"/>
                <a:gd name="connsiteY66" fmla="*/ 104774 h 1120774"/>
                <a:gd name="connsiteX67" fmla="*/ 1563688 w 1927225"/>
                <a:gd name="connsiteY67" fmla="*/ 54768 h 1120774"/>
                <a:gd name="connsiteX68" fmla="*/ 1592263 w 1927225"/>
                <a:gd name="connsiteY68" fmla="*/ 35717 h 1120774"/>
                <a:gd name="connsiteX69" fmla="*/ 1537494 w 1927225"/>
                <a:gd name="connsiteY69" fmla="*/ 0 h 1120774"/>
                <a:gd name="connsiteX70" fmla="*/ 1508919 w 1927225"/>
                <a:gd name="connsiteY70" fmla="*/ 2381 h 1120774"/>
                <a:gd name="connsiteX71" fmla="*/ 34925 w 1927225"/>
                <a:gd name="connsiteY71" fmla="*/ 47624 h 1120774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34925 w 1927225"/>
                <a:gd name="connsiteY71" fmla="*/ 85725 h 1158875"/>
                <a:gd name="connsiteX0" fmla="*/ 34925 w 1927225"/>
                <a:gd name="connsiteY0" fmla="*/ 88104 h 1161254"/>
                <a:gd name="connsiteX1" fmla="*/ 15875 w 1927225"/>
                <a:gd name="connsiteY1" fmla="*/ 103979 h 1161254"/>
                <a:gd name="connsiteX2" fmla="*/ 3175 w 1927225"/>
                <a:gd name="connsiteY2" fmla="*/ 135729 h 1161254"/>
                <a:gd name="connsiteX3" fmla="*/ 0 w 1927225"/>
                <a:gd name="connsiteY3" fmla="*/ 167479 h 1161254"/>
                <a:gd name="connsiteX4" fmla="*/ 3175 w 1927225"/>
                <a:gd name="connsiteY4" fmla="*/ 199229 h 1161254"/>
                <a:gd name="connsiteX5" fmla="*/ 38100 w 1927225"/>
                <a:gd name="connsiteY5" fmla="*/ 234154 h 1161254"/>
                <a:gd name="connsiteX6" fmla="*/ 82550 w 1927225"/>
                <a:gd name="connsiteY6" fmla="*/ 189704 h 1161254"/>
                <a:gd name="connsiteX7" fmla="*/ 120650 w 1927225"/>
                <a:gd name="connsiteY7" fmla="*/ 234154 h 1161254"/>
                <a:gd name="connsiteX8" fmla="*/ 177800 w 1927225"/>
                <a:gd name="connsiteY8" fmla="*/ 237329 h 1161254"/>
                <a:gd name="connsiteX9" fmla="*/ 222250 w 1927225"/>
                <a:gd name="connsiteY9" fmla="*/ 262729 h 1161254"/>
                <a:gd name="connsiteX10" fmla="*/ 228600 w 1927225"/>
                <a:gd name="connsiteY10" fmla="*/ 291304 h 1161254"/>
                <a:gd name="connsiteX11" fmla="*/ 231775 w 1927225"/>
                <a:gd name="connsiteY11" fmla="*/ 310354 h 1161254"/>
                <a:gd name="connsiteX12" fmla="*/ 228600 w 1927225"/>
                <a:gd name="connsiteY12" fmla="*/ 342104 h 1161254"/>
                <a:gd name="connsiteX13" fmla="*/ 257175 w 1927225"/>
                <a:gd name="connsiteY13" fmla="*/ 370679 h 1161254"/>
                <a:gd name="connsiteX14" fmla="*/ 279400 w 1927225"/>
                <a:gd name="connsiteY14" fmla="*/ 418304 h 1161254"/>
                <a:gd name="connsiteX15" fmla="*/ 279400 w 1927225"/>
                <a:gd name="connsiteY15" fmla="*/ 459579 h 1161254"/>
                <a:gd name="connsiteX16" fmla="*/ 279400 w 1927225"/>
                <a:gd name="connsiteY16" fmla="*/ 491329 h 1161254"/>
                <a:gd name="connsiteX17" fmla="*/ 333375 w 1927225"/>
                <a:gd name="connsiteY17" fmla="*/ 602454 h 1161254"/>
                <a:gd name="connsiteX18" fmla="*/ 346075 w 1927225"/>
                <a:gd name="connsiteY18" fmla="*/ 624679 h 1161254"/>
                <a:gd name="connsiteX19" fmla="*/ 285750 w 1927225"/>
                <a:gd name="connsiteY19" fmla="*/ 643729 h 1161254"/>
                <a:gd name="connsiteX20" fmla="*/ 225425 w 1927225"/>
                <a:gd name="connsiteY20" fmla="*/ 583404 h 1161254"/>
                <a:gd name="connsiteX21" fmla="*/ 184150 w 1927225"/>
                <a:gd name="connsiteY21" fmla="*/ 634204 h 1161254"/>
                <a:gd name="connsiteX22" fmla="*/ 314325 w 1927225"/>
                <a:gd name="connsiteY22" fmla="*/ 745329 h 1161254"/>
                <a:gd name="connsiteX23" fmla="*/ 352425 w 1927225"/>
                <a:gd name="connsiteY23" fmla="*/ 716754 h 1161254"/>
                <a:gd name="connsiteX24" fmla="*/ 403225 w 1927225"/>
                <a:gd name="connsiteY24" fmla="*/ 707229 h 1161254"/>
                <a:gd name="connsiteX25" fmla="*/ 469900 w 1927225"/>
                <a:gd name="connsiteY25" fmla="*/ 716754 h 1161254"/>
                <a:gd name="connsiteX26" fmla="*/ 615950 w 1927225"/>
                <a:gd name="connsiteY26" fmla="*/ 665954 h 1161254"/>
                <a:gd name="connsiteX27" fmla="*/ 803275 w 1927225"/>
                <a:gd name="connsiteY27" fmla="*/ 599279 h 1161254"/>
                <a:gd name="connsiteX28" fmla="*/ 911225 w 1927225"/>
                <a:gd name="connsiteY28" fmla="*/ 656429 h 1161254"/>
                <a:gd name="connsiteX29" fmla="*/ 1016000 w 1927225"/>
                <a:gd name="connsiteY29" fmla="*/ 738979 h 1161254"/>
                <a:gd name="connsiteX30" fmla="*/ 1092200 w 1927225"/>
                <a:gd name="connsiteY30" fmla="*/ 688179 h 1161254"/>
                <a:gd name="connsiteX31" fmla="*/ 1171575 w 1927225"/>
                <a:gd name="connsiteY31" fmla="*/ 723104 h 1161254"/>
                <a:gd name="connsiteX32" fmla="*/ 1200150 w 1927225"/>
                <a:gd name="connsiteY32" fmla="*/ 729454 h 1161254"/>
                <a:gd name="connsiteX33" fmla="*/ 1203325 w 1927225"/>
                <a:gd name="connsiteY33" fmla="*/ 815179 h 1161254"/>
                <a:gd name="connsiteX34" fmla="*/ 1219200 w 1927225"/>
                <a:gd name="connsiteY34" fmla="*/ 850104 h 1161254"/>
                <a:gd name="connsiteX35" fmla="*/ 1238250 w 1927225"/>
                <a:gd name="connsiteY35" fmla="*/ 875504 h 1161254"/>
                <a:gd name="connsiteX36" fmla="*/ 1231900 w 1927225"/>
                <a:gd name="connsiteY36" fmla="*/ 954879 h 1161254"/>
                <a:gd name="connsiteX37" fmla="*/ 1212850 w 1927225"/>
                <a:gd name="connsiteY37" fmla="*/ 999329 h 1161254"/>
                <a:gd name="connsiteX38" fmla="*/ 1209675 w 1927225"/>
                <a:gd name="connsiteY38" fmla="*/ 1027904 h 1161254"/>
                <a:gd name="connsiteX39" fmla="*/ 1282700 w 1927225"/>
                <a:gd name="connsiteY39" fmla="*/ 1034254 h 1161254"/>
                <a:gd name="connsiteX40" fmla="*/ 1311275 w 1927225"/>
                <a:gd name="connsiteY40" fmla="*/ 1021554 h 1161254"/>
                <a:gd name="connsiteX41" fmla="*/ 1352550 w 1927225"/>
                <a:gd name="connsiteY41" fmla="*/ 1002504 h 1161254"/>
                <a:gd name="connsiteX42" fmla="*/ 1425575 w 1927225"/>
                <a:gd name="connsiteY42" fmla="*/ 1037429 h 1161254"/>
                <a:gd name="connsiteX43" fmla="*/ 1457325 w 1927225"/>
                <a:gd name="connsiteY43" fmla="*/ 992979 h 1161254"/>
                <a:gd name="connsiteX44" fmla="*/ 1555750 w 1927225"/>
                <a:gd name="connsiteY44" fmla="*/ 989804 h 1161254"/>
                <a:gd name="connsiteX45" fmla="*/ 1616075 w 1927225"/>
                <a:gd name="connsiteY45" fmla="*/ 1043779 h 1161254"/>
                <a:gd name="connsiteX46" fmla="*/ 1676400 w 1927225"/>
                <a:gd name="connsiteY46" fmla="*/ 973929 h 1161254"/>
                <a:gd name="connsiteX47" fmla="*/ 1895475 w 1927225"/>
                <a:gd name="connsiteY47" fmla="*/ 1161254 h 1161254"/>
                <a:gd name="connsiteX48" fmla="*/ 1895475 w 1927225"/>
                <a:gd name="connsiteY48" fmla="*/ 1161254 h 1161254"/>
                <a:gd name="connsiteX49" fmla="*/ 1927225 w 1927225"/>
                <a:gd name="connsiteY49" fmla="*/ 1139029 h 1161254"/>
                <a:gd name="connsiteX50" fmla="*/ 1895475 w 1927225"/>
                <a:gd name="connsiteY50" fmla="*/ 980279 h 1161254"/>
                <a:gd name="connsiteX51" fmla="*/ 1778000 w 1927225"/>
                <a:gd name="connsiteY51" fmla="*/ 926304 h 1161254"/>
                <a:gd name="connsiteX52" fmla="*/ 1698625 w 1927225"/>
                <a:gd name="connsiteY52" fmla="*/ 850104 h 1161254"/>
                <a:gd name="connsiteX53" fmla="*/ 1679575 w 1927225"/>
                <a:gd name="connsiteY53" fmla="*/ 732629 h 1161254"/>
                <a:gd name="connsiteX54" fmla="*/ 1673225 w 1927225"/>
                <a:gd name="connsiteY54" fmla="*/ 692942 h 1161254"/>
                <a:gd name="connsiteX55" fmla="*/ 1694656 w 1927225"/>
                <a:gd name="connsiteY55" fmla="*/ 645317 h 1161254"/>
                <a:gd name="connsiteX56" fmla="*/ 1720850 w 1927225"/>
                <a:gd name="connsiteY56" fmla="*/ 571498 h 1161254"/>
                <a:gd name="connsiteX57" fmla="*/ 1747043 w 1927225"/>
                <a:gd name="connsiteY57" fmla="*/ 528635 h 1161254"/>
                <a:gd name="connsiteX58" fmla="*/ 1725613 w 1927225"/>
                <a:gd name="connsiteY58" fmla="*/ 483392 h 1161254"/>
                <a:gd name="connsiteX59" fmla="*/ 1716088 w 1927225"/>
                <a:gd name="connsiteY59" fmla="*/ 431004 h 1161254"/>
                <a:gd name="connsiteX60" fmla="*/ 1713706 w 1927225"/>
                <a:gd name="connsiteY60" fmla="*/ 350042 h 1161254"/>
                <a:gd name="connsiteX61" fmla="*/ 1713706 w 1927225"/>
                <a:gd name="connsiteY61" fmla="*/ 309560 h 1161254"/>
                <a:gd name="connsiteX62" fmla="*/ 1739900 w 1927225"/>
                <a:gd name="connsiteY62" fmla="*/ 259554 h 1161254"/>
                <a:gd name="connsiteX63" fmla="*/ 1680369 w 1927225"/>
                <a:gd name="connsiteY63" fmla="*/ 216692 h 1161254"/>
                <a:gd name="connsiteX64" fmla="*/ 1639888 w 1927225"/>
                <a:gd name="connsiteY64" fmla="*/ 238123 h 1161254"/>
                <a:gd name="connsiteX65" fmla="*/ 1558925 w 1927225"/>
                <a:gd name="connsiteY65" fmla="*/ 195260 h 1161254"/>
                <a:gd name="connsiteX66" fmla="*/ 1556544 w 1927225"/>
                <a:gd name="connsiteY66" fmla="*/ 145254 h 1161254"/>
                <a:gd name="connsiteX67" fmla="*/ 1563688 w 1927225"/>
                <a:gd name="connsiteY67" fmla="*/ 95248 h 1161254"/>
                <a:gd name="connsiteX68" fmla="*/ 1592263 w 1927225"/>
                <a:gd name="connsiteY68" fmla="*/ 76197 h 1161254"/>
                <a:gd name="connsiteX69" fmla="*/ 1537494 w 1927225"/>
                <a:gd name="connsiteY69" fmla="*/ 40480 h 1161254"/>
                <a:gd name="connsiteX70" fmla="*/ 1497013 w 1927225"/>
                <a:gd name="connsiteY70" fmla="*/ 2379 h 1161254"/>
                <a:gd name="connsiteX71" fmla="*/ 1427956 w 1927225"/>
                <a:gd name="connsiteY71" fmla="*/ 0 h 1161254"/>
                <a:gd name="connsiteX72" fmla="*/ 34925 w 1927225"/>
                <a:gd name="connsiteY72" fmla="*/ 88104 h 1161254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34925 w 1927225"/>
                <a:gd name="connsiteY72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6050 w 1927225"/>
                <a:gd name="connsiteY72" fmla="*/ 40483 h 1158875"/>
                <a:gd name="connsiteX73" fmla="*/ 34925 w 1927225"/>
                <a:gd name="connsiteY73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34925 w 1927225"/>
                <a:gd name="connsiteY73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77950 w 1927225"/>
                <a:gd name="connsiteY73" fmla="*/ 47627 h 1158875"/>
                <a:gd name="connsiteX74" fmla="*/ 34925 w 1927225"/>
                <a:gd name="connsiteY74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34925 w 1927225"/>
                <a:gd name="connsiteY74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56519 w 1927225"/>
                <a:gd name="connsiteY74" fmla="*/ 66677 h 1158875"/>
                <a:gd name="connsiteX75" fmla="*/ 34925 w 1927225"/>
                <a:gd name="connsiteY75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34925 w 1927225"/>
                <a:gd name="connsiteY75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89844 w 1927225"/>
                <a:gd name="connsiteY75" fmla="*/ 23815 h 1158875"/>
                <a:gd name="connsiteX76" fmla="*/ 34925 w 1927225"/>
                <a:gd name="connsiteY76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34925 w 1927225"/>
                <a:gd name="connsiteY76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185069 w 1927225"/>
                <a:gd name="connsiteY76" fmla="*/ 138115 h 1158875"/>
                <a:gd name="connsiteX77" fmla="*/ 34925 w 1927225"/>
                <a:gd name="connsiteY77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34925 w 1927225"/>
                <a:gd name="connsiteY77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4106 w 1927225"/>
                <a:gd name="connsiteY77" fmla="*/ 200027 h 1158875"/>
                <a:gd name="connsiteX78" fmla="*/ 34925 w 1927225"/>
                <a:gd name="connsiteY78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34925 w 1927225"/>
                <a:gd name="connsiteY78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1244 w 1927225"/>
                <a:gd name="connsiteY78" fmla="*/ 119065 h 1158875"/>
                <a:gd name="connsiteX79" fmla="*/ 34925 w 1927225"/>
                <a:gd name="connsiteY79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34925 w 1927225"/>
                <a:gd name="connsiteY79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27906 w 1927225"/>
                <a:gd name="connsiteY79" fmla="*/ 57152 h 1158875"/>
                <a:gd name="connsiteX80" fmla="*/ 34925 w 1927225"/>
                <a:gd name="connsiteY80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34925 w 1927225"/>
                <a:gd name="connsiteY80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73138 w 1927225"/>
                <a:gd name="connsiteY80" fmla="*/ 80965 h 1158875"/>
                <a:gd name="connsiteX81" fmla="*/ 34925 w 1927225"/>
                <a:gd name="connsiteY81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34925 w 1927225"/>
                <a:gd name="connsiteY81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87413 w 1927225"/>
                <a:gd name="connsiteY81" fmla="*/ 50008 h 1158875"/>
                <a:gd name="connsiteX82" fmla="*/ 34925 w 1927225"/>
                <a:gd name="connsiteY82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34925 w 1927225"/>
                <a:gd name="connsiteY82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708819 w 1927225"/>
                <a:gd name="connsiteY82" fmla="*/ 119065 h 1158875"/>
                <a:gd name="connsiteX83" fmla="*/ 34925 w 1927225"/>
                <a:gd name="connsiteY83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737394 w 1927225"/>
                <a:gd name="connsiteY82" fmla="*/ 126208 h 1158875"/>
                <a:gd name="connsiteX83" fmla="*/ 34925 w 1927225"/>
                <a:gd name="connsiteY83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737394 w 1927225"/>
                <a:gd name="connsiteY82" fmla="*/ 126208 h 1158875"/>
                <a:gd name="connsiteX83" fmla="*/ 654050 w 1927225"/>
                <a:gd name="connsiteY83" fmla="*/ 121446 h 1158875"/>
                <a:gd name="connsiteX84" fmla="*/ 34925 w 1927225"/>
                <a:gd name="connsiteY84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737394 w 1927225"/>
                <a:gd name="connsiteY82" fmla="*/ 126208 h 1158875"/>
                <a:gd name="connsiteX83" fmla="*/ 625475 w 1927225"/>
                <a:gd name="connsiteY83" fmla="*/ 195265 h 1158875"/>
                <a:gd name="connsiteX84" fmla="*/ 34925 w 1927225"/>
                <a:gd name="connsiteY84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737394 w 1927225"/>
                <a:gd name="connsiteY82" fmla="*/ 126208 h 1158875"/>
                <a:gd name="connsiteX83" fmla="*/ 625475 w 1927225"/>
                <a:gd name="connsiteY83" fmla="*/ 195265 h 1158875"/>
                <a:gd name="connsiteX84" fmla="*/ 544513 w 1927225"/>
                <a:gd name="connsiteY84" fmla="*/ 176215 h 1158875"/>
                <a:gd name="connsiteX85" fmla="*/ 34925 w 1927225"/>
                <a:gd name="connsiteY85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737394 w 1927225"/>
                <a:gd name="connsiteY82" fmla="*/ 126208 h 1158875"/>
                <a:gd name="connsiteX83" fmla="*/ 625475 w 1927225"/>
                <a:gd name="connsiteY83" fmla="*/ 195265 h 1158875"/>
                <a:gd name="connsiteX84" fmla="*/ 575469 w 1927225"/>
                <a:gd name="connsiteY84" fmla="*/ 188121 h 1158875"/>
                <a:gd name="connsiteX85" fmla="*/ 34925 w 1927225"/>
                <a:gd name="connsiteY85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737394 w 1927225"/>
                <a:gd name="connsiteY82" fmla="*/ 126208 h 1158875"/>
                <a:gd name="connsiteX83" fmla="*/ 625475 w 1927225"/>
                <a:gd name="connsiteY83" fmla="*/ 195265 h 1158875"/>
                <a:gd name="connsiteX84" fmla="*/ 575469 w 1927225"/>
                <a:gd name="connsiteY84" fmla="*/ 188121 h 1158875"/>
                <a:gd name="connsiteX85" fmla="*/ 520700 w 1927225"/>
                <a:gd name="connsiteY85" fmla="*/ 176215 h 1158875"/>
                <a:gd name="connsiteX86" fmla="*/ 34925 w 1927225"/>
                <a:gd name="connsiteY86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737394 w 1927225"/>
                <a:gd name="connsiteY82" fmla="*/ 126208 h 1158875"/>
                <a:gd name="connsiteX83" fmla="*/ 625475 w 1927225"/>
                <a:gd name="connsiteY83" fmla="*/ 195265 h 1158875"/>
                <a:gd name="connsiteX84" fmla="*/ 575469 w 1927225"/>
                <a:gd name="connsiteY84" fmla="*/ 188121 h 1158875"/>
                <a:gd name="connsiteX85" fmla="*/ 523081 w 1927225"/>
                <a:gd name="connsiteY85" fmla="*/ 211933 h 1158875"/>
                <a:gd name="connsiteX86" fmla="*/ 34925 w 1927225"/>
                <a:gd name="connsiteY86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737394 w 1927225"/>
                <a:gd name="connsiteY82" fmla="*/ 126208 h 1158875"/>
                <a:gd name="connsiteX83" fmla="*/ 625475 w 1927225"/>
                <a:gd name="connsiteY83" fmla="*/ 195265 h 1158875"/>
                <a:gd name="connsiteX84" fmla="*/ 575469 w 1927225"/>
                <a:gd name="connsiteY84" fmla="*/ 188121 h 1158875"/>
                <a:gd name="connsiteX85" fmla="*/ 523081 w 1927225"/>
                <a:gd name="connsiteY85" fmla="*/ 211933 h 1158875"/>
                <a:gd name="connsiteX86" fmla="*/ 415925 w 1927225"/>
                <a:gd name="connsiteY86" fmla="*/ 185740 h 1158875"/>
                <a:gd name="connsiteX87" fmla="*/ 34925 w 1927225"/>
                <a:gd name="connsiteY87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737394 w 1927225"/>
                <a:gd name="connsiteY82" fmla="*/ 126208 h 1158875"/>
                <a:gd name="connsiteX83" fmla="*/ 625475 w 1927225"/>
                <a:gd name="connsiteY83" fmla="*/ 195265 h 1158875"/>
                <a:gd name="connsiteX84" fmla="*/ 575469 w 1927225"/>
                <a:gd name="connsiteY84" fmla="*/ 188121 h 1158875"/>
                <a:gd name="connsiteX85" fmla="*/ 523081 w 1927225"/>
                <a:gd name="connsiteY85" fmla="*/ 211933 h 1158875"/>
                <a:gd name="connsiteX86" fmla="*/ 311150 w 1927225"/>
                <a:gd name="connsiteY86" fmla="*/ 92871 h 1158875"/>
                <a:gd name="connsiteX87" fmla="*/ 34925 w 1927225"/>
                <a:gd name="connsiteY87" fmla="*/ 85725 h 1158875"/>
                <a:gd name="connsiteX0" fmla="*/ 34925 w 1927225"/>
                <a:gd name="connsiteY0" fmla="*/ 90487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737394 w 1927225"/>
                <a:gd name="connsiteY82" fmla="*/ 126208 h 1158875"/>
                <a:gd name="connsiteX83" fmla="*/ 625475 w 1927225"/>
                <a:gd name="connsiteY83" fmla="*/ 195265 h 1158875"/>
                <a:gd name="connsiteX84" fmla="*/ 575469 w 1927225"/>
                <a:gd name="connsiteY84" fmla="*/ 188121 h 1158875"/>
                <a:gd name="connsiteX85" fmla="*/ 523081 w 1927225"/>
                <a:gd name="connsiteY85" fmla="*/ 211933 h 1158875"/>
                <a:gd name="connsiteX86" fmla="*/ 311150 w 1927225"/>
                <a:gd name="connsiteY86" fmla="*/ 92871 h 1158875"/>
                <a:gd name="connsiteX87" fmla="*/ 34925 w 1927225"/>
                <a:gd name="connsiteY87" fmla="*/ 90487 h 1158875"/>
                <a:gd name="connsiteX0" fmla="*/ 34925 w 1927225"/>
                <a:gd name="connsiteY0" fmla="*/ 90487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797050 w 1927225"/>
                <a:gd name="connsiteY47" fmla="*/ 1073946 h 1158875"/>
                <a:gd name="connsiteX48" fmla="*/ 1895475 w 1927225"/>
                <a:gd name="connsiteY48" fmla="*/ 1158875 h 1158875"/>
                <a:gd name="connsiteX49" fmla="*/ 1895475 w 1927225"/>
                <a:gd name="connsiteY49" fmla="*/ 1158875 h 1158875"/>
                <a:gd name="connsiteX50" fmla="*/ 1927225 w 1927225"/>
                <a:gd name="connsiteY50" fmla="*/ 1136650 h 1158875"/>
                <a:gd name="connsiteX51" fmla="*/ 1895475 w 1927225"/>
                <a:gd name="connsiteY51" fmla="*/ 977900 h 1158875"/>
                <a:gd name="connsiteX52" fmla="*/ 1778000 w 1927225"/>
                <a:gd name="connsiteY52" fmla="*/ 923925 h 1158875"/>
                <a:gd name="connsiteX53" fmla="*/ 1698625 w 1927225"/>
                <a:gd name="connsiteY53" fmla="*/ 847725 h 1158875"/>
                <a:gd name="connsiteX54" fmla="*/ 1679575 w 1927225"/>
                <a:gd name="connsiteY54" fmla="*/ 730250 h 1158875"/>
                <a:gd name="connsiteX55" fmla="*/ 1673225 w 1927225"/>
                <a:gd name="connsiteY55" fmla="*/ 690563 h 1158875"/>
                <a:gd name="connsiteX56" fmla="*/ 1694656 w 1927225"/>
                <a:gd name="connsiteY56" fmla="*/ 642938 h 1158875"/>
                <a:gd name="connsiteX57" fmla="*/ 1720850 w 1927225"/>
                <a:gd name="connsiteY57" fmla="*/ 569119 h 1158875"/>
                <a:gd name="connsiteX58" fmla="*/ 1747043 w 1927225"/>
                <a:gd name="connsiteY58" fmla="*/ 526256 h 1158875"/>
                <a:gd name="connsiteX59" fmla="*/ 1725613 w 1927225"/>
                <a:gd name="connsiteY59" fmla="*/ 481013 h 1158875"/>
                <a:gd name="connsiteX60" fmla="*/ 1716088 w 1927225"/>
                <a:gd name="connsiteY60" fmla="*/ 428625 h 1158875"/>
                <a:gd name="connsiteX61" fmla="*/ 1713706 w 1927225"/>
                <a:gd name="connsiteY61" fmla="*/ 347663 h 1158875"/>
                <a:gd name="connsiteX62" fmla="*/ 1713706 w 1927225"/>
                <a:gd name="connsiteY62" fmla="*/ 307181 h 1158875"/>
                <a:gd name="connsiteX63" fmla="*/ 1739900 w 1927225"/>
                <a:gd name="connsiteY63" fmla="*/ 257175 h 1158875"/>
                <a:gd name="connsiteX64" fmla="*/ 1680369 w 1927225"/>
                <a:gd name="connsiteY64" fmla="*/ 214313 h 1158875"/>
                <a:gd name="connsiteX65" fmla="*/ 1639888 w 1927225"/>
                <a:gd name="connsiteY65" fmla="*/ 235744 h 1158875"/>
                <a:gd name="connsiteX66" fmla="*/ 1558925 w 1927225"/>
                <a:gd name="connsiteY66" fmla="*/ 192881 h 1158875"/>
                <a:gd name="connsiteX67" fmla="*/ 1556544 w 1927225"/>
                <a:gd name="connsiteY67" fmla="*/ 142875 h 1158875"/>
                <a:gd name="connsiteX68" fmla="*/ 1563688 w 1927225"/>
                <a:gd name="connsiteY68" fmla="*/ 92869 h 1158875"/>
                <a:gd name="connsiteX69" fmla="*/ 1592263 w 1927225"/>
                <a:gd name="connsiteY69" fmla="*/ 73818 h 1158875"/>
                <a:gd name="connsiteX70" fmla="*/ 1537494 w 1927225"/>
                <a:gd name="connsiteY70" fmla="*/ 38101 h 1158875"/>
                <a:gd name="connsiteX71" fmla="*/ 1497013 w 1927225"/>
                <a:gd name="connsiteY71" fmla="*/ 0 h 1158875"/>
                <a:gd name="connsiteX72" fmla="*/ 1470819 w 1927225"/>
                <a:gd name="connsiteY72" fmla="*/ 40483 h 1158875"/>
                <a:gd name="connsiteX73" fmla="*/ 1411288 w 1927225"/>
                <a:gd name="connsiteY73" fmla="*/ 45245 h 1158875"/>
                <a:gd name="connsiteX74" fmla="*/ 1394619 w 1927225"/>
                <a:gd name="connsiteY74" fmla="*/ 61915 h 1158875"/>
                <a:gd name="connsiteX75" fmla="*/ 1349375 w 1927225"/>
                <a:gd name="connsiteY75" fmla="*/ 23814 h 1158875"/>
                <a:gd name="connsiteX76" fmla="*/ 1261269 w 1927225"/>
                <a:gd name="connsiteY76" fmla="*/ 145258 h 1158875"/>
                <a:gd name="connsiteX77" fmla="*/ 1208881 w 1927225"/>
                <a:gd name="connsiteY77" fmla="*/ 207171 h 1158875"/>
                <a:gd name="connsiteX78" fmla="*/ 1106488 w 1927225"/>
                <a:gd name="connsiteY78" fmla="*/ 123827 h 1158875"/>
                <a:gd name="connsiteX79" fmla="*/ 1068387 w 1927225"/>
                <a:gd name="connsiteY79" fmla="*/ 54771 h 1158875"/>
                <a:gd name="connsiteX80" fmla="*/ 1030288 w 1927225"/>
                <a:gd name="connsiteY80" fmla="*/ 83346 h 1158875"/>
                <a:gd name="connsiteX81" fmla="*/ 961231 w 1927225"/>
                <a:gd name="connsiteY81" fmla="*/ 47627 h 1158875"/>
                <a:gd name="connsiteX82" fmla="*/ 863600 w 1927225"/>
                <a:gd name="connsiteY82" fmla="*/ 128590 h 1158875"/>
                <a:gd name="connsiteX83" fmla="*/ 737394 w 1927225"/>
                <a:gd name="connsiteY83" fmla="*/ 126208 h 1158875"/>
                <a:gd name="connsiteX84" fmla="*/ 625475 w 1927225"/>
                <a:gd name="connsiteY84" fmla="*/ 195265 h 1158875"/>
                <a:gd name="connsiteX85" fmla="*/ 575469 w 1927225"/>
                <a:gd name="connsiteY85" fmla="*/ 188121 h 1158875"/>
                <a:gd name="connsiteX86" fmla="*/ 523081 w 1927225"/>
                <a:gd name="connsiteY86" fmla="*/ 211933 h 1158875"/>
                <a:gd name="connsiteX87" fmla="*/ 311150 w 1927225"/>
                <a:gd name="connsiteY87" fmla="*/ 92871 h 1158875"/>
                <a:gd name="connsiteX88" fmla="*/ 34925 w 1927225"/>
                <a:gd name="connsiteY88" fmla="*/ 90487 h 1158875"/>
                <a:gd name="connsiteX0" fmla="*/ 34925 w 1927225"/>
                <a:gd name="connsiteY0" fmla="*/ 90487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763712 w 1927225"/>
                <a:gd name="connsiteY47" fmla="*/ 1085852 h 1158875"/>
                <a:gd name="connsiteX48" fmla="*/ 1895475 w 1927225"/>
                <a:gd name="connsiteY48" fmla="*/ 1158875 h 1158875"/>
                <a:gd name="connsiteX49" fmla="*/ 1895475 w 1927225"/>
                <a:gd name="connsiteY49" fmla="*/ 1158875 h 1158875"/>
                <a:gd name="connsiteX50" fmla="*/ 1927225 w 1927225"/>
                <a:gd name="connsiteY50" fmla="*/ 1136650 h 1158875"/>
                <a:gd name="connsiteX51" fmla="*/ 1895475 w 1927225"/>
                <a:gd name="connsiteY51" fmla="*/ 977900 h 1158875"/>
                <a:gd name="connsiteX52" fmla="*/ 1778000 w 1927225"/>
                <a:gd name="connsiteY52" fmla="*/ 923925 h 1158875"/>
                <a:gd name="connsiteX53" fmla="*/ 1698625 w 1927225"/>
                <a:gd name="connsiteY53" fmla="*/ 847725 h 1158875"/>
                <a:gd name="connsiteX54" fmla="*/ 1679575 w 1927225"/>
                <a:gd name="connsiteY54" fmla="*/ 730250 h 1158875"/>
                <a:gd name="connsiteX55" fmla="*/ 1673225 w 1927225"/>
                <a:gd name="connsiteY55" fmla="*/ 690563 h 1158875"/>
                <a:gd name="connsiteX56" fmla="*/ 1694656 w 1927225"/>
                <a:gd name="connsiteY56" fmla="*/ 642938 h 1158875"/>
                <a:gd name="connsiteX57" fmla="*/ 1720850 w 1927225"/>
                <a:gd name="connsiteY57" fmla="*/ 569119 h 1158875"/>
                <a:gd name="connsiteX58" fmla="*/ 1747043 w 1927225"/>
                <a:gd name="connsiteY58" fmla="*/ 526256 h 1158875"/>
                <a:gd name="connsiteX59" fmla="*/ 1725613 w 1927225"/>
                <a:gd name="connsiteY59" fmla="*/ 481013 h 1158875"/>
                <a:gd name="connsiteX60" fmla="*/ 1716088 w 1927225"/>
                <a:gd name="connsiteY60" fmla="*/ 428625 h 1158875"/>
                <a:gd name="connsiteX61" fmla="*/ 1713706 w 1927225"/>
                <a:gd name="connsiteY61" fmla="*/ 347663 h 1158875"/>
                <a:gd name="connsiteX62" fmla="*/ 1713706 w 1927225"/>
                <a:gd name="connsiteY62" fmla="*/ 307181 h 1158875"/>
                <a:gd name="connsiteX63" fmla="*/ 1739900 w 1927225"/>
                <a:gd name="connsiteY63" fmla="*/ 257175 h 1158875"/>
                <a:gd name="connsiteX64" fmla="*/ 1680369 w 1927225"/>
                <a:gd name="connsiteY64" fmla="*/ 214313 h 1158875"/>
                <a:gd name="connsiteX65" fmla="*/ 1639888 w 1927225"/>
                <a:gd name="connsiteY65" fmla="*/ 235744 h 1158875"/>
                <a:gd name="connsiteX66" fmla="*/ 1558925 w 1927225"/>
                <a:gd name="connsiteY66" fmla="*/ 192881 h 1158875"/>
                <a:gd name="connsiteX67" fmla="*/ 1556544 w 1927225"/>
                <a:gd name="connsiteY67" fmla="*/ 142875 h 1158875"/>
                <a:gd name="connsiteX68" fmla="*/ 1563688 w 1927225"/>
                <a:gd name="connsiteY68" fmla="*/ 92869 h 1158875"/>
                <a:gd name="connsiteX69" fmla="*/ 1592263 w 1927225"/>
                <a:gd name="connsiteY69" fmla="*/ 73818 h 1158875"/>
                <a:gd name="connsiteX70" fmla="*/ 1537494 w 1927225"/>
                <a:gd name="connsiteY70" fmla="*/ 38101 h 1158875"/>
                <a:gd name="connsiteX71" fmla="*/ 1497013 w 1927225"/>
                <a:gd name="connsiteY71" fmla="*/ 0 h 1158875"/>
                <a:gd name="connsiteX72" fmla="*/ 1470819 w 1927225"/>
                <a:gd name="connsiteY72" fmla="*/ 40483 h 1158875"/>
                <a:gd name="connsiteX73" fmla="*/ 1411288 w 1927225"/>
                <a:gd name="connsiteY73" fmla="*/ 45245 h 1158875"/>
                <a:gd name="connsiteX74" fmla="*/ 1394619 w 1927225"/>
                <a:gd name="connsiteY74" fmla="*/ 61915 h 1158875"/>
                <a:gd name="connsiteX75" fmla="*/ 1349375 w 1927225"/>
                <a:gd name="connsiteY75" fmla="*/ 23814 h 1158875"/>
                <a:gd name="connsiteX76" fmla="*/ 1261269 w 1927225"/>
                <a:gd name="connsiteY76" fmla="*/ 145258 h 1158875"/>
                <a:gd name="connsiteX77" fmla="*/ 1208881 w 1927225"/>
                <a:gd name="connsiteY77" fmla="*/ 207171 h 1158875"/>
                <a:gd name="connsiteX78" fmla="*/ 1106488 w 1927225"/>
                <a:gd name="connsiteY78" fmla="*/ 123827 h 1158875"/>
                <a:gd name="connsiteX79" fmla="*/ 1068387 w 1927225"/>
                <a:gd name="connsiteY79" fmla="*/ 54771 h 1158875"/>
                <a:gd name="connsiteX80" fmla="*/ 1030288 w 1927225"/>
                <a:gd name="connsiteY80" fmla="*/ 83346 h 1158875"/>
                <a:gd name="connsiteX81" fmla="*/ 961231 w 1927225"/>
                <a:gd name="connsiteY81" fmla="*/ 47627 h 1158875"/>
                <a:gd name="connsiteX82" fmla="*/ 863600 w 1927225"/>
                <a:gd name="connsiteY82" fmla="*/ 128590 h 1158875"/>
                <a:gd name="connsiteX83" fmla="*/ 737394 w 1927225"/>
                <a:gd name="connsiteY83" fmla="*/ 126208 h 1158875"/>
                <a:gd name="connsiteX84" fmla="*/ 625475 w 1927225"/>
                <a:gd name="connsiteY84" fmla="*/ 195265 h 1158875"/>
                <a:gd name="connsiteX85" fmla="*/ 575469 w 1927225"/>
                <a:gd name="connsiteY85" fmla="*/ 188121 h 1158875"/>
                <a:gd name="connsiteX86" fmla="*/ 523081 w 1927225"/>
                <a:gd name="connsiteY86" fmla="*/ 211933 h 1158875"/>
                <a:gd name="connsiteX87" fmla="*/ 311150 w 1927225"/>
                <a:gd name="connsiteY87" fmla="*/ 92871 h 1158875"/>
                <a:gd name="connsiteX88" fmla="*/ 34925 w 1927225"/>
                <a:gd name="connsiteY88" fmla="*/ 90487 h 1158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1927225" h="1158875">
                  <a:moveTo>
                    <a:pt x="34925" y="90487"/>
                  </a:moveTo>
                  <a:lnTo>
                    <a:pt x="15875" y="101600"/>
                  </a:lnTo>
                  <a:lnTo>
                    <a:pt x="3175" y="133350"/>
                  </a:lnTo>
                  <a:lnTo>
                    <a:pt x="0" y="165100"/>
                  </a:lnTo>
                  <a:lnTo>
                    <a:pt x="3175" y="196850"/>
                  </a:lnTo>
                  <a:lnTo>
                    <a:pt x="38100" y="231775"/>
                  </a:lnTo>
                  <a:lnTo>
                    <a:pt x="82550" y="187325"/>
                  </a:lnTo>
                  <a:lnTo>
                    <a:pt x="120650" y="231775"/>
                  </a:lnTo>
                  <a:lnTo>
                    <a:pt x="177800" y="234950"/>
                  </a:lnTo>
                  <a:lnTo>
                    <a:pt x="222250" y="260350"/>
                  </a:lnTo>
                  <a:lnTo>
                    <a:pt x="228600" y="288925"/>
                  </a:lnTo>
                  <a:lnTo>
                    <a:pt x="231775" y="307975"/>
                  </a:lnTo>
                  <a:lnTo>
                    <a:pt x="228600" y="339725"/>
                  </a:lnTo>
                  <a:lnTo>
                    <a:pt x="257175" y="368300"/>
                  </a:lnTo>
                  <a:lnTo>
                    <a:pt x="279400" y="415925"/>
                  </a:lnTo>
                  <a:lnTo>
                    <a:pt x="279400" y="457200"/>
                  </a:lnTo>
                  <a:lnTo>
                    <a:pt x="279400" y="488950"/>
                  </a:lnTo>
                  <a:lnTo>
                    <a:pt x="333375" y="600075"/>
                  </a:lnTo>
                  <a:lnTo>
                    <a:pt x="346075" y="622300"/>
                  </a:lnTo>
                  <a:lnTo>
                    <a:pt x="285750" y="641350"/>
                  </a:lnTo>
                  <a:lnTo>
                    <a:pt x="225425" y="581025"/>
                  </a:lnTo>
                  <a:lnTo>
                    <a:pt x="184150" y="631825"/>
                  </a:lnTo>
                  <a:lnTo>
                    <a:pt x="314325" y="742950"/>
                  </a:lnTo>
                  <a:lnTo>
                    <a:pt x="352425" y="714375"/>
                  </a:lnTo>
                  <a:lnTo>
                    <a:pt x="403225" y="704850"/>
                  </a:lnTo>
                  <a:lnTo>
                    <a:pt x="469900" y="714375"/>
                  </a:lnTo>
                  <a:lnTo>
                    <a:pt x="615950" y="663575"/>
                  </a:lnTo>
                  <a:lnTo>
                    <a:pt x="803275" y="596900"/>
                  </a:lnTo>
                  <a:lnTo>
                    <a:pt x="911225" y="654050"/>
                  </a:lnTo>
                  <a:lnTo>
                    <a:pt x="1016000" y="736600"/>
                  </a:lnTo>
                  <a:lnTo>
                    <a:pt x="1092200" y="685800"/>
                  </a:lnTo>
                  <a:lnTo>
                    <a:pt x="1171575" y="720725"/>
                  </a:lnTo>
                  <a:lnTo>
                    <a:pt x="1200150" y="727075"/>
                  </a:lnTo>
                  <a:lnTo>
                    <a:pt x="1203325" y="812800"/>
                  </a:lnTo>
                  <a:lnTo>
                    <a:pt x="1219200" y="847725"/>
                  </a:lnTo>
                  <a:lnTo>
                    <a:pt x="1238250" y="873125"/>
                  </a:lnTo>
                  <a:lnTo>
                    <a:pt x="1231900" y="952500"/>
                  </a:lnTo>
                  <a:lnTo>
                    <a:pt x="1212850" y="996950"/>
                  </a:lnTo>
                  <a:lnTo>
                    <a:pt x="1209675" y="1025525"/>
                  </a:lnTo>
                  <a:lnTo>
                    <a:pt x="1282700" y="1031875"/>
                  </a:lnTo>
                  <a:lnTo>
                    <a:pt x="1311275" y="1019175"/>
                  </a:lnTo>
                  <a:lnTo>
                    <a:pt x="1352550" y="1000125"/>
                  </a:lnTo>
                  <a:lnTo>
                    <a:pt x="1425575" y="1035050"/>
                  </a:lnTo>
                  <a:lnTo>
                    <a:pt x="1457325" y="990600"/>
                  </a:lnTo>
                  <a:lnTo>
                    <a:pt x="1555750" y="987425"/>
                  </a:lnTo>
                  <a:lnTo>
                    <a:pt x="1616075" y="1041400"/>
                  </a:lnTo>
                  <a:lnTo>
                    <a:pt x="1676400" y="971550"/>
                  </a:lnTo>
                  <a:lnTo>
                    <a:pt x="1763712" y="1085852"/>
                  </a:lnTo>
                  <a:lnTo>
                    <a:pt x="1895475" y="1158875"/>
                  </a:lnTo>
                  <a:lnTo>
                    <a:pt x="1895475" y="1158875"/>
                  </a:lnTo>
                  <a:lnTo>
                    <a:pt x="1927225" y="1136650"/>
                  </a:lnTo>
                  <a:lnTo>
                    <a:pt x="1895475" y="977900"/>
                  </a:lnTo>
                  <a:lnTo>
                    <a:pt x="1778000" y="923925"/>
                  </a:lnTo>
                  <a:lnTo>
                    <a:pt x="1698625" y="847725"/>
                  </a:lnTo>
                  <a:lnTo>
                    <a:pt x="1679575" y="730250"/>
                  </a:lnTo>
                  <a:lnTo>
                    <a:pt x="1673225" y="690563"/>
                  </a:lnTo>
                  <a:lnTo>
                    <a:pt x="1694656" y="642938"/>
                  </a:lnTo>
                  <a:lnTo>
                    <a:pt x="1720850" y="569119"/>
                  </a:lnTo>
                  <a:lnTo>
                    <a:pt x="1747043" y="526256"/>
                  </a:lnTo>
                  <a:lnTo>
                    <a:pt x="1725613" y="481013"/>
                  </a:lnTo>
                  <a:lnTo>
                    <a:pt x="1716088" y="428625"/>
                  </a:lnTo>
                  <a:lnTo>
                    <a:pt x="1713706" y="347663"/>
                  </a:lnTo>
                  <a:lnTo>
                    <a:pt x="1713706" y="307181"/>
                  </a:lnTo>
                  <a:lnTo>
                    <a:pt x="1739900" y="257175"/>
                  </a:lnTo>
                  <a:lnTo>
                    <a:pt x="1680369" y="214313"/>
                  </a:lnTo>
                  <a:lnTo>
                    <a:pt x="1639888" y="235744"/>
                  </a:lnTo>
                  <a:lnTo>
                    <a:pt x="1558925" y="192881"/>
                  </a:lnTo>
                  <a:lnTo>
                    <a:pt x="1556544" y="142875"/>
                  </a:lnTo>
                  <a:lnTo>
                    <a:pt x="1563688" y="92869"/>
                  </a:lnTo>
                  <a:lnTo>
                    <a:pt x="1592263" y="73818"/>
                  </a:lnTo>
                  <a:lnTo>
                    <a:pt x="1537494" y="38101"/>
                  </a:lnTo>
                  <a:lnTo>
                    <a:pt x="1497013" y="0"/>
                  </a:lnTo>
                  <a:lnTo>
                    <a:pt x="1470819" y="40483"/>
                  </a:lnTo>
                  <a:lnTo>
                    <a:pt x="1411288" y="45245"/>
                  </a:lnTo>
                  <a:lnTo>
                    <a:pt x="1394619" y="61915"/>
                  </a:lnTo>
                  <a:lnTo>
                    <a:pt x="1349375" y="23814"/>
                  </a:lnTo>
                  <a:lnTo>
                    <a:pt x="1261269" y="145258"/>
                  </a:lnTo>
                  <a:lnTo>
                    <a:pt x="1208881" y="207171"/>
                  </a:lnTo>
                  <a:lnTo>
                    <a:pt x="1106488" y="123827"/>
                  </a:lnTo>
                  <a:lnTo>
                    <a:pt x="1068387" y="54771"/>
                  </a:lnTo>
                  <a:lnTo>
                    <a:pt x="1030288" y="83346"/>
                  </a:lnTo>
                  <a:lnTo>
                    <a:pt x="961231" y="47627"/>
                  </a:lnTo>
                  <a:lnTo>
                    <a:pt x="863600" y="128590"/>
                  </a:lnTo>
                  <a:lnTo>
                    <a:pt x="737394" y="126208"/>
                  </a:lnTo>
                  <a:lnTo>
                    <a:pt x="625475" y="195265"/>
                  </a:lnTo>
                  <a:lnTo>
                    <a:pt x="575469" y="188121"/>
                  </a:lnTo>
                  <a:lnTo>
                    <a:pt x="523081" y="211933"/>
                  </a:lnTo>
                  <a:lnTo>
                    <a:pt x="311150" y="92871"/>
                  </a:lnTo>
                  <a:lnTo>
                    <a:pt x="34925" y="9048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36000"/>
              </a:schemeClr>
            </a:solidFill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ysDot"/>
              <a:miter lim="800000"/>
            </a:ln>
            <a:effectLst/>
          </p:spPr>
          <p:txBody>
            <a:bodyPr anchor="ctr"/>
            <a:lstStyle/>
            <a:p>
              <a:pPr algn="ctr" defTabSz="514324">
                <a:defRPr/>
              </a:pPr>
              <a:endParaRPr lang="ru-RU" sz="600" kern="0">
                <a:solidFill>
                  <a:srgbClr val="A5A5A5">
                    <a:lumMod val="50000"/>
                  </a:srgb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4" name="Freeform 10"/>
            <p:cNvSpPr/>
            <p:nvPr/>
          </p:nvSpPr>
          <p:spPr>
            <a:xfrm>
              <a:off x="2163032" y="1718865"/>
              <a:ext cx="1578630" cy="1280796"/>
            </a:xfrm>
            <a:custGeom>
              <a:avLst/>
              <a:gdLst>
                <a:gd name="connsiteX0" fmla="*/ 450056 w 2245518"/>
                <a:gd name="connsiteY0" fmla="*/ 1964531 h 1964531"/>
                <a:gd name="connsiteX1" fmla="*/ 914400 w 2245518"/>
                <a:gd name="connsiteY1" fmla="*/ 1888331 h 1964531"/>
                <a:gd name="connsiteX2" fmla="*/ 921543 w 2245518"/>
                <a:gd name="connsiteY2" fmla="*/ 1835943 h 1964531"/>
                <a:gd name="connsiteX3" fmla="*/ 962025 w 2245518"/>
                <a:gd name="connsiteY3" fmla="*/ 1752600 h 1964531"/>
                <a:gd name="connsiteX4" fmla="*/ 1033462 w 2245518"/>
                <a:gd name="connsiteY4" fmla="*/ 1757362 h 1964531"/>
                <a:gd name="connsiteX5" fmla="*/ 1276350 w 2245518"/>
                <a:gd name="connsiteY5" fmla="*/ 1507331 h 1964531"/>
                <a:gd name="connsiteX6" fmla="*/ 1316831 w 2245518"/>
                <a:gd name="connsiteY6" fmla="*/ 1521618 h 1964531"/>
                <a:gd name="connsiteX7" fmla="*/ 1343025 w 2245518"/>
                <a:gd name="connsiteY7" fmla="*/ 1421606 h 1964531"/>
                <a:gd name="connsiteX8" fmla="*/ 1469231 w 2245518"/>
                <a:gd name="connsiteY8" fmla="*/ 1440656 h 1964531"/>
                <a:gd name="connsiteX9" fmla="*/ 1571625 w 2245518"/>
                <a:gd name="connsiteY9" fmla="*/ 1240631 h 1964531"/>
                <a:gd name="connsiteX10" fmla="*/ 1688306 w 2245518"/>
                <a:gd name="connsiteY10" fmla="*/ 1231106 h 1964531"/>
                <a:gd name="connsiteX11" fmla="*/ 1816893 w 2245518"/>
                <a:gd name="connsiteY11" fmla="*/ 1350168 h 1964531"/>
                <a:gd name="connsiteX12" fmla="*/ 1850231 w 2245518"/>
                <a:gd name="connsiteY12" fmla="*/ 1404937 h 1964531"/>
                <a:gd name="connsiteX13" fmla="*/ 1847850 w 2245518"/>
                <a:gd name="connsiteY13" fmla="*/ 1433512 h 1964531"/>
                <a:gd name="connsiteX14" fmla="*/ 1935956 w 2245518"/>
                <a:gd name="connsiteY14" fmla="*/ 1488281 h 1964531"/>
                <a:gd name="connsiteX15" fmla="*/ 2000250 w 2245518"/>
                <a:gd name="connsiteY15" fmla="*/ 1431131 h 1964531"/>
                <a:gd name="connsiteX16" fmla="*/ 2245518 w 2245518"/>
                <a:gd name="connsiteY16" fmla="*/ 1254918 h 1964531"/>
                <a:gd name="connsiteX17" fmla="*/ 2219325 w 2245518"/>
                <a:gd name="connsiteY17" fmla="*/ 1209675 h 1964531"/>
                <a:gd name="connsiteX18" fmla="*/ 2190750 w 2245518"/>
                <a:gd name="connsiteY18" fmla="*/ 1185862 h 1964531"/>
                <a:gd name="connsiteX19" fmla="*/ 2195512 w 2245518"/>
                <a:gd name="connsiteY19" fmla="*/ 1145381 h 1964531"/>
                <a:gd name="connsiteX20" fmla="*/ 2164556 w 2245518"/>
                <a:gd name="connsiteY20" fmla="*/ 1064418 h 1964531"/>
                <a:gd name="connsiteX21" fmla="*/ 2121693 w 2245518"/>
                <a:gd name="connsiteY21" fmla="*/ 1033462 h 1964531"/>
                <a:gd name="connsiteX22" fmla="*/ 1974056 w 2245518"/>
                <a:gd name="connsiteY22" fmla="*/ 952500 h 1964531"/>
                <a:gd name="connsiteX23" fmla="*/ 1997868 w 2245518"/>
                <a:gd name="connsiteY23" fmla="*/ 895350 h 1964531"/>
                <a:gd name="connsiteX24" fmla="*/ 1971675 w 2245518"/>
                <a:gd name="connsiteY24" fmla="*/ 871537 h 1964531"/>
                <a:gd name="connsiteX25" fmla="*/ 1921668 w 2245518"/>
                <a:gd name="connsiteY25" fmla="*/ 909637 h 1964531"/>
                <a:gd name="connsiteX26" fmla="*/ 1838325 w 2245518"/>
                <a:gd name="connsiteY26" fmla="*/ 828675 h 1964531"/>
                <a:gd name="connsiteX27" fmla="*/ 1862137 w 2245518"/>
                <a:gd name="connsiteY27" fmla="*/ 785812 h 1964531"/>
                <a:gd name="connsiteX28" fmla="*/ 1852612 w 2245518"/>
                <a:gd name="connsiteY28" fmla="*/ 688181 h 1964531"/>
                <a:gd name="connsiteX29" fmla="*/ 1950243 w 2245518"/>
                <a:gd name="connsiteY29" fmla="*/ 571500 h 1964531"/>
                <a:gd name="connsiteX30" fmla="*/ 1988343 w 2245518"/>
                <a:gd name="connsiteY30" fmla="*/ 547687 h 1964531"/>
                <a:gd name="connsiteX31" fmla="*/ 1952625 w 2245518"/>
                <a:gd name="connsiteY31" fmla="*/ 411956 h 1964531"/>
                <a:gd name="connsiteX32" fmla="*/ 1881187 w 2245518"/>
                <a:gd name="connsiteY32" fmla="*/ 290512 h 1964531"/>
                <a:gd name="connsiteX33" fmla="*/ 1874043 w 2245518"/>
                <a:gd name="connsiteY33" fmla="*/ 259556 h 1964531"/>
                <a:gd name="connsiteX34" fmla="*/ 1912143 w 2245518"/>
                <a:gd name="connsiteY34" fmla="*/ 238125 h 1964531"/>
                <a:gd name="connsiteX35" fmla="*/ 1850231 w 2245518"/>
                <a:gd name="connsiteY35" fmla="*/ 142875 h 1964531"/>
                <a:gd name="connsiteX36" fmla="*/ 1807368 w 2245518"/>
                <a:gd name="connsiteY36" fmla="*/ 183356 h 1964531"/>
                <a:gd name="connsiteX37" fmla="*/ 1809750 w 2245518"/>
                <a:gd name="connsiteY37" fmla="*/ 90487 h 1964531"/>
                <a:gd name="connsiteX38" fmla="*/ 1731168 w 2245518"/>
                <a:gd name="connsiteY38" fmla="*/ 97631 h 1964531"/>
                <a:gd name="connsiteX39" fmla="*/ 1716881 w 2245518"/>
                <a:gd name="connsiteY39" fmla="*/ 140493 h 1964531"/>
                <a:gd name="connsiteX40" fmla="*/ 1697831 w 2245518"/>
                <a:gd name="connsiteY40" fmla="*/ 180975 h 1964531"/>
                <a:gd name="connsiteX41" fmla="*/ 1688306 w 2245518"/>
                <a:gd name="connsiteY41" fmla="*/ 219075 h 1964531"/>
                <a:gd name="connsiteX42" fmla="*/ 1633537 w 2245518"/>
                <a:gd name="connsiteY42" fmla="*/ 266700 h 1964531"/>
                <a:gd name="connsiteX43" fmla="*/ 1485900 w 2245518"/>
                <a:gd name="connsiteY43" fmla="*/ 273843 h 1964531"/>
                <a:gd name="connsiteX44" fmla="*/ 1445418 w 2245518"/>
                <a:gd name="connsiteY44" fmla="*/ 271462 h 1964531"/>
                <a:gd name="connsiteX45" fmla="*/ 1412081 w 2245518"/>
                <a:gd name="connsiteY45" fmla="*/ 216693 h 1964531"/>
                <a:gd name="connsiteX46" fmla="*/ 1376362 w 2245518"/>
                <a:gd name="connsiteY46" fmla="*/ 216693 h 1964531"/>
                <a:gd name="connsiteX47" fmla="*/ 1366837 w 2245518"/>
                <a:gd name="connsiteY47" fmla="*/ 254793 h 1964531"/>
                <a:gd name="connsiteX48" fmla="*/ 1352550 w 2245518"/>
                <a:gd name="connsiteY48" fmla="*/ 302418 h 1964531"/>
                <a:gd name="connsiteX49" fmla="*/ 1309687 w 2245518"/>
                <a:gd name="connsiteY49" fmla="*/ 311943 h 1964531"/>
                <a:gd name="connsiteX50" fmla="*/ 1266825 w 2245518"/>
                <a:gd name="connsiteY50" fmla="*/ 280987 h 1964531"/>
                <a:gd name="connsiteX51" fmla="*/ 1238250 w 2245518"/>
                <a:gd name="connsiteY51" fmla="*/ 252412 h 1964531"/>
                <a:gd name="connsiteX52" fmla="*/ 1178718 w 2245518"/>
                <a:gd name="connsiteY52" fmla="*/ 266700 h 1964531"/>
                <a:gd name="connsiteX53" fmla="*/ 1088231 w 2245518"/>
                <a:gd name="connsiteY53" fmla="*/ 192881 h 1964531"/>
                <a:gd name="connsiteX54" fmla="*/ 1095375 w 2245518"/>
                <a:gd name="connsiteY54" fmla="*/ 111918 h 1964531"/>
                <a:gd name="connsiteX55" fmla="*/ 1000125 w 2245518"/>
                <a:gd name="connsiteY55" fmla="*/ 85725 h 1964531"/>
                <a:gd name="connsiteX56" fmla="*/ 947737 w 2245518"/>
                <a:gd name="connsiteY56" fmla="*/ 76200 h 1964531"/>
                <a:gd name="connsiteX57" fmla="*/ 902493 w 2245518"/>
                <a:gd name="connsiteY57" fmla="*/ 133350 h 1964531"/>
                <a:gd name="connsiteX58" fmla="*/ 850106 w 2245518"/>
                <a:gd name="connsiteY58" fmla="*/ 150018 h 1964531"/>
                <a:gd name="connsiteX59" fmla="*/ 816768 w 2245518"/>
                <a:gd name="connsiteY59" fmla="*/ 97631 h 1964531"/>
                <a:gd name="connsiteX60" fmla="*/ 797718 w 2245518"/>
                <a:gd name="connsiteY60" fmla="*/ 80962 h 1964531"/>
                <a:gd name="connsiteX61" fmla="*/ 685800 w 2245518"/>
                <a:gd name="connsiteY61" fmla="*/ 66675 h 1964531"/>
                <a:gd name="connsiteX62" fmla="*/ 645318 w 2245518"/>
                <a:gd name="connsiteY62" fmla="*/ 92868 h 1964531"/>
                <a:gd name="connsiteX63" fmla="*/ 597693 w 2245518"/>
                <a:gd name="connsiteY63" fmla="*/ 107156 h 1964531"/>
                <a:gd name="connsiteX64" fmla="*/ 569118 w 2245518"/>
                <a:gd name="connsiteY64" fmla="*/ 154781 h 1964531"/>
                <a:gd name="connsiteX65" fmla="*/ 528637 w 2245518"/>
                <a:gd name="connsiteY65" fmla="*/ 176212 h 1964531"/>
                <a:gd name="connsiteX66" fmla="*/ 471487 w 2245518"/>
                <a:gd name="connsiteY66" fmla="*/ 188118 h 1964531"/>
                <a:gd name="connsiteX67" fmla="*/ 421481 w 2245518"/>
                <a:gd name="connsiteY67" fmla="*/ 135731 h 1964531"/>
                <a:gd name="connsiteX68" fmla="*/ 350043 w 2245518"/>
                <a:gd name="connsiteY68" fmla="*/ 59531 h 1964531"/>
                <a:gd name="connsiteX69" fmla="*/ 300037 w 2245518"/>
                <a:gd name="connsiteY69" fmla="*/ 0 h 1964531"/>
                <a:gd name="connsiteX70" fmla="*/ 240506 w 2245518"/>
                <a:gd name="connsiteY70" fmla="*/ 52387 h 1964531"/>
                <a:gd name="connsiteX71" fmla="*/ 278606 w 2245518"/>
                <a:gd name="connsiteY71" fmla="*/ 85725 h 1964531"/>
                <a:gd name="connsiteX72" fmla="*/ 285750 w 2245518"/>
                <a:gd name="connsiteY72" fmla="*/ 119062 h 1964531"/>
                <a:gd name="connsiteX73" fmla="*/ 285750 w 2245518"/>
                <a:gd name="connsiteY73" fmla="*/ 140493 h 1964531"/>
                <a:gd name="connsiteX74" fmla="*/ 264318 w 2245518"/>
                <a:gd name="connsiteY74" fmla="*/ 169068 h 1964531"/>
                <a:gd name="connsiteX75" fmla="*/ 238125 w 2245518"/>
                <a:gd name="connsiteY75" fmla="*/ 178593 h 1964531"/>
                <a:gd name="connsiteX76" fmla="*/ 269081 w 2245518"/>
                <a:gd name="connsiteY76" fmla="*/ 188118 h 1964531"/>
                <a:gd name="connsiteX77" fmla="*/ 245268 w 2245518"/>
                <a:gd name="connsiteY77" fmla="*/ 214312 h 1964531"/>
                <a:gd name="connsiteX78" fmla="*/ 254793 w 2245518"/>
                <a:gd name="connsiteY78" fmla="*/ 292893 h 1964531"/>
                <a:gd name="connsiteX79" fmla="*/ 269081 w 2245518"/>
                <a:gd name="connsiteY79" fmla="*/ 352425 h 1964531"/>
                <a:gd name="connsiteX80" fmla="*/ 171450 w 2245518"/>
                <a:gd name="connsiteY80" fmla="*/ 447675 h 1964531"/>
                <a:gd name="connsiteX81" fmla="*/ 88106 w 2245518"/>
                <a:gd name="connsiteY81" fmla="*/ 454818 h 1964531"/>
                <a:gd name="connsiteX82" fmla="*/ 40481 w 2245518"/>
                <a:gd name="connsiteY82" fmla="*/ 469106 h 1964531"/>
                <a:gd name="connsiteX83" fmla="*/ 0 w 2245518"/>
                <a:gd name="connsiteY83" fmla="*/ 531018 h 1964531"/>
                <a:gd name="connsiteX84" fmla="*/ 59531 w 2245518"/>
                <a:gd name="connsiteY84" fmla="*/ 583406 h 1964531"/>
                <a:gd name="connsiteX85" fmla="*/ 95250 w 2245518"/>
                <a:gd name="connsiteY85" fmla="*/ 602456 h 1964531"/>
                <a:gd name="connsiteX86" fmla="*/ 61912 w 2245518"/>
                <a:gd name="connsiteY86" fmla="*/ 619125 h 1964531"/>
                <a:gd name="connsiteX87" fmla="*/ 61912 w 2245518"/>
                <a:gd name="connsiteY87" fmla="*/ 726281 h 1964531"/>
                <a:gd name="connsiteX88" fmla="*/ 147637 w 2245518"/>
                <a:gd name="connsiteY88" fmla="*/ 766762 h 1964531"/>
                <a:gd name="connsiteX89" fmla="*/ 185737 w 2245518"/>
                <a:gd name="connsiteY89" fmla="*/ 745331 h 1964531"/>
                <a:gd name="connsiteX90" fmla="*/ 245268 w 2245518"/>
                <a:gd name="connsiteY90" fmla="*/ 792956 h 1964531"/>
                <a:gd name="connsiteX91" fmla="*/ 207168 w 2245518"/>
                <a:gd name="connsiteY91" fmla="*/ 835818 h 1964531"/>
                <a:gd name="connsiteX92" fmla="*/ 223837 w 2245518"/>
                <a:gd name="connsiteY92" fmla="*/ 997743 h 1964531"/>
                <a:gd name="connsiteX93" fmla="*/ 250031 w 2245518"/>
                <a:gd name="connsiteY93" fmla="*/ 1057275 h 1964531"/>
                <a:gd name="connsiteX94" fmla="*/ 173831 w 2245518"/>
                <a:gd name="connsiteY94" fmla="*/ 1226343 h 1964531"/>
                <a:gd name="connsiteX95" fmla="*/ 197643 w 2245518"/>
                <a:gd name="connsiteY95" fmla="*/ 1381125 h 1964531"/>
                <a:gd name="connsiteX96" fmla="*/ 290512 w 2245518"/>
                <a:gd name="connsiteY96" fmla="*/ 1459706 h 1964531"/>
                <a:gd name="connsiteX97" fmla="*/ 400050 w 2245518"/>
                <a:gd name="connsiteY97" fmla="*/ 1516856 h 1964531"/>
                <a:gd name="connsiteX98" fmla="*/ 428625 w 2245518"/>
                <a:gd name="connsiteY98" fmla="*/ 1669256 h 1964531"/>
                <a:gd name="connsiteX99" fmla="*/ 450056 w 2245518"/>
                <a:gd name="connsiteY99" fmla="*/ 1964531 h 1964531"/>
                <a:gd name="connsiteX0" fmla="*/ 450056 w 2245518"/>
                <a:gd name="connsiteY0" fmla="*/ 1964531 h 1964531"/>
                <a:gd name="connsiteX1" fmla="*/ 914400 w 2245518"/>
                <a:gd name="connsiteY1" fmla="*/ 1888331 h 1964531"/>
                <a:gd name="connsiteX2" fmla="*/ 921543 w 2245518"/>
                <a:gd name="connsiteY2" fmla="*/ 1835943 h 1964531"/>
                <a:gd name="connsiteX3" fmla="*/ 962025 w 2245518"/>
                <a:gd name="connsiteY3" fmla="*/ 1752600 h 1964531"/>
                <a:gd name="connsiteX4" fmla="*/ 1033462 w 2245518"/>
                <a:gd name="connsiteY4" fmla="*/ 1757362 h 1964531"/>
                <a:gd name="connsiteX5" fmla="*/ 1276350 w 2245518"/>
                <a:gd name="connsiteY5" fmla="*/ 1507331 h 1964531"/>
                <a:gd name="connsiteX6" fmla="*/ 1316831 w 2245518"/>
                <a:gd name="connsiteY6" fmla="*/ 1521618 h 1964531"/>
                <a:gd name="connsiteX7" fmla="*/ 1343025 w 2245518"/>
                <a:gd name="connsiteY7" fmla="*/ 1421606 h 1964531"/>
                <a:gd name="connsiteX8" fmla="*/ 1469231 w 2245518"/>
                <a:gd name="connsiteY8" fmla="*/ 1440656 h 1964531"/>
                <a:gd name="connsiteX9" fmla="*/ 1571625 w 2245518"/>
                <a:gd name="connsiteY9" fmla="*/ 1240631 h 1964531"/>
                <a:gd name="connsiteX10" fmla="*/ 1688306 w 2245518"/>
                <a:gd name="connsiteY10" fmla="*/ 1231106 h 1964531"/>
                <a:gd name="connsiteX11" fmla="*/ 1816893 w 2245518"/>
                <a:gd name="connsiteY11" fmla="*/ 1350168 h 1964531"/>
                <a:gd name="connsiteX12" fmla="*/ 1850231 w 2245518"/>
                <a:gd name="connsiteY12" fmla="*/ 1404937 h 1964531"/>
                <a:gd name="connsiteX13" fmla="*/ 1847850 w 2245518"/>
                <a:gd name="connsiteY13" fmla="*/ 1433512 h 1964531"/>
                <a:gd name="connsiteX14" fmla="*/ 1935956 w 2245518"/>
                <a:gd name="connsiteY14" fmla="*/ 1488281 h 1964531"/>
                <a:gd name="connsiteX15" fmla="*/ 2000250 w 2245518"/>
                <a:gd name="connsiteY15" fmla="*/ 1431131 h 1964531"/>
                <a:gd name="connsiteX16" fmla="*/ 2245518 w 2245518"/>
                <a:gd name="connsiteY16" fmla="*/ 1254918 h 1964531"/>
                <a:gd name="connsiteX17" fmla="*/ 2219325 w 2245518"/>
                <a:gd name="connsiteY17" fmla="*/ 1209675 h 1964531"/>
                <a:gd name="connsiteX18" fmla="*/ 2190750 w 2245518"/>
                <a:gd name="connsiteY18" fmla="*/ 1185862 h 1964531"/>
                <a:gd name="connsiteX19" fmla="*/ 2195512 w 2245518"/>
                <a:gd name="connsiteY19" fmla="*/ 1145381 h 1964531"/>
                <a:gd name="connsiteX20" fmla="*/ 2164556 w 2245518"/>
                <a:gd name="connsiteY20" fmla="*/ 1064418 h 1964531"/>
                <a:gd name="connsiteX21" fmla="*/ 2121693 w 2245518"/>
                <a:gd name="connsiteY21" fmla="*/ 1033462 h 1964531"/>
                <a:gd name="connsiteX22" fmla="*/ 1974056 w 2245518"/>
                <a:gd name="connsiteY22" fmla="*/ 952500 h 1964531"/>
                <a:gd name="connsiteX23" fmla="*/ 1997868 w 2245518"/>
                <a:gd name="connsiteY23" fmla="*/ 895350 h 1964531"/>
                <a:gd name="connsiteX24" fmla="*/ 1971675 w 2245518"/>
                <a:gd name="connsiteY24" fmla="*/ 871537 h 1964531"/>
                <a:gd name="connsiteX25" fmla="*/ 1921668 w 2245518"/>
                <a:gd name="connsiteY25" fmla="*/ 909637 h 1964531"/>
                <a:gd name="connsiteX26" fmla="*/ 1838325 w 2245518"/>
                <a:gd name="connsiteY26" fmla="*/ 828675 h 1964531"/>
                <a:gd name="connsiteX27" fmla="*/ 1862137 w 2245518"/>
                <a:gd name="connsiteY27" fmla="*/ 785812 h 1964531"/>
                <a:gd name="connsiteX28" fmla="*/ 1852612 w 2245518"/>
                <a:gd name="connsiteY28" fmla="*/ 688181 h 1964531"/>
                <a:gd name="connsiteX29" fmla="*/ 1950243 w 2245518"/>
                <a:gd name="connsiteY29" fmla="*/ 571500 h 1964531"/>
                <a:gd name="connsiteX30" fmla="*/ 1988343 w 2245518"/>
                <a:gd name="connsiteY30" fmla="*/ 547687 h 1964531"/>
                <a:gd name="connsiteX31" fmla="*/ 1952625 w 2245518"/>
                <a:gd name="connsiteY31" fmla="*/ 411956 h 1964531"/>
                <a:gd name="connsiteX32" fmla="*/ 1881187 w 2245518"/>
                <a:gd name="connsiteY32" fmla="*/ 290512 h 1964531"/>
                <a:gd name="connsiteX33" fmla="*/ 1874043 w 2245518"/>
                <a:gd name="connsiteY33" fmla="*/ 259556 h 1964531"/>
                <a:gd name="connsiteX34" fmla="*/ 1912143 w 2245518"/>
                <a:gd name="connsiteY34" fmla="*/ 238125 h 1964531"/>
                <a:gd name="connsiteX35" fmla="*/ 1850231 w 2245518"/>
                <a:gd name="connsiteY35" fmla="*/ 142875 h 1964531"/>
                <a:gd name="connsiteX36" fmla="*/ 1807368 w 2245518"/>
                <a:gd name="connsiteY36" fmla="*/ 183356 h 1964531"/>
                <a:gd name="connsiteX37" fmla="*/ 1809750 w 2245518"/>
                <a:gd name="connsiteY37" fmla="*/ 90487 h 1964531"/>
                <a:gd name="connsiteX38" fmla="*/ 1731168 w 2245518"/>
                <a:gd name="connsiteY38" fmla="*/ 97631 h 1964531"/>
                <a:gd name="connsiteX39" fmla="*/ 1716881 w 2245518"/>
                <a:gd name="connsiteY39" fmla="*/ 140493 h 1964531"/>
                <a:gd name="connsiteX40" fmla="*/ 1697831 w 2245518"/>
                <a:gd name="connsiteY40" fmla="*/ 180975 h 1964531"/>
                <a:gd name="connsiteX41" fmla="*/ 1688306 w 2245518"/>
                <a:gd name="connsiteY41" fmla="*/ 219075 h 1964531"/>
                <a:gd name="connsiteX42" fmla="*/ 1633537 w 2245518"/>
                <a:gd name="connsiteY42" fmla="*/ 266700 h 1964531"/>
                <a:gd name="connsiteX43" fmla="*/ 1485900 w 2245518"/>
                <a:gd name="connsiteY43" fmla="*/ 273843 h 1964531"/>
                <a:gd name="connsiteX44" fmla="*/ 1445418 w 2245518"/>
                <a:gd name="connsiteY44" fmla="*/ 271462 h 1964531"/>
                <a:gd name="connsiteX45" fmla="*/ 1412081 w 2245518"/>
                <a:gd name="connsiteY45" fmla="*/ 216693 h 1964531"/>
                <a:gd name="connsiteX46" fmla="*/ 1376362 w 2245518"/>
                <a:gd name="connsiteY46" fmla="*/ 216693 h 1964531"/>
                <a:gd name="connsiteX47" fmla="*/ 1366837 w 2245518"/>
                <a:gd name="connsiteY47" fmla="*/ 254793 h 1964531"/>
                <a:gd name="connsiteX48" fmla="*/ 1352550 w 2245518"/>
                <a:gd name="connsiteY48" fmla="*/ 302418 h 1964531"/>
                <a:gd name="connsiteX49" fmla="*/ 1309687 w 2245518"/>
                <a:gd name="connsiteY49" fmla="*/ 311943 h 1964531"/>
                <a:gd name="connsiteX50" fmla="*/ 1266825 w 2245518"/>
                <a:gd name="connsiteY50" fmla="*/ 280987 h 1964531"/>
                <a:gd name="connsiteX51" fmla="*/ 1238250 w 2245518"/>
                <a:gd name="connsiteY51" fmla="*/ 252412 h 1964531"/>
                <a:gd name="connsiteX52" fmla="*/ 1178718 w 2245518"/>
                <a:gd name="connsiteY52" fmla="*/ 266700 h 1964531"/>
                <a:gd name="connsiteX53" fmla="*/ 1088231 w 2245518"/>
                <a:gd name="connsiteY53" fmla="*/ 192881 h 1964531"/>
                <a:gd name="connsiteX54" fmla="*/ 1095375 w 2245518"/>
                <a:gd name="connsiteY54" fmla="*/ 111918 h 1964531"/>
                <a:gd name="connsiteX55" fmla="*/ 1000125 w 2245518"/>
                <a:gd name="connsiteY55" fmla="*/ 85725 h 1964531"/>
                <a:gd name="connsiteX56" fmla="*/ 947737 w 2245518"/>
                <a:gd name="connsiteY56" fmla="*/ 76200 h 1964531"/>
                <a:gd name="connsiteX57" fmla="*/ 902493 w 2245518"/>
                <a:gd name="connsiteY57" fmla="*/ 133350 h 1964531"/>
                <a:gd name="connsiteX58" fmla="*/ 850106 w 2245518"/>
                <a:gd name="connsiteY58" fmla="*/ 150018 h 1964531"/>
                <a:gd name="connsiteX59" fmla="*/ 816768 w 2245518"/>
                <a:gd name="connsiteY59" fmla="*/ 97631 h 1964531"/>
                <a:gd name="connsiteX60" fmla="*/ 797718 w 2245518"/>
                <a:gd name="connsiteY60" fmla="*/ 80962 h 1964531"/>
                <a:gd name="connsiteX61" fmla="*/ 685800 w 2245518"/>
                <a:gd name="connsiteY61" fmla="*/ 66675 h 1964531"/>
                <a:gd name="connsiteX62" fmla="*/ 645318 w 2245518"/>
                <a:gd name="connsiteY62" fmla="*/ 92868 h 1964531"/>
                <a:gd name="connsiteX63" fmla="*/ 597693 w 2245518"/>
                <a:gd name="connsiteY63" fmla="*/ 107156 h 1964531"/>
                <a:gd name="connsiteX64" fmla="*/ 569118 w 2245518"/>
                <a:gd name="connsiteY64" fmla="*/ 154781 h 1964531"/>
                <a:gd name="connsiteX65" fmla="*/ 528637 w 2245518"/>
                <a:gd name="connsiteY65" fmla="*/ 176212 h 1964531"/>
                <a:gd name="connsiteX66" fmla="*/ 471487 w 2245518"/>
                <a:gd name="connsiteY66" fmla="*/ 188118 h 1964531"/>
                <a:gd name="connsiteX67" fmla="*/ 421481 w 2245518"/>
                <a:gd name="connsiteY67" fmla="*/ 135731 h 1964531"/>
                <a:gd name="connsiteX68" fmla="*/ 350043 w 2245518"/>
                <a:gd name="connsiteY68" fmla="*/ 59531 h 1964531"/>
                <a:gd name="connsiteX69" fmla="*/ 300037 w 2245518"/>
                <a:gd name="connsiteY69" fmla="*/ 0 h 1964531"/>
                <a:gd name="connsiteX70" fmla="*/ 240506 w 2245518"/>
                <a:gd name="connsiteY70" fmla="*/ 52387 h 1964531"/>
                <a:gd name="connsiteX71" fmla="*/ 278606 w 2245518"/>
                <a:gd name="connsiteY71" fmla="*/ 85725 h 1964531"/>
                <a:gd name="connsiteX72" fmla="*/ 285750 w 2245518"/>
                <a:gd name="connsiteY72" fmla="*/ 119062 h 1964531"/>
                <a:gd name="connsiteX73" fmla="*/ 285750 w 2245518"/>
                <a:gd name="connsiteY73" fmla="*/ 140493 h 1964531"/>
                <a:gd name="connsiteX74" fmla="*/ 264318 w 2245518"/>
                <a:gd name="connsiteY74" fmla="*/ 169068 h 1964531"/>
                <a:gd name="connsiteX75" fmla="*/ 238125 w 2245518"/>
                <a:gd name="connsiteY75" fmla="*/ 178593 h 1964531"/>
                <a:gd name="connsiteX76" fmla="*/ 269081 w 2245518"/>
                <a:gd name="connsiteY76" fmla="*/ 188118 h 1964531"/>
                <a:gd name="connsiteX77" fmla="*/ 245268 w 2245518"/>
                <a:gd name="connsiteY77" fmla="*/ 214312 h 1964531"/>
                <a:gd name="connsiteX78" fmla="*/ 254793 w 2245518"/>
                <a:gd name="connsiteY78" fmla="*/ 292893 h 1964531"/>
                <a:gd name="connsiteX79" fmla="*/ 269081 w 2245518"/>
                <a:gd name="connsiteY79" fmla="*/ 352425 h 1964531"/>
                <a:gd name="connsiteX80" fmla="*/ 171450 w 2245518"/>
                <a:gd name="connsiteY80" fmla="*/ 447675 h 1964531"/>
                <a:gd name="connsiteX81" fmla="*/ 88106 w 2245518"/>
                <a:gd name="connsiteY81" fmla="*/ 454818 h 1964531"/>
                <a:gd name="connsiteX82" fmla="*/ 40481 w 2245518"/>
                <a:gd name="connsiteY82" fmla="*/ 469106 h 1964531"/>
                <a:gd name="connsiteX83" fmla="*/ 0 w 2245518"/>
                <a:gd name="connsiteY83" fmla="*/ 531018 h 1964531"/>
                <a:gd name="connsiteX84" fmla="*/ 59531 w 2245518"/>
                <a:gd name="connsiteY84" fmla="*/ 583406 h 1964531"/>
                <a:gd name="connsiteX85" fmla="*/ 95250 w 2245518"/>
                <a:gd name="connsiteY85" fmla="*/ 602456 h 1964531"/>
                <a:gd name="connsiteX86" fmla="*/ 61912 w 2245518"/>
                <a:gd name="connsiteY86" fmla="*/ 619125 h 1964531"/>
                <a:gd name="connsiteX87" fmla="*/ 61912 w 2245518"/>
                <a:gd name="connsiteY87" fmla="*/ 726281 h 1964531"/>
                <a:gd name="connsiteX88" fmla="*/ 147637 w 2245518"/>
                <a:gd name="connsiteY88" fmla="*/ 766762 h 1964531"/>
                <a:gd name="connsiteX89" fmla="*/ 185737 w 2245518"/>
                <a:gd name="connsiteY89" fmla="*/ 745331 h 1964531"/>
                <a:gd name="connsiteX90" fmla="*/ 245268 w 2245518"/>
                <a:gd name="connsiteY90" fmla="*/ 792956 h 1964531"/>
                <a:gd name="connsiteX91" fmla="*/ 207168 w 2245518"/>
                <a:gd name="connsiteY91" fmla="*/ 835818 h 1964531"/>
                <a:gd name="connsiteX92" fmla="*/ 223837 w 2245518"/>
                <a:gd name="connsiteY92" fmla="*/ 997743 h 1964531"/>
                <a:gd name="connsiteX93" fmla="*/ 250031 w 2245518"/>
                <a:gd name="connsiteY93" fmla="*/ 1057275 h 1964531"/>
                <a:gd name="connsiteX94" fmla="*/ 228600 w 2245518"/>
                <a:gd name="connsiteY94" fmla="*/ 1102518 h 1964531"/>
                <a:gd name="connsiteX95" fmla="*/ 173831 w 2245518"/>
                <a:gd name="connsiteY95" fmla="*/ 1226343 h 1964531"/>
                <a:gd name="connsiteX96" fmla="*/ 197643 w 2245518"/>
                <a:gd name="connsiteY96" fmla="*/ 1381125 h 1964531"/>
                <a:gd name="connsiteX97" fmla="*/ 290512 w 2245518"/>
                <a:gd name="connsiteY97" fmla="*/ 1459706 h 1964531"/>
                <a:gd name="connsiteX98" fmla="*/ 400050 w 2245518"/>
                <a:gd name="connsiteY98" fmla="*/ 1516856 h 1964531"/>
                <a:gd name="connsiteX99" fmla="*/ 428625 w 2245518"/>
                <a:gd name="connsiteY99" fmla="*/ 1669256 h 1964531"/>
                <a:gd name="connsiteX100" fmla="*/ 450056 w 2245518"/>
                <a:gd name="connsiteY100" fmla="*/ 1964531 h 1964531"/>
                <a:gd name="connsiteX0" fmla="*/ 450056 w 2245518"/>
                <a:gd name="connsiteY0" fmla="*/ 1964531 h 1964531"/>
                <a:gd name="connsiteX1" fmla="*/ 914400 w 2245518"/>
                <a:gd name="connsiteY1" fmla="*/ 1888331 h 1964531"/>
                <a:gd name="connsiteX2" fmla="*/ 921543 w 2245518"/>
                <a:gd name="connsiteY2" fmla="*/ 1835943 h 1964531"/>
                <a:gd name="connsiteX3" fmla="*/ 962025 w 2245518"/>
                <a:gd name="connsiteY3" fmla="*/ 1752600 h 1964531"/>
                <a:gd name="connsiteX4" fmla="*/ 1033462 w 2245518"/>
                <a:gd name="connsiteY4" fmla="*/ 1757362 h 1964531"/>
                <a:gd name="connsiteX5" fmla="*/ 1276350 w 2245518"/>
                <a:gd name="connsiteY5" fmla="*/ 1507331 h 1964531"/>
                <a:gd name="connsiteX6" fmla="*/ 1316831 w 2245518"/>
                <a:gd name="connsiteY6" fmla="*/ 1521618 h 1964531"/>
                <a:gd name="connsiteX7" fmla="*/ 1343025 w 2245518"/>
                <a:gd name="connsiteY7" fmla="*/ 1421606 h 1964531"/>
                <a:gd name="connsiteX8" fmla="*/ 1469231 w 2245518"/>
                <a:gd name="connsiteY8" fmla="*/ 1440656 h 1964531"/>
                <a:gd name="connsiteX9" fmla="*/ 1571625 w 2245518"/>
                <a:gd name="connsiteY9" fmla="*/ 1240631 h 1964531"/>
                <a:gd name="connsiteX10" fmla="*/ 1688306 w 2245518"/>
                <a:gd name="connsiteY10" fmla="*/ 1231106 h 1964531"/>
                <a:gd name="connsiteX11" fmla="*/ 1816893 w 2245518"/>
                <a:gd name="connsiteY11" fmla="*/ 1350168 h 1964531"/>
                <a:gd name="connsiteX12" fmla="*/ 1850231 w 2245518"/>
                <a:gd name="connsiteY12" fmla="*/ 1404937 h 1964531"/>
                <a:gd name="connsiteX13" fmla="*/ 1847850 w 2245518"/>
                <a:gd name="connsiteY13" fmla="*/ 1433512 h 1964531"/>
                <a:gd name="connsiteX14" fmla="*/ 1935956 w 2245518"/>
                <a:gd name="connsiteY14" fmla="*/ 1488281 h 1964531"/>
                <a:gd name="connsiteX15" fmla="*/ 2000250 w 2245518"/>
                <a:gd name="connsiteY15" fmla="*/ 1431131 h 1964531"/>
                <a:gd name="connsiteX16" fmla="*/ 2245518 w 2245518"/>
                <a:gd name="connsiteY16" fmla="*/ 1254918 h 1964531"/>
                <a:gd name="connsiteX17" fmla="*/ 2219325 w 2245518"/>
                <a:gd name="connsiteY17" fmla="*/ 1209675 h 1964531"/>
                <a:gd name="connsiteX18" fmla="*/ 2190750 w 2245518"/>
                <a:gd name="connsiteY18" fmla="*/ 1185862 h 1964531"/>
                <a:gd name="connsiteX19" fmla="*/ 2195512 w 2245518"/>
                <a:gd name="connsiteY19" fmla="*/ 1145381 h 1964531"/>
                <a:gd name="connsiteX20" fmla="*/ 2164556 w 2245518"/>
                <a:gd name="connsiteY20" fmla="*/ 1064418 h 1964531"/>
                <a:gd name="connsiteX21" fmla="*/ 2121693 w 2245518"/>
                <a:gd name="connsiteY21" fmla="*/ 1033462 h 1964531"/>
                <a:gd name="connsiteX22" fmla="*/ 1974056 w 2245518"/>
                <a:gd name="connsiteY22" fmla="*/ 952500 h 1964531"/>
                <a:gd name="connsiteX23" fmla="*/ 1997868 w 2245518"/>
                <a:gd name="connsiteY23" fmla="*/ 895350 h 1964531"/>
                <a:gd name="connsiteX24" fmla="*/ 1971675 w 2245518"/>
                <a:gd name="connsiteY24" fmla="*/ 871537 h 1964531"/>
                <a:gd name="connsiteX25" fmla="*/ 1921668 w 2245518"/>
                <a:gd name="connsiteY25" fmla="*/ 909637 h 1964531"/>
                <a:gd name="connsiteX26" fmla="*/ 1838325 w 2245518"/>
                <a:gd name="connsiteY26" fmla="*/ 828675 h 1964531"/>
                <a:gd name="connsiteX27" fmla="*/ 1862137 w 2245518"/>
                <a:gd name="connsiteY27" fmla="*/ 785812 h 1964531"/>
                <a:gd name="connsiteX28" fmla="*/ 1852612 w 2245518"/>
                <a:gd name="connsiteY28" fmla="*/ 688181 h 1964531"/>
                <a:gd name="connsiteX29" fmla="*/ 1950243 w 2245518"/>
                <a:gd name="connsiteY29" fmla="*/ 571500 h 1964531"/>
                <a:gd name="connsiteX30" fmla="*/ 1988343 w 2245518"/>
                <a:gd name="connsiteY30" fmla="*/ 547687 h 1964531"/>
                <a:gd name="connsiteX31" fmla="*/ 1952625 w 2245518"/>
                <a:gd name="connsiteY31" fmla="*/ 411956 h 1964531"/>
                <a:gd name="connsiteX32" fmla="*/ 1881187 w 2245518"/>
                <a:gd name="connsiteY32" fmla="*/ 290512 h 1964531"/>
                <a:gd name="connsiteX33" fmla="*/ 1874043 w 2245518"/>
                <a:gd name="connsiteY33" fmla="*/ 259556 h 1964531"/>
                <a:gd name="connsiteX34" fmla="*/ 1912143 w 2245518"/>
                <a:gd name="connsiteY34" fmla="*/ 238125 h 1964531"/>
                <a:gd name="connsiteX35" fmla="*/ 1850231 w 2245518"/>
                <a:gd name="connsiteY35" fmla="*/ 142875 h 1964531"/>
                <a:gd name="connsiteX36" fmla="*/ 1807368 w 2245518"/>
                <a:gd name="connsiteY36" fmla="*/ 183356 h 1964531"/>
                <a:gd name="connsiteX37" fmla="*/ 1809750 w 2245518"/>
                <a:gd name="connsiteY37" fmla="*/ 90487 h 1964531"/>
                <a:gd name="connsiteX38" fmla="*/ 1731168 w 2245518"/>
                <a:gd name="connsiteY38" fmla="*/ 97631 h 1964531"/>
                <a:gd name="connsiteX39" fmla="*/ 1716881 w 2245518"/>
                <a:gd name="connsiteY39" fmla="*/ 140493 h 1964531"/>
                <a:gd name="connsiteX40" fmla="*/ 1697831 w 2245518"/>
                <a:gd name="connsiteY40" fmla="*/ 180975 h 1964531"/>
                <a:gd name="connsiteX41" fmla="*/ 1688306 w 2245518"/>
                <a:gd name="connsiteY41" fmla="*/ 219075 h 1964531"/>
                <a:gd name="connsiteX42" fmla="*/ 1633537 w 2245518"/>
                <a:gd name="connsiteY42" fmla="*/ 266700 h 1964531"/>
                <a:gd name="connsiteX43" fmla="*/ 1485900 w 2245518"/>
                <a:gd name="connsiteY43" fmla="*/ 273843 h 1964531"/>
                <a:gd name="connsiteX44" fmla="*/ 1445418 w 2245518"/>
                <a:gd name="connsiteY44" fmla="*/ 271462 h 1964531"/>
                <a:gd name="connsiteX45" fmla="*/ 1412081 w 2245518"/>
                <a:gd name="connsiteY45" fmla="*/ 216693 h 1964531"/>
                <a:gd name="connsiteX46" fmla="*/ 1376362 w 2245518"/>
                <a:gd name="connsiteY46" fmla="*/ 216693 h 1964531"/>
                <a:gd name="connsiteX47" fmla="*/ 1366837 w 2245518"/>
                <a:gd name="connsiteY47" fmla="*/ 254793 h 1964531"/>
                <a:gd name="connsiteX48" fmla="*/ 1352550 w 2245518"/>
                <a:gd name="connsiteY48" fmla="*/ 302418 h 1964531"/>
                <a:gd name="connsiteX49" fmla="*/ 1309687 w 2245518"/>
                <a:gd name="connsiteY49" fmla="*/ 311943 h 1964531"/>
                <a:gd name="connsiteX50" fmla="*/ 1266825 w 2245518"/>
                <a:gd name="connsiteY50" fmla="*/ 280987 h 1964531"/>
                <a:gd name="connsiteX51" fmla="*/ 1238250 w 2245518"/>
                <a:gd name="connsiteY51" fmla="*/ 252412 h 1964531"/>
                <a:gd name="connsiteX52" fmla="*/ 1178718 w 2245518"/>
                <a:gd name="connsiteY52" fmla="*/ 266700 h 1964531"/>
                <a:gd name="connsiteX53" fmla="*/ 1088231 w 2245518"/>
                <a:gd name="connsiteY53" fmla="*/ 192881 h 1964531"/>
                <a:gd name="connsiteX54" fmla="*/ 1095375 w 2245518"/>
                <a:gd name="connsiteY54" fmla="*/ 111918 h 1964531"/>
                <a:gd name="connsiteX55" fmla="*/ 1000125 w 2245518"/>
                <a:gd name="connsiteY55" fmla="*/ 85725 h 1964531"/>
                <a:gd name="connsiteX56" fmla="*/ 947737 w 2245518"/>
                <a:gd name="connsiteY56" fmla="*/ 76200 h 1964531"/>
                <a:gd name="connsiteX57" fmla="*/ 902493 w 2245518"/>
                <a:gd name="connsiteY57" fmla="*/ 133350 h 1964531"/>
                <a:gd name="connsiteX58" fmla="*/ 850106 w 2245518"/>
                <a:gd name="connsiteY58" fmla="*/ 150018 h 1964531"/>
                <a:gd name="connsiteX59" fmla="*/ 816768 w 2245518"/>
                <a:gd name="connsiteY59" fmla="*/ 97631 h 1964531"/>
                <a:gd name="connsiteX60" fmla="*/ 797718 w 2245518"/>
                <a:gd name="connsiteY60" fmla="*/ 80962 h 1964531"/>
                <a:gd name="connsiteX61" fmla="*/ 685800 w 2245518"/>
                <a:gd name="connsiteY61" fmla="*/ 66675 h 1964531"/>
                <a:gd name="connsiteX62" fmla="*/ 645318 w 2245518"/>
                <a:gd name="connsiteY62" fmla="*/ 92868 h 1964531"/>
                <a:gd name="connsiteX63" fmla="*/ 597693 w 2245518"/>
                <a:gd name="connsiteY63" fmla="*/ 107156 h 1964531"/>
                <a:gd name="connsiteX64" fmla="*/ 569118 w 2245518"/>
                <a:gd name="connsiteY64" fmla="*/ 154781 h 1964531"/>
                <a:gd name="connsiteX65" fmla="*/ 528637 w 2245518"/>
                <a:gd name="connsiteY65" fmla="*/ 176212 h 1964531"/>
                <a:gd name="connsiteX66" fmla="*/ 471487 w 2245518"/>
                <a:gd name="connsiteY66" fmla="*/ 188118 h 1964531"/>
                <a:gd name="connsiteX67" fmla="*/ 421481 w 2245518"/>
                <a:gd name="connsiteY67" fmla="*/ 135731 h 1964531"/>
                <a:gd name="connsiteX68" fmla="*/ 350043 w 2245518"/>
                <a:gd name="connsiteY68" fmla="*/ 59531 h 1964531"/>
                <a:gd name="connsiteX69" fmla="*/ 300037 w 2245518"/>
                <a:gd name="connsiteY69" fmla="*/ 0 h 1964531"/>
                <a:gd name="connsiteX70" fmla="*/ 240506 w 2245518"/>
                <a:gd name="connsiteY70" fmla="*/ 52387 h 1964531"/>
                <a:gd name="connsiteX71" fmla="*/ 278606 w 2245518"/>
                <a:gd name="connsiteY71" fmla="*/ 85725 h 1964531"/>
                <a:gd name="connsiteX72" fmla="*/ 285750 w 2245518"/>
                <a:gd name="connsiteY72" fmla="*/ 119062 h 1964531"/>
                <a:gd name="connsiteX73" fmla="*/ 285750 w 2245518"/>
                <a:gd name="connsiteY73" fmla="*/ 140493 h 1964531"/>
                <a:gd name="connsiteX74" fmla="*/ 264318 w 2245518"/>
                <a:gd name="connsiteY74" fmla="*/ 169068 h 1964531"/>
                <a:gd name="connsiteX75" fmla="*/ 238125 w 2245518"/>
                <a:gd name="connsiteY75" fmla="*/ 178593 h 1964531"/>
                <a:gd name="connsiteX76" fmla="*/ 269081 w 2245518"/>
                <a:gd name="connsiteY76" fmla="*/ 188118 h 1964531"/>
                <a:gd name="connsiteX77" fmla="*/ 245268 w 2245518"/>
                <a:gd name="connsiteY77" fmla="*/ 214312 h 1964531"/>
                <a:gd name="connsiteX78" fmla="*/ 254793 w 2245518"/>
                <a:gd name="connsiteY78" fmla="*/ 292893 h 1964531"/>
                <a:gd name="connsiteX79" fmla="*/ 269081 w 2245518"/>
                <a:gd name="connsiteY79" fmla="*/ 352425 h 1964531"/>
                <a:gd name="connsiteX80" fmla="*/ 171450 w 2245518"/>
                <a:gd name="connsiteY80" fmla="*/ 447675 h 1964531"/>
                <a:gd name="connsiteX81" fmla="*/ 88106 w 2245518"/>
                <a:gd name="connsiteY81" fmla="*/ 454818 h 1964531"/>
                <a:gd name="connsiteX82" fmla="*/ 40481 w 2245518"/>
                <a:gd name="connsiteY82" fmla="*/ 469106 h 1964531"/>
                <a:gd name="connsiteX83" fmla="*/ 0 w 2245518"/>
                <a:gd name="connsiteY83" fmla="*/ 531018 h 1964531"/>
                <a:gd name="connsiteX84" fmla="*/ 59531 w 2245518"/>
                <a:gd name="connsiteY84" fmla="*/ 583406 h 1964531"/>
                <a:gd name="connsiteX85" fmla="*/ 95250 w 2245518"/>
                <a:gd name="connsiteY85" fmla="*/ 602456 h 1964531"/>
                <a:gd name="connsiteX86" fmla="*/ 61912 w 2245518"/>
                <a:gd name="connsiteY86" fmla="*/ 619125 h 1964531"/>
                <a:gd name="connsiteX87" fmla="*/ 61912 w 2245518"/>
                <a:gd name="connsiteY87" fmla="*/ 726281 h 1964531"/>
                <a:gd name="connsiteX88" fmla="*/ 147637 w 2245518"/>
                <a:gd name="connsiteY88" fmla="*/ 766762 h 1964531"/>
                <a:gd name="connsiteX89" fmla="*/ 185737 w 2245518"/>
                <a:gd name="connsiteY89" fmla="*/ 745331 h 1964531"/>
                <a:gd name="connsiteX90" fmla="*/ 245268 w 2245518"/>
                <a:gd name="connsiteY90" fmla="*/ 792956 h 1964531"/>
                <a:gd name="connsiteX91" fmla="*/ 207168 w 2245518"/>
                <a:gd name="connsiteY91" fmla="*/ 835818 h 1964531"/>
                <a:gd name="connsiteX92" fmla="*/ 223837 w 2245518"/>
                <a:gd name="connsiteY92" fmla="*/ 997743 h 1964531"/>
                <a:gd name="connsiteX93" fmla="*/ 250031 w 2245518"/>
                <a:gd name="connsiteY93" fmla="*/ 1057275 h 1964531"/>
                <a:gd name="connsiteX94" fmla="*/ 223837 w 2245518"/>
                <a:gd name="connsiteY94" fmla="*/ 1104900 h 1964531"/>
                <a:gd name="connsiteX95" fmla="*/ 173831 w 2245518"/>
                <a:gd name="connsiteY95" fmla="*/ 1226343 h 1964531"/>
                <a:gd name="connsiteX96" fmla="*/ 197643 w 2245518"/>
                <a:gd name="connsiteY96" fmla="*/ 1381125 h 1964531"/>
                <a:gd name="connsiteX97" fmla="*/ 290512 w 2245518"/>
                <a:gd name="connsiteY97" fmla="*/ 1459706 h 1964531"/>
                <a:gd name="connsiteX98" fmla="*/ 400050 w 2245518"/>
                <a:gd name="connsiteY98" fmla="*/ 1516856 h 1964531"/>
                <a:gd name="connsiteX99" fmla="*/ 428625 w 2245518"/>
                <a:gd name="connsiteY99" fmla="*/ 1669256 h 1964531"/>
                <a:gd name="connsiteX100" fmla="*/ 450056 w 2245518"/>
                <a:gd name="connsiteY100" fmla="*/ 1964531 h 1964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</a:cxnLst>
              <a:rect l="l" t="t" r="r" b="b"/>
              <a:pathLst>
                <a:path w="2245518" h="1964531">
                  <a:moveTo>
                    <a:pt x="450056" y="1964531"/>
                  </a:moveTo>
                  <a:lnTo>
                    <a:pt x="914400" y="1888331"/>
                  </a:lnTo>
                  <a:lnTo>
                    <a:pt x="921543" y="1835943"/>
                  </a:lnTo>
                  <a:lnTo>
                    <a:pt x="962025" y="1752600"/>
                  </a:lnTo>
                  <a:lnTo>
                    <a:pt x="1033462" y="1757362"/>
                  </a:lnTo>
                  <a:lnTo>
                    <a:pt x="1276350" y="1507331"/>
                  </a:lnTo>
                  <a:lnTo>
                    <a:pt x="1316831" y="1521618"/>
                  </a:lnTo>
                  <a:lnTo>
                    <a:pt x="1343025" y="1421606"/>
                  </a:lnTo>
                  <a:lnTo>
                    <a:pt x="1469231" y="1440656"/>
                  </a:lnTo>
                  <a:lnTo>
                    <a:pt x="1571625" y="1240631"/>
                  </a:lnTo>
                  <a:lnTo>
                    <a:pt x="1688306" y="1231106"/>
                  </a:lnTo>
                  <a:lnTo>
                    <a:pt x="1816893" y="1350168"/>
                  </a:lnTo>
                  <a:lnTo>
                    <a:pt x="1850231" y="1404937"/>
                  </a:lnTo>
                  <a:lnTo>
                    <a:pt x="1847850" y="1433512"/>
                  </a:lnTo>
                  <a:lnTo>
                    <a:pt x="1935956" y="1488281"/>
                  </a:lnTo>
                  <a:lnTo>
                    <a:pt x="2000250" y="1431131"/>
                  </a:lnTo>
                  <a:lnTo>
                    <a:pt x="2245518" y="1254918"/>
                  </a:lnTo>
                  <a:lnTo>
                    <a:pt x="2219325" y="1209675"/>
                  </a:lnTo>
                  <a:lnTo>
                    <a:pt x="2190750" y="1185862"/>
                  </a:lnTo>
                  <a:lnTo>
                    <a:pt x="2195512" y="1145381"/>
                  </a:lnTo>
                  <a:lnTo>
                    <a:pt x="2164556" y="1064418"/>
                  </a:lnTo>
                  <a:lnTo>
                    <a:pt x="2121693" y="1033462"/>
                  </a:lnTo>
                  <a:lnTo>
                    <a:pt x="1974056" y="952500"/>
                  </a:lnTo>
                  <a:lnTo>
                    <a:pt x="1997868" y="895350"/>
                  </a:lnTo>
                  <a:lnTo>
                    <a:pt x="1971675" y="871537"/>
                  </a:lnTo>
                  <a:lnTo>
                    <a:pt x="1921668" y="909637"/>
                  </a:lnTo>
                  <a:lnTo>
                    <a:pt x="1838325" y="828675"/>
                  </a:lnTo>
                  <a:lnTo>
                    <a:pt x="1862137" y="785812"/>
                  </a:lnTo>
                  <a:lnTo>
                    <a:pt x="1852612" y="688181"/>
                  </a:lnTo>
                  <a:lnTo>
                    <a:pt x="1950243" y="571500"/>
                  </a:lnTo>
                  <a:lnTo>
                    <a:pt x="1988343" y="547687"/>
                  </a:lnTo>
                  <a:lnTo>
                    <a:pt x="1952625" y="411956"/>
                  </a:lnTo>
                  <a:lnTo>
                    <a:pt x="1881187" y="290512"/>
                  </a:lnTo>
                  <a:lnTo>
                    <a:pt x="1874043" y="259556"/>
                  </a:lnTo>
                  <a:lnTo>
                    <a:pt x="1912143" y="238125"/>
                  </a:lnTo>
                  <a:lnTo>
                    <a:pt x="1850231" y="142875"/>
                  </a:lnTo>
                  <a:lnTo>
                    <a:pt x="1807368" y="183356"/>
                  </a:lnTo>
                  <a:lnTo>
                    <a:pt x="1809750" y="90487"/>
                  </a:lnTo>
                  <a:lnTo>
                    <a:pt x="1731168" y="97631"/>
                  </a:lnTo>
                  <a:lnTo>
                    <a:pt x="1716881" y="140493"/>
                  </a:lnTo>
                  <a:lnTo>
                    <a:pt x="1697831" y="180975"/>
                  </a:lnTo>
                  <a:lnTo>
                    <a:pt x="1688306" y="219075"/>
                  </a:lnTo>
                  <a:lnTo>
                    <a:pt x="1633537" y="266700"/>
                  </a:lnTo>
                  <a:lnTo>
                    <a:pt x="1485900" y="273843"/>
                  </a:lnTo>
                  <a:lnTo>
                    <a:pt x="1445418" y="271462"/>
                  </a:lnTo>
                  <a:lnTo>
                    <a:pt x="1412081" y="216693"/>
                  </a:lnTo>
                  <a:lnTo>
                    <a:pt x="1376362" y="216693"/>
                  </a:lnTo>
                  <a:lnTo>
                    <a:pt x="1366837" y="254793"/>
                  </a:lnTo>
                  <a:lnTo>
                    <a:pt x="1352550" y="302418"/>
                  </a:lnTo>
                  <a:lnTo>
                    <a:pt x="1309687" y="311943"/>
                  </a:lnTo>
                  <a:lnTo>
                    <a:pt x="1266825" y="280987"/>
                  </a:lnTo>
                  <a:lnTo>
                    <a:pt x="1238250" y="252412"/>
                  </a:lnTo>
                  <a:lnTo>
                    <a:pt x="1178718" y="266700"/>
                  </a:lnTo>
                  <a:lnTo>
                    <a:pt x="1088231" y="192881"/>
                  </a:lnTo>
                  <a:lnTo>
                    <a:pt x="1095375" y="111918"/>
                  </a:lnTo>
                  <a:lnTo>
                    <a:pt x="1000125" y="85725"/>
                  </a:lnTo>
                  <a:lnTo>
                    <a:pt x="947737" y="76200"/>
                  </a:lnTo>
                  <a:lnTo>
                    <a:pt x="902493" y="133350"/>
                  </a:lnTo>
                  <a:lnTo>
                    <a:pt x="850106" y="150018"/>
                  </a:lnTo>
                  <a:lnTo>
                    <a:pt x="816768" y="97631"/>
                  </a:lnTo>
                  <a:lnTo>
                    <a:pt x="797718" y="80962"/>
                  </a:lnTo>
                  <a:lnTo>
                    <a:pt x="685800" y="66675"/>
                  </a:lnTo>
                  <a:lnTo>
                    <a:pt x="645318" y="92868"/>
                  </a:lnTo>
                  <a:lnTo>
                    <a:pt x="597693" y="107156"/>
                  </a:lnTo>
                  <a:lnTo>
                    <a:pt x="569118" y="154781"/>
                  </a:lnTo>
                  <a:lnTo>
                    <a:pt x="528637" y="176212"/>
                  </a:lnTo>
                  <a:lnTo>
                    <a:pt x="471487" y="188118"/>
                  </a:lnTo>
                  <a:lnTo>
                    <a:pt x="421481" y="135731"/>
                  </a:lnTo>
                  <a:lnTo>
                    <a:pt x="350043" y="59531"/>
                  </a:lnTo>
                  <a:lnTo>
                    <a:pt x="300037" y="0"/>
                  </a:lnTo>
                  <a:lnTo>
                    <a:pt x="240506" y="52387"/>
                  </a:lnTo>
                  <a:lnTo>
                    <a:pt x="278606" y="85725"/>
                  </a:lnTo>
                  <a:lnTo>
                    <a:pt x="285750" y="119062"/>
                  </a:lnTo>
                  <a:lnTo>
                    <a:pt x="285750" y="140493"/>
                  </a:lnTo>
                  <a:lnTo>
                    <a:pt x="264318" y="169068"/>
                  </a:lnTo>
                  <a:lnTo>
                    <a:pt x="238125" y="178593"/>
                  </a:lnTo>
                  <a:lnTo>
                    <a:pt x="269081" y="188118"/>
                  </a:lnTo>
                  <a:lnTo>
                    <a:pt x="245268" y="214312"/>
                  </a:lnTo>
                  <a:lnTo>
                    <a:pt x="254793" y="292893"/>
                  </a:lnTo>
                  <a:lnTo>
                    <a:pt x="269081" y="352425"/>
                  </a:lnTo>
                  <a:lnTo>
                    <a:pt x="171450" y="447675"/>
                  </a:lnTo>
                  <a:lnTo>
                    <a:pt x="88106" y="454818"/>
                  </a:lnTo>
                  <a:lnTo>
                    <a:pt x="40481" y="469106"/>
                  </a:lnTo>
                  <a:lnTo>
                    <a:pt x="0" y="531018"/>
                  </a:lnTo>
                  <a:lnTo>
                    <a:pt x="59531" y="583406"/>
                  </a:lnTo>
                  <a:lnTo>
                    <a:pt x="95250" y="602456"/>
                  </a:lnTo>
                  <a:lnTo>
                    <a:pt x="61912" y="619125"/>
                  </a:lnTo>
                  <a:lnTo>
                    <a:pt x="61912" y="726281"/>
                  </a:lnTo>
                  <a:lnTo>
                    <a:pt x="147637" y="766762"/>
                  </a:lnTo>
                  <a:lnTo>
                    <a:pt x="185737" y="745331"/>
                  </a:lnTo>
                  <a:lnTo>
                    <a:pt x="245268" y="792956"/>
                  </a:lnTo>
                  <a:lnTo>
                    <a:pt x="207168" y="835818"/>
                  </a:lnTo>
                  <a:lnTo>
                    <a:pt x="223837" y="997743"/>
                  </a:lnTo>
                  <a:lnTo>
                    <a:pt x="250031" y="1057275"/>
                  </a:lnTo>
                  <a:lnTo>
                    <a:pt x="223837" y="1104900"/>
                  </a:lnTo>
                  <a:lnTo>
                    <a:pt x="173831" y="1226343"/>
                  </a:lnTo>
                  <a:lnTo>
                    <a:pt x="197643" y="1381125"/>
                  </a:lnTo>
                  <a:lnTo>
                    <a:pt x="290512" y="1459706"/>
                  </a:lnTo>
                  <a:lnTo>
                    <a:pt x="400050" y="1516856"/>
                  </a:lnTo>
                  <a:lnTo>
                    <a:pt x="428625" y="1669256"/>
                  </a:lnTo>
                  <a:lnTo>
                    <a:pt x="450056" y="196453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36000"/>
              </a:schemeClr>
            </a:solidFill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ysDot"/>
              <a:miter lim="800000"/>
            </a:ln>
            <a:effectLst/>
          </p:spPr>
          <p:txBody>
            <a:bodyPr anchor="ctr"/>
            <a:lstStyle/>
            <a:p>
              <a:pPr algn="ctr" defTabSz="514324">
                <a:defRPr/>
              </a:pPr>
              <a:endParaRPr lang="ru-RU" sz="600" kern="0" dirty="0" err="1">
                <a:solidFill>
                  <a:srgbClr val="A5A5A5">
                    <a:lumMod val="50000"/>
                  </a:srgb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5" name="Freeform 11"/>
            <p:cNvSpPr/>
            <p:nvPr/>
          </p:nvSpPr>
          <p:spPr>
            <a:xfrm>
              <a:off x="2791961" y="2527167"/>
              <a:ext cx="1526370" cy="1191359"/>
            </a:xfrm>
            <a:custGeom>
              <a:avLst/>
              <a:gdLst>
                <a:gd name="connsiteX0" fmla="*/ 0 w 2171700"/>
                <a:gd name="connsiteY0" fmla="*/ 652462 h 1828800"/>
                <a:gd name="connsiteX1" fmla="*/ 295275 w 2171700"/>
                <a:gd name="connsiteY1" fmla="*/ 892968 h 1828800"/>
                <a:gd name="connsiteX2" fmla="*/ 485775 w 2171700"/>
                <a:gd name="connsiteY2" fmla="*/ 1054893 h 1828800"/>
                <a:gd name="connsiteX3" fmla="*/ 547688 w 2171700"/>
                <a:gd name="connsiteY3" fmla="*/ 1097756 h 1828800"/>
                <a:gd name="connsiteX4" fmla="*/ 566738 w 2171700"/>
                <a:gd name="connsiteY4" fmla="*/ 1140618 h 1828800"/>
                <a:gd name="connsiteX5" fmla="*/ 545307 w 2171700"/>
                <a:gd name="connsiteY5" fmla="*/ 1157287 h 1828800"/>
                <a:gd name="connsiteX6" fmla="*/ 754857 w 2171700"/>
                <a:gd name="connsiteY6" fmla="*/ 1423987 h 1828800"/>
                <a:gd name="connsiteX7" fmla="*/ 909638 w 2171700"/>
                <a:gd name="connsiteY7" fmla="*/ 1388268 h 1828800"/>
                <a:gd name="connsiteX8" fmla="*/ 1023938 w 2171700"/>
                <a:gd name="connsiteY8" fmla="*/ 1378743 h 1828800"/>
                <a:gd name="connsiteX9" fmla="*/ 1109663 w 2171700"/>
                <a:gd name="connsiteY9" fmla="*/ 1395412 h 1828800"/>
                <a:gd name="connsiteX10" fmla="*/ 1228725 w 2171700"/>
                <a:gd name="connsiteY10" fmla="*/ 1404937 h 1828800"/>
                <a:gd name="connsiteX11" fmla="*/ 1328738 w 2171700"/>
                <a:gd name="connsiteY11" fmla="*/ 1416843 h 1828800"/>
                <a:gd name="connsiteX12" fmla="*/ 1428750 w 2171700"/>
                <a:gd name="connsiteY12" fmla="*/ 1359693 h 1828800"/>
                <a:gd name="connsiteX13" fmla="*/ 1500188 w 2171700"/>
                <a:gd name="connsiteY13" fmla="*/ 1450181 h 1828800"/>
                <a:gd name="connsiteX14" fmla="*/ 1590675 w 2171700"/>
                <a:gd name="connsiteY14" fmla="*/ 1502568 h 1828800"/>
                <a:gd name="connsiteX15" fmla="*/ 1643063 w 2171700"/>
                <a:gd name="connsiteY15" fmla="*/ 1650206 h 1828800"/>
                <a:gd name="connsiteX16" fmla="*/ 1728788 w 2171700"/>
                <a:gd name="connsiteY16" fmla="*/ 1600200 h 1828800"/>
                <a:gd name="connsiteX17" fmla="*/ 1709738 w 2171700"/>
                <a:gd name="connsiteY17" fmla="*/ 1828800 h 1828800"/>
                <a:gd name="connsiteX18" fmla="*/ 1909763 w 2171700"/>
                <a:gd name="connsiteY18" fmla="*/ 1676400 h 1828800"/>
                <a:gd name="connsiteX19" fmla="*/ 1985963 w 2171700"/>
                <a:gd name="connsiteY19" fmla="*/ 1645443 h 1828800"/>
                <a:gd name="connsiteX20" fmla="*/ 2131219 w 2171700"/>
                <a:gd name="connsiteY20" fmla="*/ 1545431 h 1828800"/>
                <a:gd name="connsiteX21" fmla="*/ 2081213 w 2171700"/>
                <a:gd name="connsiteY21" fmla="*/ 1471612 h 1828800"/>
                <a:gd name="connsiteX22" fmla="*/ 2169319 w 2171700"/>
                <a:gd name="connsiteY22" fmla="*/ 1395412 h 1828800"/>
                <a:gd name="connsiteX23" fmla="*/ 2162175 w 2171700"/>
                <a:gd name="connsiteY23" fmla="*/ 1345406 h 1828800"/>
                <a:gd name="connsiteX24" fmla="*/ 2169319 w 2171700"/>
                <a:gd name="connsiteY24" fmla="*/ 1290637 h 1828800"/>
                <a:gd name="connsiteX25" fmla="*/ 2171700 w 2171700"/>
                <a:gd name="connsiteY25" fmla="*/ 1259681 h 1828800"/>
                <a:gd name="connsiteX26" fmla="*/ 2062163 w 2171700"/>
                <a:gd name="connsiteY26" fmla="*/ 1171575 h 1828800"/>
                <a:gd name="connsiteX27" fmla="*/ 2059782 w 2171700"/>
                <a:gd name="connsiteY27" fmla="*/ 947737 h 1828800"/>
                <a:gd name="connsiteX28" fmla="*/ 1988344 w 2171700"/>
                <a:gd name="connsiteY28" fmla="*/ 847725 h 1828800"/>
                <a:gd name="connsiteX29" fmla="*/ 2019300 w 2171700"/>
                <a:gd name="connsiteY29" fmla="*/ 657225 h 1828800"/>
                <a:gd name="connsiteX30" fmla="*/ 1990725 w 2171700"/>
                <a:gd name="connsiteY30" fmla="*/ 619125 h 1828800"/>
                <a:gd name="connsiteX31" fmla="*/ 1976438 w 2171700"/>
                <a:gd name="connsiteY31" fmla="*/ 597693 h 1828800"/>
                <a:gd name="connsiteX32" fmla="*/ 1916907 w 2171700"/>
                <a:gd name="connsiteY32" fmla="*/ 597693 h 1828800"/>
                <a:gd name="connsiteX33" fmla="*/ 1864519 w 2171700"/>
                <a:gd name="connsiteY33" fmla="*/ 590550 h 1828800"/>
                <a:gd name="connsiteX34" fmla="*/ 1831182 w 2171700"/>
                <a:gd name="connsiteY34" fmla="*/ 619125 h 1828800"/>
                <a:gd name="connsiteX35" fmla="*/ 1621632 w 2171700"/>
                <a:gd name="connsiteY35" fmla="*/ 609600 h 1828800"/>
                <a:gd name="connsiteX36" fmla="*/ 1516857 w 2171700"/>
                <a:gd name="connsiteY36" fmla="*/ 509587 h 1828800"/>
                <a:gd name="connsiteX37" fmla="*/ 1250157 w 2171700"/>
                <a:gd name="connsiteY37" fmla="*/ 390525 h 1828800"/>
                <a:gd name="connsiteX38" fmla="*/ 1135857 w 2171700"/>
                <a:gd name="connsiteY38" fmla="*/ 335756 h 1828800"/>
                <a:gd name="connsiteX39" fmla="*/ 1083469 w 2171700"/>
                <a:gd name="connsiteY39" fmla="*/ 273843 h 1828800"/>
                <a:gd name="connsiteX40" fmla="*/ 1040607 w 2171700"/>
                <a:gd name="connsiteY40" fmla="*/ 271462 h 1828800"/>
                <a:gd name="connsiteX41" fmla="*/ 947738 w 2171700"/>
                <a:gd name="connsiteY41" fmla="*/ 190500 h 1828800"/>
                <a:gd name="connsiteX42" fmla="*/ 950119 w 2171700"/>
                <a:gd name="connsiteY42" fmla="*/ 159543 h 1828800"/>
                <a:gd name="connsiteX43" fmla="*/ 878682 w 2171700"/>
                <a:gd name="connsiteY43" fmla="*/ 76200 h 1828800"/>
                <a:gd name="connsiteX44" fmla="*/ 797719 w 2171700"/>
                <a:gd name="connsiteY44" fmla="*/ 0 h 1828800"/>
                <a:gd name="connsiteX45" fmla="*/ 685800 w 2171700"/>
                <a:gd name="connsiteY45" fmla="*/ 0 h 1828800"/>
                <a:gd name="connsiteX46" fmla="*/ 640557 w 2171700"/>
                <a:gd name="connsiteY46" fmla="*/ 71437 h 1828800"/>
                <a:gd name="connsiteX47" fmla="*/ 576263 w 2171700"/>
                <a:gd name="connsiteY47" fmla="*/ 202406 h 1828800"/>
                <a:gd name="connsiteX48" fmla="*/ 452438 w 2171700"/>
                <a:gd name="connsiteY48" fmla="*/ 185737 h 1828800"/>
                <a:gd name="connsiteX49" fmla="*/ 423863 w 2171700"/>
                <a:gd name="connsiteY49" fmla="*/ 288131 h 1828800"/>
                <a:gd name="connsiteX50" fmla="*/ 385763 w 2171700"/>
                <a:gd name="connsiteY50" fmla="*/ 271462 h 1828800"/>
                <a:gd name="connsiteX51" fmla="*/ 145257 w 2171700"/>
                <a:gd name="connsiteY51" fmla="*/ 519112 h 1828800"/>
                <a:gd name="connsiteX52" fmla="*/ 71438 w 2171700"/>
                <a:gd name="connsiteY52" fmla="*/ 516731 h 1828800"/>
                <a:gd name="connsiteX53" fmla="*/ 40482 w 2171700"/>
                <a:gd name="connsiteY53" fmla="*/ 566737 h 1828800"/>
                <a:gd name="connsiteX54" fmla="*/ 28575 w 2171700"/>
                <a:gd name="connsiteY54" fmla="*/ 602456 h 1828800"/>
                <a:gd name="connsiteX55" fmla="*/ 0 w 2171700"/>
                <a:gd name="connsiteY55" fmla="*/ 652462 h 1828800"/>
                <a:gd name="connsiteX0" fmla="*/ 0 w 2171700"/>
                <a:gd name="connsiteY0" fmla="*/ 652462 h 1828800"/>
                <a:gd name="connsiteX1" fmla="*/ 295275 w 2171700"/>
                <a:gd name="connsiteY1" fmla="*/ 892968 h 1828800"/>
                <a:gd name="connsiteX2" fmla="*/ 485775 w 2171700"/>
                <a:gd name="connsiteY2" fmla="*/ 1054893 h 1828800"/>
                <a:gd name="connsiteX3" fmla="*/ 547688 w 2171700"/>
                <a:gd name="connsiteY3" fmla="*/ 1097756 h 1828800"/>
                <a:gd name="connsiteX4" fmla="*/ 566738 w 2171700"/>
                <a:gd name="connsiteY4" fmla="*/ 1140618 h 1828800"/>
                <a:gd name="connsiteX5" fmla="*/ 545307 w 2171700"/>
                <a:gd name="connsiteY5" fmla="*/ 1157287 h 1828800"/>
                <a:gd name="connsiteX6" fmla="*/ 754857 w 2171700"/>
                <a:gd name="connsiteY6" fmla="*/ 1423987 h 1828800"/>
                <a:gd name="connsiteX7" fmla="*/ 909638 w 2171700"/>
                <a:gd name="connsiteY7" fmla="*/ 1388268 h 1828800"/>
                <a:gd name="connsiteX8" fmla="*/ 1023938 w 2171700"/>
                <a:gd name="connsiteY8" fmla="*/ 1378743 h 1828800"/>
                <a:gd name="connsiteX9" fmla="*/ 1109663 w 2171700"/>
                <a:gd name="connsiteY9" fmla="*/ 1395412 h 1828800"/>
                <a:gd name="connsiteX10" fmla="*/ 1228725 w 2171700"/>
                <a:gd name="connsiteY10" fmla="*/ 1404937 h 1828800"/>
                <a:gd name="connsiteX11" fmla="*/ 1328738 w 2171700"/>
                <a:gd name="connsiteY11" fmla="*/ 1416843 h 1828800"/>
                <a:gd name="connsiteX12" fmla="*/ 1428750 w 2171700"/>
                <a:gd name="connsiteY12" fmla="*/ 1359693 h 1828800"/>
                <a:gd name="connsiteX13" fmla="*/ 1500188 w 2171700"/>
                <a:gd name="connsiteY13" fmla="*/ 1450181 h 1828800"/>
                <a:gd name="connsiteX14" fmla="*/ 1590675 w 2171700"/>
                <a:gd name="connsiteY14" fmla="*/ 1502568 h 1828800"/>
                <a:gd name="connsiteX15" fmla="*/ 1643063 w 2171700"/>
                <a:gd name="connsiteY15" fmla="*/ 1650206 h 1828800"/>
                <a:gd name="connsiteX16" fmla="*/ 1728788 w 2171700"/>
                <a:gd name="connsiteY16" fmla="*/ 1600200 h 1828800"/>
                <a:gd name="connsiteX17" fmla="*/ 1709738 w 2171700"/>
                <a:gd name="connsiteY17" fmla="*/ 1828800 h 1828800"/>
                <a:gd name="connsiteX18" fmla="*/ 1909763 w 2171700"/>
                <a:gd name="connsiteY18" fmla="*/ 1676400 h 1828800"/>
                <a:gd name="connsiteX19" fmla="*/ 1985963 w 2171700"/>
                <a:gd name="connsiteY19" fmla="*/ 1645443 h 1828800"/>
                <a:gd name="connsiteX20" fmla="*/ 2131219 w 2171700"/>
                <a:gd name="connsiteY20" fmla="*/ 1545431 h 1828800"/>
                <a:gd name="connsiteX21" fmla="*/ 2081213 w 2171700"/>
                <a:gd name="connsiteY21" fmla="*/ 1471612 h 1828800"/>
                <a:gd name="connsiteX22" fmla="*/ 2169319 w 2171700"/>
                <a:gd name="connsiteY22" fmla="*/ 1395412 h 1828800"/>
                <a:gd name="connsiteX23" fmla="*/ 2162175 w 2171700"/>
                <a:gd name="connsiteY23" fmla="*/ 1345406 h 1828800"/>
                <a:gd name="connsiteX24" fmla="*/ 2169319 w 2171700"/>
                <a:gd name="connsiteY24" fmla="*/ 1290637 h 1828800"/>
                <a:gd name="connsiteX25" fmla="*/ 2171700 w 2171700"/>
                <a:gd name="connsiteY25" fmla="*/ 1259681 h 1828800"/>
                <a:gd name="connsiteX26" fmla="*/ 2062163 w 2171700"/>
                <a:gd name="connsiteY26" fmla="*/ 1171575 h 1828800"/>
                <a:gd name="connsiteX27" fmla="*/ 2059782 w 2171700"/>
                <a:gd name="connsiteY27" fmla="*/ 947737 h 1828800"/>
                <a:gd name="connsiteX28" fmla="*/ 1988344 w 2171700"/>
                <a:gd name="connsiteY28" fmla="*/ 847725 h 1828800"/>
                <a:gd name="connsiteX29" fmla="*/ 2019300 w 2171700"/>
                <a:gd name="connsiteY29" fmla="*/ 657225 h 1828800"/>
                <a:gd name="connsiteX30" fmla="*/ 1990725 w 2171700"/>
                <a:gd name="connsiteY30" fmla="*/ 619125 h 1828800"/>
                <a:gd name="connsiteX31" fmla="*/ 1976438 w 2171700"/>
                <a:gd name="connsiteY31" fmla="*/ 597693 h 1828800"/>
                <a:gd name="connsiteX32" fmla="*/ 1916907 w 2171700"/>
                <a:gd name="connsiteY32" fmla="*/ 597693 h 1828800"/>
                <a:gd name="connsiteX33" fmla="*/ 1864519 w 2171700"/>
                <a:gd name="connsiteY33" fmla="*/ 590550 h 1828800"/>
                <a:gd name="connsiteX34" fmla="*/ 1831182 w 2171700"/>
                <a:gd name="connsiteY34" fmla="*/ 619125 h 1828800"/>
                <a:gd name="connsiteX35" fmla="*/ 1621632 w 2171700"/>
                <a:gd name="connsiteY35" fmla="*/ 609600 h 1828800"/>
                <a:gd name="connsiteX36" fmla="*/ 1516857 w 2171700"/>
                <a:gd name="connsiteY36" fmla="*/ 509587 h 1828800"/>
                <a:gd name="connsiteX37" fmla="*/ 1250157 w 2171700"/>
                <a:gd name="connsiteY37" fmla="*/ 390525 h 1828800"/>
                <a:gd name="connsiteX38" fmla="*/ 1135857 w 2171700"/>
                <a:gd name="connsiteY38" fmla="*/ 335756 h 1828800"/>
                <a:gd name="connsiteX39" fmla="*/ 1083469 w 2171700"/>
                <a:gd name="connsiteY39" fmla="*/ 273843 h 1828800"/>
                <a:gd name="connsiteX40" fmla="*/ 1040607 w 2171700"/>
                <a:gd name="connsiteY40" fmla="*/ 271462 h 1828800"/>
                <a:gd name="connsiteX41" fmla="*/ 1014413 w 2171700"/>
                <a:gd name="connsiteY41" fmla="*/ 247650 h 1828800"/>
                <a:gd name="connsiteX42" fmla="*/ 947738 w 2171700"/>
                <a:gd name="connsiteY42" fmla="*/ 190500 h 1828800"/>
                <a:gd name="connsiteX43" fmla="*/ 950119 w 2171700"/>
                <a:gd name="connsiteY43" fmla="*/ 159543 h 1828800"/>
                <a:gd name="connsiteX44" fmla="*/ 878682 w 2171700"/>
                <a:gd name="connsiteY44" fmla="*/ 76200 h 1828800"/>
                <a:gd name="connsiteX45" fmla="*/ 797719 w 2171700"/>
                <a:gd name="connsiteY45" fmla="*/ 0 h 1828800"/>
                <a:gd name="connsiteX46" fmla="*/ 685800 w 2171700"/>
                <a:gd name="connsiteY46" fmla="*/ 0 h 1828800"/>
                <a:gd name="connsiteX47" fmla="*/ 640557 w 2171700"/>
                <a:gd name="connsiteY47" fmla="*/ 71437 h 1828800"/>
                <a:gd name="connsiteX48" fmla="*/ 576263 w 2171700"/>
                <a:gd name="connsiteY48" fmla="*/ 202406 h 1828800"/>
                <a:gd name="connsiteX49" fmla="*/ 452438 w 2171700"/>
                <a:gd name="connsiteY49" fmla="*/ 185737 h 1828800"/>
                <a:gd name="connsiteX50" fmla="*/ 423863 w 2171700"/>
                <a:gd name="connsiteY50" fmla="*/ 288131 h 1828800"/>
                <a:gd name="connsiteX51" fmla="*/ 385763 w 2171700"/>
                <a:gd name="connsiteY51" fmla="*/ 271462 h 1828800"/>
                <a:gd name="connsiteX52" fmla="*/ 145257 w 2171700"/>
                <a:gd name="connsiteY52" fmla="*/ 519112 h 1828800"/>
                <a:gd name="connsiteX53" fmla="*/ 71438 w 2171700"/>
                <a:gd name="connsiteY53" fmla="*/ 516731 h 1828800"/>
                <a:gd name="connsiteX54" fmla="*/ 40482 w 2171700"/>
                <a:gd name="connsiteY54" fmla="*/ 566737 h 1828800"/>
                <a:gd name="connsiteX55" fmla="*/ 28575 w 2171700"/>
                <a:gd name="connsiteY55" fmla="*/ 602456 h 1828800"/>
                <a:gd name="connsiteX56" fmla="*/ 0 w 2171700"/>
                <a:gd name="connsiteY56" fmla="*/ 652462 h 1828800"/>
                <a:gd name="connsiteX0" fmla="*/ 0 w 2171700"/>
                <a:gd name="connsiteY0" fmla="*/ 652462 h 1828800"/>
                <a:gd name="connsiteX1" fmla="*/ 295275 w 2171700"/>
                <a:gd name="connsiteY1" fmla="*/ 892968 h 1828800"/>
                <a:gd name="connsiteX2" fmla="*/ 485775 w 2171700"/>
                <a:gd name="connsiteY2" fmla="*/ 1054893 h 1828800"/>
                <a:gd name="connsiteX3" fmla="*/ 547688 w 2171700"/>
                <a:gd name="connsiteY3" fmla="*/ 1097756 h 1828800"/>
                <a:gd name="connsiteX4" fmla="*/ 566738 w 2171700"/>
                <a:gd name="connsiteY4" fmla="*/ 1140618 h 1828800"/>
                <a:gd name="connsiteX5" fmla="*/ 545307 w 2171700"/>
                <a:gd name="connsiteY5" fmla="*/ 1157287 h 1828800"/>
                <a:gd name="connsiteX6" fmla="*/ 754857 w 2171700"/>
                <a:gd name="connsiteY6" fmla="*/ 1423987 h 1828800"/>
                <a:gd name="connsiteX7" fmla="*/ 909638 w 2171700"/>
                <a:gd name="connsiteY7" fmla="*/ 1388268 h 1828800"/>
                <a:gd name="connsiteX8" fmla="*/ 1023938 w 2171700"/>
                <a:gd name="connsiteY8" fmla="*/ 1378743 h 1828800"/>
                <a:gd name="connsiteX9" fmla="*/ 1109663 w 2171700"/>
                <a:gd name="connsiteY9" fmla="*/ 1395412 h 1828800"/>
                <a:gd name="connsiteX10" fmla="*/ 1228725 w 2171700"/>
                <a:gd name="connsiteY10" fmla="*/ 1404937 h 1828800"/>
                <a:gd name="connsiteX11" fmla="*/ 1328738 w 2171700"/>
                <a:gd name="connsiteY11" fmla="*/ 1416843 h 1828800"/>
                <a:gd name="connsiteX12" fmla="*/ 1428750 w 2171700"/>
                <a:gd name="connsiteY12" fmla="*/ 1359693 h 1828800"/>
                <a:gd name="connsiteX13" fmla="*/ 1500188 w 2171700"/>
                <a:gd name="connsiteY13" fmla="*/ 1450181 h 1828800"/>
                <a:gd name="connsiteX14" fmla="*/ 1590675 w 2171700"/>
                <a:gd name="connsiteY14" fmla="*/ 1502568 h 1828800"/>
                <a:gd name="connsiteX15" fmla="*/ 1643063 w 2171700"/>
                <a:gd name="connsiteY15" fmla="*/ 1650206 h 1828800"/>
                <a:gd name="connsiteX16" fmla="*/ 1728788 w 2171700"/>
                <a:gd name="connsiteY16" fmla="*/ 1600200 h 1828800"/>
                <a:gd name="connsiteX17" fmla="*/ 1709738 w 2171700"/>
                <a:gd name="connsiteY17" fmla="*/ 1828800 h 1828800"/>
                <a:gd name="connsiteX18" fmla="*/ 1909763 w 2171700"/>
                <a:gd name="connsiteY18" fmla="*/ 1676400 h 1828800"/>
                <a:gd name="connsiteX19" fmla="*/ 1985963 w 2171700"/>
                <a:gd name="connsiteY19" fmla="*/ 1645443 h 1828800"/>
                <a:gd name="connsiteX20" fmla="*/ 2131219 w 2171700"/>
                <a:gd name="connsiteY20" fmla="*/ 1545431 h 1828800"/>
                <a:gd name="connsiteX21" fmla="*/ 2081213 w 2171700"/>
                <a:gd name="connsiteY21" fmla="*/ 1471612 h 1828800"/>
                <a:gd name="connsiteX22" fmla="*/ 2169319 w 2171700"/>
                <a:gd name="connsiteY22" fmla="*/ 1395412 h 1828800"/>
                <a:gd name="connsiteX23" fmla="*/ 2162175 w 2171700"/>
                <a:gd name="connsiteY23" fmla="*/ 1345406 h 1828800"/>
                <a:gd name="connsiteX24" fmla="*/ 2169319 w 2171700"/>
                <a:gd name="connsiteY24" fmla="*/ 1290637 h 1828800"/>
                <a:gd name="connsiteX25" fmla="*/ 2171700 w 2171700"/>
                <a:gd name="connsiteY25" fmla="*/ 1259681 h 1828800"/>
                <a:gd name="connsiteX26" fmla="*/ 2062163 w 2171700"/>
                <a:gd name="connsiteY26" fmla="*/ 1171575 h 1828800"/>
                <a:gd name="connsiteX27" fmla="*/ 2059782 w 2171700"/>
                <a:gd name="connsiteY27" fmla="*/ 947737 h 1828800"/>
                <a:gd name="connsiteX28" fmla="*/ 1988344 w 2171700"/>
                <a:gd name="connsiteY28" fmla="*/ 847725 h 1828800"/>
                <a:gd name="connsiteX29" fmla="*/ 2019300 w 2171700"/>
                <a:gd name="connsiteY29" fmla="*/ 657225 h 1828800"/>
                <a:gd name="connsiteX30" fmla="*/ 1990725 w 2171700"/>
                <a:gd name="connsiteY30" fmla="*/ 619125 h 1828800"/>
                <a:gd name="connsiteX31" fmla="*/ 1976438 w 2171700"/>
                <a:gd name="connsiteY31" fmla="*/ 597693 h 1828800"/>
                <a:gd name="connsiteX32" fmla="*/ 1916907 w 2171700"/>
                <a:gd name="connsiteY32" fmla="*/ 597693 h 1828800"/>
                <a:gd name="connsiteX33" fmla="*/ 1864519 w 2171700"/>
                <a:gd name="connsiteY33" fmla="*/ 590550 h 1828800"/>
                <a:gd name="connsiteX34" fmla="*/ 1831182 w 2171700"/>
                <a:gd name="connsiteY34" fmla="*/ 619125 h 1828800"/>
                <a:gd name="connsiteX35" fmla="*/ 1621632 w 2171700"/>
                <a:gd name="connsiteY35" fmla="*/ 609600 h 1828800"/>
                <a:gd name="connsiteX36" fmla="*/ 1516857 w 2171700"/>
                <a:gd name="connsiteY36" fmla="*/ 509587 h 1828800"/>
                <a:gd name="connsiteX37" fmla="*/ 1250157 w 2171700"/>
                <a:gd name="connsiteY37" fmla="*/ 390525 h 1828800"/>
                <a:gd name="connsiteX38" fmla="*/ 1135857 w 2171700"/>
                <a:gd name="connsiteY38" fmla="*/ 335756 h 1828800"/>
                <a:gd name="connsiteX39" fmla="*/ 1083469 w 2171700"/>
                <a:gd name="connsiteY39" fmla="*/ 273843 h 1828800"/>
                <a:gd name="connsiteX40" fmla="*/ 1040607 w 2171700"/>
                <a:gd name="connsiteY40" fmla="*/ 271462 h 1828800"/>
                <a:gd name="connsiteX41" fmla="*/ 1042988 w 2171700"/>
                <a:gd name="connsiteY41" fmla="*/ 242887 h 1828800"/>
                <a:gd name="connsiteX42" fmla="*/ 947738 w 2171700"/>
                <a:gd name="connsiteY42" fmla="*/ 190500 h 1828800"/>
                <a:gd name="connsiteX43" fmla="*/ 950119 w 2171700"/>
                <a:gd name="connsiteY43" fmla="*/ 159543 h 1828800"/>
                <a:gd name="connsiteX44" fmla="*/ 878682 w 2171700"/>
                <a:gd name="connsiteY44" fmla="*/ 76200 h 1828800"/>
                <a:gd name="connsiteX45" fmla="*/ 797719 w 2171700"/>
                <a:gd name="connsiteY45" fmla="*/ 0 h 1828800"/>
                <a:gd name="connsiteX46" fmla="*/ 685800 w 2171700"/>
                <a:gd name="connsiteY46" fmla="*/ 0 h 1828800"/>
                <a:gd name="connsiteX47" fmla="*/ 640557 w 2171700"/>
                <a:gd name="connsiteY47" fmla="*/ 71437 h 1828800"/>
                <a:gd name="connsiteX48" fmla="*/ 576263 w 2171700"/>
                <a:gd name="connsiteY48" fmla="*/ 202406 h 1828800"/>
                <a:gd name="connsiteX49" fmla="*/ 452438 w 2171700"/>
                <a:gd name="connsiteY49" fmla="*/ 185737 h 1828800"/>
                <a:gd name="connsiteX50" fmla="*/ 423863 w 2171700"/>
                <a:gd name="connsiteY50" fmla="*/ 288131 h 1828800"/>
                <a:gd name="connsiteX51" fmla="*/ 385763 w 2171700"/>
                <a:gd name="connsiteY51" fmla="*/ 271462 h 1828800"/>
                <a:gd name="connsiteX52" fmla="*/ 145257 w 2171700"/>
                <a:gd name="connsiteY52" fmla="*/ 519112 h 1828800"/>
                <a:gd name="connsiteX53" fmla="*/ 71438 w 2171700"/>
                <a:gd name="connsiteY53" fmla="*/ 516731 h 1828800"/>
                <a:gd name="connsiteX54" fmla="*/ 40482 w 2171700"/>
                <a:gd name="connsiteY54" fmla="*/ 566737 h 1828800"/>
                <a:gd name="connsiteX55" fmla="*/ 28575 w 2171700"/>
                <a:gd name="connsiteY55" fmla="*/ 602456 h 1828800"/>
                <a:gd name="connsiteX56" fmla="*/ 0 w 2171700"/>
                <a:gd name="connsiteY56" fmla="*/ 652462 h 1828800"/>
                <a:gd name="connsiteX0" fmla="*/ 0 w 2171700"/>
                <a:gd name="connsiteY0" fmla="*/ 652462 h 1828800"/>
                <a:gd name="connsiteX1" fmla="*/ 295275 w 2171700"/>
                <a:gd name="connsiteY1" fmla="*/ 892968 h 1828800"/>
                <a:gd name="connsiteX2" fmla="*/ 485775 w 2171700"/>
                <a:gd name="connsiteY2" fmla="*/ 1054893 h 1828800"/>
                <a:gd name="connsiteX3" fmla="*/ 547688 w 2171700"/>
                <a:gd name="connsiteY3" fmla="*/ 1097756 h 1828800"/>
                <a:gd name="connsiteX4" fmla="*/ 566738 w 2171700"/>
                <a:gd name="connsiteY4" fmla="*/ 1140618 h 1828800"/>
                <a:gd name="connsiteX5" fmla="*/ 545307 w 2171700"/>
                <a:gd name="connsiteY5" fmla="*/ 1157287 h 1828800"/>
                <a:gd name="connsiteX6" fmla="*/ 754857 w 2171700"/>
                <a:gd name="connsiteY6" fmla="*/ 1423987 h 1828800"/>
                <a:gd name="connsiteX7" fmla="*/ 909638 w 2171700"/>
                <a:gd name="connsiteY7" fmla="*/ 1388268 h 1828800"/>
                <a:gd name="connsiteX8" fmla="*/ 1023938 w 2171700"/>
                <a:gd name="connsiteY8" fmla="*/ 1378743 h 1828800"/>
                <a:gd name="connsiteX9" fmla="*/ 1109663 w 2171700"/>
                <a:gd name="connsiteY9" fmla="*/ 1395412 h 1828800"/>
                <a:gd name="connsiteX10" fmla="*/ 1228725 w 2171700"/>
                <a:gd name="connsiteY10" fmla="*/ 1404937 h 1828800"/>
                <a:gd name="connsiteX11" fmla="*/ 1328738 w 2171700"/>
                <a:gd name="connsiteY11" fmla="*/ 1416843 h 1828800"/>
                <a:gd name="connsiteX12" fmla="*/ 1428750 w 2171700"/>
                <a:gd name="connsiteY12" fmla="*/ 1359693 h 1828800"/>
                <a:gd name="connsiteX13" fmla="*/ 1500188 w 2171700"/>
                <a:gd name="connsiteY13" fmla="*/ 1450181 h 1828800"/>
                <a:gd name="connsiteX14" fmla="*/ 1590675 w 2171700"/>
                <a:gd name="connsiteY14" fmla="*/ 1502568 h 1828800"/>
                <a:gd name="connsiteX15" fmla="*/ 1643063 w 2171700"/>
                <a:gd name="connsiteY15" fmla="*/ 1650206 h 1828800"/>
                <a:gd name="connsiteX16" fmla="*/ 1728788 w 2171700"/>
                <a:gd name="connsiteY16" fmla="*/ 1600200 h 1828800"/>
                <a:gd name="connsiteX17" fmla="*/ 1709738 w 2171700"/>
                <a:gd name="connsiteY17" fmla="*/ 1828800 h 1828800"/>
                <a:gd name="connsiteX18" fmla="*/ 1909763 w 2171700"/>
                <a:gd name="connsiteY18" fmla="*/ 1676400 h 1828800"/>
                <a:gd name="connsiteX19" fmla="*/ 1985963 w 2171700"/>
                <a:gd name="connsiteY19" fmla="*/ 1645443 h 1828800"/>
                <a:gd name="connsiteX20" fmla="*/ 2131219 w 2171700"/>
                <a:gd name="connsiteY20" fmla="*/ 1545431 h 1828800"/>
                <a:gd name="connsiteX21" fmla="*/ 2081213 w 2171700"/>
                <a:gd name="connsiteY21" fmla="*/ 1471612 h 1828800"/>
                <a:gd name="connsiteX22" fmla="*/ 2169319 w 2171700"/>
                <a:gd name="connsiteY22" fmla="*/ 1395412 h 1828800"/>
                <a:gd name="connsiteX23" fmla="*/ 2162175 w 2171700"/>
                <a:gd name="connsiteY23" fmla="*/ 1345406 h 1828800"/>
                <a:gd name="connsiteX24" fmla="*/ 2169319 w 2171700"/>
                <a:gd name="connsiteY24" fmla="*/ 1290637 h 1828800"/>
                <a:gd name="connsiteX25" fmla="*/ 2171700 w 2171700"/>
                <a:gd name="connsiteY25" fmla="*/ 1259681 h 1828800"/>
                <a:gd name="connsiteX26" fmla="*/ 2062163 w 2171700"/>
                <a:gd name="connsiteY26" fmla="*/ 1171575 h 1828800"/>
                <a:gd name="connsiteX27" fmla="*/ 2059782 w 2171700"/>
                <a:gd name="connsiteY27" fmla="*/ 947737 h 1828800"/>
                <a:gd name="connsiteX28" fmla="*/ 1988344 w 2171700"/>
                <a:gd name="connsiteY28" fmla="*/ 847725 h 1828800"/>
                <a:gd name="connsiteX29" fmla="*/ 2019300 w 2171700"/>
                <a:gd name="connsiteY29" fmla="*/ 657225 h 1828800"/>
                <a:gd name="connsiteX30" fmla="*/ 1990725 w 2171700"/>
                <a:gd name="connsiteY30" fmla="*/ 619125 h 1828800"/>
                <a:gd name="connsiteX31" fmla="*/ 1976438 w 2171700"/>
                <a:gd name="connsiteY31" fmla="*/ 597693 h 1828800"/>
                <a:gd name="connsiteX32" fmla="*/ 1916907 w 2171700"/>
                <a:gd name="connsiteY32" fmla="*/ 597693 h 1828800"/>
                <a:gd name="connsiteX33" fmla="*/ 1864519 w 2171700"/>
                <a:gd name="connsiteY33" fmla="*/ 590550 h 1828800"/>
                <a:gd name="connsiteX34" fmla="*/ 1831182 w 2171700"/>
                <a:gd name="connsiteY34" fmla="*/ 619125 h 1828800"/>
                <a:gd name="connsiteX35" fmla="*/ 1621632 w 2171700"/>
                <a:gd name="connsiteY35" fmla="*/ 609600 h 1828800"/>
                <a:gd name="connsiteX36" fmla="*/ 1516857 w 2171700"/>
                <a:gd name="connsiteY36" fmla="*/ 509587 h 1828800"/>
                <a:gd name="connsiteX37" fmla="*/ 1250157 w 2171700"/>
                <a:gd name="connsiteY37" fmla="*/ 390525 h 1828800"/>
                <a:gd name="connsiteX38" fmla="*/ 1135857 w 2171700"/>
                <a:gd name="connsiteY38" fmla="*/ 335756 h 1828800"/>
                <a:gd name="connsiteX39" fmla="*/ 1083469 w 2171700"/>
                <a:gd name="connsiteY39" fmla="*/ 273843 h 1828800"/>
                <a:gd name="connsiteX40" fmla="*/ 1040607 w 2171700"/>
                <a:gd name="connsiteY40" fmla="*/ 271462 h 1828800"/>
                <a:gd name="connsiteX41" fmla="*/ 1042988 w 2171700"/>
                <a:gd name="connsiteY41" fmla="*/ 242887 h 1828800"/>
                <a:gd name="connsiteX42" fmla="*/ 947738 w 2171700"/>
                <a:gd name="connsiteY42" fmla="*/ 190500 h 1828800"/>
                <a:gd name="connsiteX43" fmla="*/ 950119 w 2171700"/>
                <a:gd name="connsiteY43" fmla="*/ 159543 h 1828800"/>
                <a:gd name="connsiteX44" fmla="*/ 914400 w 2171700"/>
                <a:gd name="connsiteY44" fmla="*/ 116681 h 1828800"/>
                <a:gd name="connsiteX45" fmla="*/ 878682 w 2171700"/>
                <a:gd name="connsiteY45" fmla="*/ 76200 h 1828800"/>
                <a:gd name="connsiteX46" fmla="*/ 797719 w 2171700"/>
                <a:gd name="connsiteY46" fmla="*/ 0 h 1828800"/>
                <a:gd name="connsiteX47" fmla="*/ 685800 w 2171700"/>
                <a:gd name="connsiteY47" fmla="*/ 0 h 1828800"/>
                <a:gd name="connsiteX48" fmla="*/ 640557 w 2171700"/>
                <a:gd name="connsiteY48" fmla="*/ 71437 h 1828800"/>
                <a:gd name="connsiteX49" fmla="*/ 576263 w 2171700"/>
                <a:gd name="connsiteY49" fmla="*/ 202406 h 1828800"/>
                <a:gd name="connsiteX50" fmla="*/ 452438 w 2171700"/>
                <a:gd name="connsiteY50" fmla="*/ 185737 h 1828800"/>
                <a:gd name="connsiteX51" fmla="*/ 423863 w 2171700"/>
                <a:gd name="connsiteY51" fmla="*/ 288131 h 1828800"/>
                <a:gd name="connsiteX52" fmla="*/ 385763 w 2171700"/>
                <a:gd name="connsiteY52" fmla="*/ 271462 h 1828800"/>
                <a:gd name="connsiteX53" fmla="*/ 145257 w 2171700"/>
                <a:gd name="connsiteY53" fmla="*/ 519112 h 1828800"/>
                <a:gd name="connsiteX54" fmla="*/ 71438 w 2171700"/>
                <a:gd name="connsiteY54" fmla="*/ 516731 h 1828800"/>
                <a:gd name="connsiteX55" fmla="*/ 40482 w 2171700"/>
                <a:gd name="connsiteY55" fmla="*/ 566737 h 1828800"/>
                <a:gd name="connsiteX56" fmla="*/ 28575 w 2171700"/>
                <a:gd name="connsiteY56" fmla="*/ 602456 h 1828800"/>
                <a:gd name="connsiteX57" fmla="*/ 0 w 2171700"/>
                <a:gd name="connsiteY57" fmla="*/ 652462 h 1828800"/>
                <a:gd name="connsiteX0" fmla="*/ 0 w 2171700"/>
                <a:gd name="connsiteY0" fmla="*/ 652462 h 1828800"/>
                <a:gd name="connsiteX1" fmla="*/ 295275 w 2171700"/>
                <a:gd name="connsiteY1" fmla="*/ 892968 h 1828800"/>
                <a:gd name="connsiteX2" fmla="*/ 485775 w 2171700"/>
                <a:gd name="connsiteY2" fmla="*/ 1054893 h 1828800"/>
                <a:gd name="connsiteX3" fmla="*/ 547688 w 2171700"/>
                <a:gd name="connsiteY3" fmla="*/ 1097756 h 1828800"/>
                <a:gd name="connsiteX4" fmla="*/ 566738 w 2171700"/>
                <a:gd name="connsiteY4" fmla="*/ 1140618 h 1828800"/>
                <a:gd name="connsiteX5" fmla="*/ 545307 w 2171700"/>
                <a:gd name="connsiteY5" fmla="*/ 1157287 h 1828800"/>
                <a:gd name="connsiteX6" fmla="*/ 754857 w 2171700"/>
                <a:gd name="connsiteY6" fmla="*/ 1423987 h 1828800"/>
                <a:gd name="connsiteX7" fmla="*/ 909638 w 2171700"/>
                <a:gd name="connsiteY7" fmla="*/ 1388268 h 1828800"/>
                <a:gd name="connsiteX8" fmla="*/ 1023938 w 2171700"/>
                <a:gd name="connsiteY8" fmla="*/ 1378743 h 1828800"/>
                <a:gd name="connsiteX9" fmla="*/ 1109663 w 2171700"/>
                <a:gd name="connsiteY9" fmla="*/ 1395412 h 1828800"/>
                <a:gd name="connsiteX10" fmla="*/ 1228725 w 2171700"/>
                <a:gd name="connsiteY10" fmla="*/ 1404937 h 1828800"/>
                <a:gd name="connsiteX11" fmla="*/ 1328738 w 2171700"/>
                <a:gd name="connsiteY11" fmla="*/ 1416843 h 1828800"/>
                <a:gd name="connsiteX12" fmla="*/ 1428750 w 2171700"/>
                <a:gd name="connsiteY12" fmla="*/ 1359693 h 1828800"/>
                <a:gd name="connsiteX13" fmla="*/ 1500188 w 2171700"/>
                <a:gd name="connsiteY13" fmla="*/ 1450181 h 1828800"/>
                <a:gd name="connsiteX14" fmla="*/ 1590675 w 2171700"/>
                <a:gd name="connsiteY14" fmla="*/ 1502568 h 1828800"/>
                <a:gd name="connsiteX15" fmla="*/ 1643063 w 2171700"/>
                <a:gd name="connsiteY15" fmla="*/ 1650206 h 1828800"/>
                <a:gd name="connsiteX16" fmla="*/ 1728788 w 2171700"/>
                <a:gd name="connsiteY16" fmla="*/ 1600200 h 1828800"/>
                <a:gd name="connsiteX17" fmla="*/ 1709738 w 2171700"/>
                <a:gd name="connsiteY17" fmla="*/ 1828800 h 1828800"/>
                <a:gd name="connsiteX18" fmla="*/ 1909763 w 2171700"/>
                <a:gd name="connsiteY18" fmla="*/ 1676400 h 1828800"/>
                <a:gd name="connsiteX19" fmla="*/ 1985963 w 2171700"/>
                <a:gd name="connsiteY19" fmla="*/ 1645443 h 1828800"/>
                <a:gd name="connsiteX20" fmla="*/ 2131219 w 2171700"/>
                <a:gd name="connsiteY20" fmla="*/ 1545431 h 1828800"/>
                <a:gd name="connsiteX21" fmla="*/ 2081213 w 2171700"/>
                <a:gd name="connsiteY21" fmla="*/ 1471612 h 1828800"/>
                <a:gd name="connsiteX22" fmla="*/ 2169319 w 2171700"/>
                <a:gd name="connsiteY22" fmla="*/ 1395412 h 1828800"/>
                <a:gd name="connsiteX23" fmla="*/ 2162175 w 2171700"/>
                <a:gd name="connsiteY23" fmla="*/ 1345406 h 1828800"/>
                <a:gd name="connsiteX24" fmla="*/ 2169319 w 2171700"/>
                <a:gd name="connsiteY24" fmla="*/ 1290637 h 1828800"/>
                <a:gd name="connsiteX25" fmla="*/ 2171700 w 2171700"/>
                <a:gd name="connsiteY25" fmla="*/ 1259681 h 1828800"/>
                <a:gd name="connsiteX26" fmla="*/ 2062163 w 2171700"/>
                <a:gd name="connsiteY26" fmla="*/ 1171575 h 1828800"/>
                <a:gd name="connsiteX27" fmla="*/ 2059782 w 2171700"/>
                <a:gd name="connsiteY27" fmla="*/ 947737 h 1828800"/>
                <a:gd name="connsiteX28" fmla="*/ 1988344 w 2171700"/>
                <a:gd name="connsiteY28" fmla="*/ 847725 h 1828800"/>
                <a:gd name="connsiteX29" fmla="*/ 2019300 w 2171700"/>
                <a:gd name="connsiteY29" fmla="*/ 657225 h 1828800"/>
                <a:gd name="connsiteX30" fmla="*/ 1990725 w 2171700"/>
                <a:gd name="connsiteY30" fmla="*/ 619125 h 1828800"/>
                <a:gd name="connsiteX31" fmla="*/ 1976438 w 2171700"/>
                <a:gd name="connsiteY31" fmla="*/ 597693 h 1828800"/>
                <a:gd name="connsiteX32" fmla="*/ 1916907 w 2171700"/>
                <a:gd name="connsiteY32" fmla="*/ 597693 h 1828800"/>
                <a:gd name="connsiteX33" fmla="*/ 1864519 w 2171700"/>
                <a:gd name="connsiteY33" fmla="*/ 590550 h 1828800"/>
                <a:gd name="connsiteX34" fmla="*/ 1831182 w 2171700"/>
                <a:gd name="connsiteY34" fmla="*/ 619125 h 1828800"/>
                <a:gd name="connsiteX35" fmla="*/ 1621632 w 2171700"/>
                <a:gd name="connsiteY35" fmla="*/ 609600 h 1828800"/>
                <a:gd name="connsiteX36" fmla="*/ 1516857 w 2171700"/>
                <a:gd name="connsiteY36" fmla="*/ 509587 h 1828800"/>
                <a:gd name="connsiteX37" fmla="*/ 1250157 w 2171700"/>
                <a:gd name="connsiteY37" fmla="*/ 390525 h 1828800"/>
                <a:gd name="connsiteX38" fmla="*/ 1135857 w 2171700"/>
                <a:gd name="connsiteY38" fmla="*/ 335756 h 1828800"/>
                <a:gd name="connsiteX39" fmla="*/ 1083469 w 2171700"/>
                <a:gd name="connsiteY39" fmla="*/ 273843 h 1828800"/>
                <a:gd name="connsiteX40" fmla="*/ 1040607 w 2171700"/>
                <a:gd name="connsiteY40" fmla="*/ 271462 h 1828800"/>
                <a:gd name="connsiteX41" fmla="*/ 1042988 w 2171700"/>
                <a:gd name="connsiteY41" fmla="*/ 242887 h 1828800"/>
                <a:gd name="connsiteX42" fmla="*/ 947738 w 2171700"/>
                <a:gd name="connsiteY42" fmla="*/ 190500 h 1828800"/>
                <a:gd name="connsiteX43" fmla="*/ 950119 w 2171700"/>
                <a:gd name="connsiteY43" fmla="*/ 159543 h 1828800"/>
                <a:gd name="connsiteX44" fmla="*/ 923925 w 2171700"/>
                <a:gd name="connsiteY44" fmla="*/ 114299 h 1828800"/>
                <a:gd name="connsiteX45" fmla="*/ 878682 w 2171700"/>
                <a:gd name="connsiteY45" fmla="*/ 76200 h 1828800"/>
                <a:gd name="connsiteX46" fmla="*/ 797719 w 2171700"/>
                <a:gd name="connsiteY46" fmla="*/ 0 h 1828800"/>
                <a:gd name="connsiteX47" fmla="*/ 685800 w 2171700"/>
                <a:gd name="connsiteY47" fmla="*/ 0 h 1828800"/>
                <a:gd name="connsiteX48" fmla="*/ 640557 w 2171700"/>
                <a:gd name="connsiteY48" fmla="*/ 71437 h 1828800"/>
                <a:gd name="connsiteX49" fmla="*/ 576263 w 2171700"/>
                <a:gd name="connsiteY49" fmla="*/ 202406 h 1828800"/>
                <a:gd name="connsiteX50" fmla="*/ 452438 w 2171700"/>
                <a:gd name="connsiteY50" fmla="*/ 185737 h 1828800"/>
                <a:gd name="connsiteX51" fmla="*/ 423863 w 2171700"/>
                <a:gd name="connsiteY51" fmla="*/ 288131 h 1828800"/>
                <a:gd name="connsiteX52" fmla="*/ 385763 w 2171700"/>
                <a:gd name="connsiteY52" fmla="*/ 271462 h 1828800"/>
                <a:gd name="connsiteX53" fmla="*/ 145257 w 2171700"/>
                <a:gd name="connsiteY53" fmla="*/ 519112 h 1828800"/>
                <a:gd name="connsiteX54" fmla="*/ 71438 w 2171700"/>
                <a:gd name="connsiteY54" fmla="*/ 516731 h 1828800"/>
                <a:gd name="connsiteX55" fmla="*/ 40482 w 2171700"/>
                <a:gd name="connsiteY55" fmla="*/ 566737 h 1828800"/>
                <a:gd name="connsiteX56" fmla="*/ 28575 w 2171700"/>
                <a:gd name="connsiteY56" fmla="*/ 602456 h 1828800"/>
                <a:gd name="connsiteX57" fmla="*/ 0 w 2171700"/>
                <a:gd name="connsiteY57" fmla="*/ 652462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171700" h="1828800">
                  <a:moveTo>
                    <a:pt x="0" y="652462"/>
                  </a:moveTo>
                  <a:lnTo>
                    <a:pt x="295275" y="892968"/>
                  </a:lnTo>
                  <a:lnTo>
                    <a:pt x="485775" y="1054893"/>
                  </a:lnTo>
                  <a:lnTo>
                    <a:pt x="547688" y="1097756"/>
                  </a:lnTo>
                  <a:lnTo>
                    <a:pt x="566738" y="1140618"/>
                  </a:lnTo>
                  <a:lnTo>
                    <a:pt x="545307" y="1157287"/>
                  </a:lnTo>
                  <a:lnTo>
                    <a:pt x="754857" y="1423987"/>
                  </a:lnTo>
                  <a:lnTo>
                    <a:pt x="909638" y="1388268"/>
                  </a:lnTo>
                  <a:lnTo>
                    <a:pt x="1023938" y="1378743"/>
                  </a:lnTo>
                  <a:lnTo>
                    <a:pt x="1109663" y="1395412"/>
                  </a:lnTo>
                  <a:lnTo>
                    <a:pt x="1228725" y="1404937"/>
                  </a:lnTo>
                  <a:lnTo>
                    <a:pt x="1328738" y="1416843"/>
                  </a:lnTo>
                  <a:lnTo>
                    <a:pt x="1428750" y="1359693"/>
                  </a:lnTo>
                  <a:lnTo>
                    <a:pt x="1500188" y="1450181"/>
                  </a:lnTo>
                  <a:lnTo>
                    <a:pt x="1590675" y="1502568"/>
                  </a:lnTo>
                  <a:lnTo>
                    <a:pt x="1643063" y="1650206"/>
                  </a:lnTo>
                  <a:lnTo>
                    <a:pt x="1728788" y="1600200"/>
                  </a:lnTo>
                  <a:lnTo>
                    <a:pt x="1709738" y="1828800"/>
                  </a:lnTo>
                  <a:lnTo>
                    <a:pt x="1909763" y="1676400"/>
                  </a:lnTo>
                  <a:lnTo>
                    <a:pt x="1985963" y="1645443"/>
                  </a:lnTo>
                  <a:lnTo>
                    <a:pt x="2131219" y="1545431"/>
                  </a:lnTo>
                  <a:lnTo>
                    <a:pt x="2081213" y="1471612"/>
                  </a:lnTo>
                  <a:lnTo>
                    <a:pt x="2169319" y="1395412"/>
                  </a:lnTo>
                  <a:lnTo>
                    <a:pt x="2162175" y="1345406"/>
                  </a:lnTo>
                  <a:lnTo>
                    <a:pt x="2169319" y="1290637"/>
                  </a:lnTo>
                  <a:lnTo>
                    <a:pt x="2171700" y="1259681"/>
                  </a:lnTo>
                  <a:lnTo>
                    <a:pt x="2062163" y="1171575"/>
                  </a:lnTo>
                  <a:cubicBezTo>
                    <a:pt x="2061369" y="1096962"/>
                    <a:pt x="2060576" y="1022350"/>
                    <a:pt x="2059782" y="947737"/>
                  </a:cubicBezTo>
                  <a:lnTo>
                    <a:pt x="1988344" y="847725"/>
                  </a:lnTo>
                  <a:lnTo>
                    <a:pt x="2019300" y="657225"/>
                  </a:lnTo>
                  <a:lnTo>
                    <a:pt x="1990725" y="619125"/>
                  </a:lnTo>
                  <a:lnTo>
                    <a:pt x="1976438" y="597693"/>
                  </a:lnTo>
                  <a:lnTo>
                    <a:pt x="1916907" y="597693"/>
                  </a:lnTo>
                  <a:lnTo>
                    <a:pt x="1864519" y="590550"/>
                  </a:lnTo>
                  <a:lnTo>
                    <a:pt x="1831182" y="619125"/>
                  </a:lnTo>
                  <a:lnTo>
                    <a:pt x="1621632" y="609600"/>
                  </a:lnTo>
                  <a:lnTo>
                    <a:pt x="1516857" y="509587"/>
                  </a:lnTo>
                  <a:lnTo>
                    <a:pt x="1250157" y="390525"/>
                  </a:lnTo>
                  <a:lnTo>
                    <a:pt x="1135857" y="335756"/>
                  </a:lnTo>
                  <a:lnTo>
                    <a:pt x="1083469" y="273843"/>
                  </a:lnTo>
                  <a:lnTo>
                    <a:pt x="1040607" y="271462"/>
                  </a:lnTo>
                  <a:lnTo>
                    <a:pt x="1042988" y="242887"/>
                  </a:lnTo>
                  <a:lnTo>
                    <a:pt x="947738" y="190500"/>
                  </a:lnTo>
                  <a:lnTo>
                    <a:pt x="950119" y="159543"/>
                  </a:lnTo>
                  <a:lnTo>
                    <a:pt x="923925" y="114299"/>
                  </a:lnTo>
                  <a:lnTo>
                    <a:pt x="878682" y="76200"/>
                  </a:lnTo>
                  <a:lnTo>
                    <a:pt x="797719" y="0"/>
                  </a:lnTo>
                  <a:lnTo>
                    <a:pt x="685800" y="0"/>
                  </a:lnTo>
                  <a:lnTo>
                    <a:pt x="640557" y="71437"/>
                  </a:lnTo>
                  <a:lnTo>
                    <a:pt x="576263" y="202406"/>
                  </a:lnTo>
                  <a:lnTo>
                    <a:pt x="452438" y="185737"/>
                  </a:lnTo>
                  <a:lnTo>
                    <a:pt x="423863" y="288131"/>
                  </a:lnTo>
                  <a:lnTo>
                    <a:pt x="385763" y="271462"/>
                  </a:lnTo>
                  <a:lnTo>
                    <a:pt x="145257" y="519112"/>
                  </a:lnTo>
                  <a:lnTo>
                    <a:pt x="71438" y="516731"/>
                  </a:lnTo>
                  <a:lnTo>
                    <a:pt x="40482" y="566737"/>
                  </a:lnTo>
                  <a:lnTo>
                    <a:pt x="28575" y="602456"/>
                  </a:lnTo>
                  <a:lnTo>
                    <a:pt x="0" y="6524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36000"/>
              </a:schemeClr>
            </a:solidFill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ysDot"/>
              <a:miter lim="800000"/>
            </a:ln>
            <a:effectLst/>
          </p:spPr>
          <p:txBody>
            <a:bodyPr anchor="ctr"/>
            <a:lstStyle/>
            <a:p>
              <a:pPr algn="ctr" defTabSz="514324">
                <a:defRPr/>
              </a:pPr>
              <a:endParaRPr lang="ru-RU" sz="600" kern="0" dirty="0" err="1">
                <a:solidFill>
                  <a:srgbClr val="A5A5A5">
                    <a:lumMod val="50000"/>
                  </a:srgbClr>
                </a:solidFill>
                <a:cs typeface="Arial" panose="020B0604020202020204" pitchFamily="34" charset="0"/>
              </a:endParaRPr>
            </a:p>
          </p:txBody>
        </p:sp>
      </p:grpSp>
      <p:cxnSp>
        <p:nvCxnSpPr>
          <p:cNvPr id="86" name="Прямая соединительная линия 85"/>
          <p:cNvCxnSpPr>
            <a:stCxn id="79" idx="5"/>
          </p:cNvCxnSpPr>
          <p:nvPr/>
        </p:nvCxnSpPr>
        <p:spPr>
          <a:xfrm flipH="1">
            <a:off x="7328795" y="4393375"/>
            <a:ext cx="1159340" cy="1643858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Прямая соединительная линия 87"/>
          <p:cNvCxnSpPr/>
          <p:nvPr/>
        </p:nvCxnSpPr>
        <p:spPr>
          <a:xfrm>
            <a:off x="8807193" y="3412769"/>
            <a:ext cx="656326" cy="51643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/>
          <p:cNvCxnSpPr/>
          <p:nvPr/>
        </p:nvCxnSpPr>
        <p:spPr>
          <a:xfrm>
            <a:off x="7550322" y="3125011"/>
            <a:ext cx="178782" cy="18143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Прямоугольник 91"/>
          <p:cNvSpPr/>
          <p:nvPr/>
        </p:nvSpPr>
        <p:spPr>
          <a:xfrm rot="16887206">
            <a:off x="8865558" y="3191030"/>
            <a:ext cx="156122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cs typeface="Arial" panose="020B0604020202020204" pitchFamily="34" charset="0"/>
              </a:rPr>
              <a:t>«</a:t>
            </a:r>
            <a:r>
              <a:rPr lang="ru-RU" sz="900" b="1" dirty="0" err="1">
                <a:cs typeface="Arial" panose="020B0604020202020204" pitchFamily="34" charset="0"/>
              </a:rPr>
              <a:t>Бұхара</a:t>
            </a:r>
            <a:r>
              <a:rPr lang="ru-RU" sz="900" b="1" dirty="0">
                <a:cs typeface="Arial" panose="020B0604020202020204" pitchFamily="34" charset="0"/>
              </a:rPr>
              <a:t>-Орал» МГҚ</a:t>
            </a:r>
          </a:p>
        </p:txBody>
      </p:sp>
      <p:sp>
        <p:nvSpPr>
          <p:cNvPr id="93" name="Прямоугольник 92"/>
          <p:cNvSpPr/>
          <p:nvPr/>
        </p:nvSpPr>
        <p:spPr>
          <a:xfrm rot="3152913">
            <a:off x="7714873" y="3600553"/>
            <a:ext cx="95795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cs typeface="Arial" panose="020B0604020202020204" pitchFamily="34" charset="0"/>
              </a:rPr>
              <a:t>«ОАО» МГҚ</a:t>
            </a:r>
          </a:p>
        </p:txBody>
      </p:sp>
      <p:sp>
        <p:nvSpPr>
          <p:cNvPr id="94" name="Прямоугольник 93"/>
          <p:cNvSpPr/>
          <p:nvPr/>
        </p:nvSpPr>
        <p:spPr>
          <a:xfrm rot="21152559">
            <a:off x="5533106" y="3532972"/>
            <a:ext cx="221261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cs typeface="Arial" panose="020B0604020202020204" pitchFamily="34" charset="0"/>
              </a:rPr>
              <a:t>«</a:t>
            </a:r>
            <a:r>
              <a:rPr lang="ru-RU" sz="900" b="1" dirty="0" err="1">
                <a:cs typeface="Arial" panose="020B0604020202020204" pitchFamily="34" charset="0"/>
              </a:rPr>
              <a:t>Мақат-Солтүстік</a:t>
            </a:r>
            <a:r>
              <a:rPr lang="ru-RU" sz="900" b="1" dirty="0">
                <a:cs typeface="Arial" panose="020B0604020202020204" pitchFamily="34" charset="0"/>
              </a:rPr>
              <a:t> Кавказ» МГҚ</a:t>
            </a:r>
          </a:p>
        </p:txBody>
      </p:sp>
      <p:cxnSp>
        <p:nvCxnSpPr>
          <p:cNvPr id="95" name="Прямая соединительная линия 94"/>
          <p:cNvCxnSpPr>
            <a:stCxn id="79" idx="74"/>
          </p:cNvCxnSpPr>
          <p:nvPr/>
        </p:nvCxnSpPr>
        <p:spPr>
          <a:xfrm>
            <a:off x="7044350" y="5423888"/>
            <a:ext cx="644002" cy="62644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Прямая соединительная линия 95"/>
          <p:cNvCxnSpPr/>
          <p:nvPr/>
        </p:nvCxnSpPr>
        <p:spPr>
          <a:xfrm>
            <a:off x="7070770" y="5518866"/>
            <a:ext cx="605881" cy="58395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7" name="Прямая соединительная линия 96"/>
          <p:cNvCxnSpPr/>
          <p:nvPr/>
        </p:nvCxnSpPr>
        <p:spPr>
          <a:xfrm flipV="1">
            <a:off x="7639713" y="4350222"/>
            <a:ext cx="779939" cy="1081160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9" name="Прямая соединительная линия 98"/>
          <p:cNvCxnSpPr/>
          <p:nvPr/>
        </p:nvCxnSpPr>
        <p:spPr>
          <a:xfrm flipV="1">
            <a:off x="7476174" y="3683270"/>
            <a:ext cx="457828" cy="69273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0" name="Прямая со стрелкой 99"/>
          <p:cNvCxnSpPr>
            <a:stCxn id="141" idx="1"/>
          </p:cNvCxnSpPr>
          <p:nvPr/>
        </p:nvCxnSpPr>
        <p:spPr>
          <a:xfrm flipH="1" flipV="1">
            <a:off x="7687602" y="5431386"/>
            <a:ext cx="770490" cy="3925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Прямая со стрелкой 100"/>
          <p:cNvCxnSpPr>
            <a:stCxn id="83" idx="80"/>
          </p:cNvCxnSpPr>
          <p:nvPr/>
        </p:nvCxnSpPr>
        <p:spPr>
          <a:xfrm>
            <a:off x="7524530" y="3120541"/>
            <a:ext cx="144155" cy="5737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2" name="Овал 101"/>
          <p:cNvSpPr/>
          <p:nvPr/>
        </p:nvSpPr>
        <p:spPr>
          <a:xfrm>
            <a:off x="8826898" y="2655359"/>
            <a:ext cx="195792" cy="209950"/>
          </a:xfrm>
          <a:prstGeom prst="ellipse">
            <a:avLst/>
          </a:prstGeom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cs typeface="Arial" panose="020B0604020202020204" pitchFamily="34" charset="0"/>
            </a:endParaRPr>
          </a:p>
        </p:txBody>
      </p:sp>
      <p:cxnSp>
        <p:nvCxnSpPr>
          <p:cNvPr id="103" name="Прямая соединительная линия 102"/>
          <p:cNvCxnSpPr/>
          <p:nvPr/>
        </p:nvCxnSpPr>
        <p:spPr>
          <a:xfrm>
            <a:off x="8994165" y="2751346"/>
            <a:ext cx="540084" cy="9093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Прямоугольник 103"/>
          <p:cNvSpPr/>
          <p:nvPr/>
        </p:nvSpPr>
        <p:spPr>
          <a:xfrm>
            <a:off x="8255424" y="2763456"/>
            <a:ext cx="68712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 err="1">
                <a:cs typeface="Arial" panose="020B0604020202020204" pitchFamily="34" charset="0"/>
              </a:rPr>
              <a:t>Ақтөбе</a:t>
            </a:r>
            <a:endParaRPr lang="ru-RU" sz="900" b="1" dirty="0">
              <a:cs typeface="Arial" panose="020B0604020202020204" pitchFamily="34" charset="0"/>
            </a:endParaRPr>
          </a:p>
        </p:txBody>
      </p:sp>
      <p:cxnSp>
        <p:nvCxnSpPr>
          <p:cNvPr id="105" name="Прямая соединительная линия 104"/>
          <p:cNvCxnSpPr/>
          <p:nvPr/>
        </p:nvCxnSpPr>
        <p:spPr>
          <a:xfrm>
            <a:off x="9008619" y="2818801"/>
            <a:ext cx="543765" cy="108803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6" name="Прямая со стрелкой 105"/>
          <p:cNvCxnSpPr/>
          <p:nvPr/>
        </p:nvCxnSpPr>
        <p:spPr>
          <a:xfrm flipH="1">
            <a:off x="9191346" y="2098318"/>
            <a:ext cx="130429" cy="7439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Прямая соединительная линия 107"/>
          <p:cNvCxnSpPr/>
          <p:nvPr/>
        </p:nvCxnSpPr>
        <p:spPr>
          <a:xfrm flipV="1">
            <a:off x="9174818" y="2101250"/>
            <a:ext cx="577402" cy="2752003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Прямоугольник 109"/>
          <p:cNvSpPr/>
          <p:nvPr/>
        </p:nvSpPr>
        <p:spPr>
          <a:xfrm rot="20696393">
            <a:off x="6647689" y="1832719"/>
            <a:ext cx="248281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cs typeface="Arial" panose="020B0604020202020204" pitchFamily="34" charset="0"/>
              </a:rPr>
              <a:t>«Союз-</a:t>
            </a:r>
            <a:r>
              <a:rPr lang="ru-RU" sz="900" b="1" dirty="0" err="1">
                <a:cs typeface="Arial" panose="020B0604020202020204" pitchFamily="34" charset="0"/>
              </a:rPr>
              <a:t>Орынбор</a:t>
            </a:r>
            <a:r>
              <a:rPr lang="ru-RU" sz="900" b="1" dirty="0">
                <a:cs typeface="Arial" panose="020B0604020202020204" pitchFamily="34" charset="0"/>
              </a:rPr>
              <a:t>-Новопсков»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6694880" y="1002794"/>
            <a:ext cx="3984059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7663" algn="just">
              <a:tabLst>
                <a:tab pos="447663" algn="l"/>
              </a:tabLst>
            </a:pPr>
            <a:r>
              <a:rPr lang="ru-RU" sz="1100" dirty="0" err="1">
                <a:cs typeface="Arial" panose="020B0604020202020204" pitchFamily="34" charset="0"/>
              </a:rPr>
              <a:t>қолданыстағы</a:t>
            </a:r>
            <a:r>
              <a:rPr lang="ru-RU" sz="1100" dirty="0">
                <a:cs typeface="Arial" panose="020B0604020202020204" pitchFamily="34" charset="0"/>
              </a:rPr>
              <a:t> </a:t>
            </a:r>
            <a:r>
              <a:rPr lang="ru-RU" sz="1100" dirty="0" err="1">
                <a:cs typeface="Arial" panose="020B0604020202020204" pitchFamily="34" charset="0"/>
              </a:rPr>
              <a:t>магистральдық</a:t>
            </a:r>
            <a:r>
              <a:rPr lang="ru-RU" sz="1100" dirty="0">
                <a:cs typeface="Arial" panose="020B0604020202020204" pitchFamily="34" charset="0"/>
              </a:rPr>
              <a:t> газ </a:t>
            </a:r>
            <a:r>
              <a:rPr lang="ru-RU" sz="1100" dirty="0" err="1">
                <a:cs typeface="Arial" panose="020B0604020202020204" pitchFamily="34" charset="0"/>
              </a:rPr>
              <a:t>құбырлары</a:t>
            </a:r>
            <a:endParaRPr lang="ru-RU" sz="1100" dirty="0">
              <a:solidFill>
                <a:srgbClr val="006FC0"/>
              </a:solidFill>
              <a:cs typeface="Arial" panose="020B0604020202020204" pitchFamily="34" charset="0"/>
            </a:endParaRPr>
          </a:p>
          <a:p>
            <a:pPr marL="447663" algn="just">
              <a:tabLst>
                <a:tab pos="447663" algn="l"/>
              </a:tabLst>
            </a:pPr>
            <a:endParaRPr lang="ru-RU" sz="800" dirty="0">
              <a:cs typeface="Arial" panose="020B0604020202020204" pitchFamily="34" charset="0"/>
            </a:endParaRPr>
          </a:p>
          <a:p>
            <a:pPr marL="447663" algn="just">
              <a:tabLst>
                <a:tab pos="447663" algn="l"/>
              </a:tabLst>
            </a:pPr>
            <a:r>
              <a:rPr lang="ru-RU" sz="1100" dirty="0" err="1">
                <a:cs typeface="Arial" panose="020B0604020202020204" pitchFamily="34" charset="0"/>
              </a:rPr>
              <a:t>жоспарланған</a:t>
            </a:r>
            <a:r>
              <a:rPr lang="ru-RU" sz="1100" dirty="0">
                <a:cs typeface="Arial" panose="020B0604020202020204" pitchFamily="34" charset="0"/>
              </a:rPr>
              <a:t> </a:t>
            </a:r>
            <a:r>
              <a:rPr lang="ru-RU" sz="1100" dirty="0" err="1">
                <a:cs typeface="Arial" panose="020B0604020202020204" pitchFamily="34" charset="0"/>
              </a:rPr>
              <a:t>магистральдық</a:t>
            </a:r>
            <a:r>
              <a:rPr lang="ru-RU" sz="1100" dirty="0">
                <a:cs typeface="Arial" panose="020B0604020202020204" pitchFamily="34" charset="0"/>
              </a:rPr>
              <a:t> газ </a:t>
            </a:r>
            <a:r>
              <a:rPr lang="ru-RU" sz="1100" dirty="0" err="1">
                <a:cs typeface="Arial" panose="020B0604020202020204" pitchFamily="34" charset="0"/>
              </a:rPr>
              <a:t>құбырлары</a:t>
            </a:r>
            <a:endParaRPr lang="ru-RU" sz="1100" dirty="0">
              <a:cs typeface="Arial" panose="020B0604020202020204" pitchFamily="34" charset="0"/>
            </a:endParaRPr>
          </a:p>
        </p:txBody>
      </p:sp>
      <p:cxnSp>
        <p:nvCxnSpPr>
          <p:cNvPr id="112" name="Прямая соединительная линия 111"/>
          <p:cNvCxnSpPr/>
          <p:nvPr/>
        </p:nvCxnSpPr>
        <p:spPr>
          <a:xfrm flipH="1">
            <a:off x="8818282" y="2853752"/>
            <a:ext cx="83690" cy="56487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Прямая соединительная линия 112"/>
          <p:cNvCxnSpPr/>
          <p:nvPr/>
        </p:nvCxnSpPr>
        <p:spPr>
          <a:xfrm flipH="1">
            <a:off x="8931265" y="2885642"/>
            <a:ext cx="67493" cy="486741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>
            <a:off x="498997" y="6414826"/>
            <a:ext cx="111612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 err="1">
                <a:cs typeface="Arial" panose="020B0604020202020204" pitchFamily="34" charset="0"/>
              </a:rPr>
              <a:t>QazaqGaz</a:t>
            </a:r>
            <a:r>
              <a:rPr lang="en-US" sz="1600" b="1" dirty="0">
                <a:cs typeface="Arial" panose="020B0604020202020204" pitchFamily="34" charset="0"/>
              </a:rPr>
              <a:t> </a:t>
            </a:r>
            <a:r>
              <a:rPr lang="ru-RU" sz="1600" b="1" dirty="0" err="1">
                <a:cs typeface="Arial" panose="020B0604020202020204" pitchFamily="34" charset="0"/>
              </a:rPr>
              <a:t>тәуелсіз</a:t>
            </a:r>
            <a:r>
              <a:rPr lang="ru-RU" sz="1600" b="1" dirty="0">
                <a:cs typeface="Arial" panose="020B0604020202020204" pitchFamily="34" charset="0"/>
              </a:rPr>
              <a:t> </a:t>
            </a:r>
            <a:r>
              <a:rPr lang="ru-RU" sz="1600" b="1" dirty="0" err="1">
                <a:cs typeface="Arial" panose="020B0604020202020204" pitchFamily="34" charset="0"/>
              </a:rPr>
              <a:t>техникалық</a:t>
            </a:r>
            <a:r>
              <a:rPr lang="ru-RU" sz="1600" b="1" dirty="0">
                <a:cs typeface="Arial" panose="020B0604020202020204" pitchFamily="34" charset="0"/>
              </a:rPr>
              <a:t> аудит (</a:t>
            </a:r>
            <a:r>
              <a:rPr lang="en-US" sz="1600" b="1" dirty="0">
                <a:cs typeface="Arial" panose="020B0604020202020204" pitchFamily="34" charset="0"/>
              </a:rPr>
              <a:t>ILF Consulting) </a:t>
            </a:r>
            <a:r>
              <a:rPr lang="ru-RU" sz="1600" b="1" dirty="0" err="1">
                <a:cs typeface="Arial" panose="020B0604020202020204" pitchFamily="34" charset="0"/>
              </a:rPr>
              <a:t>жүргізуде</a:t>
            </a:r>
            <a:r>
              <a:rPr lang="ru-RU" sz="1600" b="1" dirty="0">
                <a:cs typeface="Arial" panose="020B0604020202020204" pitchFamily="34" charset="0"/>
              </a:rPr>
              <a:t>. </a:t>
            </a:r>
            <a:r>
              <a:rPr lang="ru-RU" sz="1600" b="1" dirty="0" err="1">
                <a:cs typeface="Arial" panose="020B0604020202020204" pitchFamily="34" charset="0"/>
              </a:rPr>
              <a:t>Нәтижелер</a:t>
            </a:r>
            <a:r>
              <a:rPr lang="ru-RU" sz="1600" b="1" dirty="0">
                <a:cs typeface="Arial" panose="020B0604020202020204" pitchFamily="34" charset="0"/>
              </a:rPr>
              <a:t> </a:t>
            </a:r>
            <a:r>
              <a:rPr lang="ru-RU" sz="1600" b="1" dirty="0" err="1">
                <a:cs typeface="Arial" panose="020B0604020202020204" pitchFamily="34" charset="0"/>
              </a:rPr>
              <a:t>ағымдағы</a:t>
            </a:r>
            <a:r>
              <a:rPr lang="ru-RU" sz="1600" b="1" dirty="0">
                <a:cs typeface="Arial" panose="020B0604020202020204" pitchFamily="34" charset="0"/>
              </a:rPr>
              <a:t> </a:t>
            </a:r>
            <a:r>
              <a:rPr lang="ru-RU" sz="1600" b="1" dirty="0" err="1">
                <a:cs typeface="Arial" panose="020B0604020202020204" pitchFamily="34" charset="0"/>
              </a:rPr>
              <a:t>жылғы</a:t>
            </a:r>
            <a:r>
              <a:rPr lang="ru-RU" sz="1600" b="1" dirty="0">
                <a:cs typeface="Arial" panose="020B0604020202020204" pitchFamily="34" charset="0"/>
              </a:rPr>
              <a:t> </a:t>
            </a:r>
            <a:r>
              <a:rPr lang="ru-RU" sz="1600" b="1" dirty="0" err="1">
                <a:cs typeface="Arial" panose="020B0604020202020204" pitchFamily="34" charset="0"/>
              </a:rPr>
              <a:t>екінші</a:t>
            </a:r>
            <a:r>
              <a:rPr lang="ru-RU" sz="1600" b="1" dirty="0">
                <a:cs typeface="Arial" panose="020B0604020202020204" pitchFamily="34" charset="0"/>
              </a:rPr>
              <a:t> </a:t>
            </a:r>
            <a:r>
              <a:rPr lang="ru-RU" sz="1600" b="1" dirty="0" err="1">
                <a:cs typeface="Arial" panose="020B0604020202020204" pitchFamily="34" charset="0"/>
              </a:rPr>
              <a:t>тоқсанда</a:t>
            </a:r>
            <a:r>
              <a:rPr lang="ru-RU" sz="1600" b="1" dirty="0">
                <a:cs typeface="Arial" panose="020B0604020202020204" pitchFamily="34" charset="0"/>
              </a:rPr>
              <a:t> </a:t>
            </a:r>
            <a:r>
              <a:rPr lang="ru-RU" sz="1600" b="1" dirty="0" err="1">
                <a:cs typeface="Arial" panose="020B0604020202020204" pitchFamily="34" charset="0"/>
              </a:rPr>
              <a:t>күтіледі</a:t>
            </a:r>
            <a:r>
              <a:rPr lang="ru-RU" sz="1600" b="1" dirty="0">
                <a:cs typeface="Arial" panose="020B0604020202020204" pitchFamily="34" charset="0"/>
              </a:rPr>
              <a:t>.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292273" y="6249859"/>
            <a:ext cx="3624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C00000"/>
                </a:solidFill>
                <a:cs typeface="Arial" panose="020B0604020202020204" pitchFamily="34" charset="0"/>
              </a:rPr>
              <a:t>!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8742368" y="1952796"/>
            <a:ext cx="3396334" cy="415498"/>
          </a:xfrm>
          <a:prstGeom prst="rect">
            <a:avLst/>
          </a:prstGeom>
          <a:solidFill>
            <a:srgbClr val="FCE0C8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ctr">
              <a:spcBef>
                <a:spcPts val="0"/>
              </a:spcBef>
              <a:spcAft>
                <a:spcPts val="0"/>
              </a:spcAft>
              <a:buClrTx/>
              <a:buSzPts val="1800"/>
            </a:pPr>
            <a:r>
              <a:rPr lang="ru-RU" sz="1000" b="1" dirty="0" err="1">
                <a:cs typeface="Arial" panose="020B0604020202020204" pitchFamily="34" charset="0"/>
              </a:rPr>
              <a:t>Ақтөбе</a:t>
            </a:r>
            <a:r>
              <a:rPr lang="ru-RU" sz="1000" b="1" dirty="0">
                <a:cs typeface="Arial" panose="020B0604020202020204" pitchFamily="34" charset="0"/>
              </a:rPr>
              <a:t> </a:t>
            </a:r>
            <a:r>
              <a:rPr lang="ru-RU" sz="1000" b="1" dirty="0" err="1">
                <a:cs typeface="Arial" panose="020B0604020202020204" pitchFamily="34" charset="0"/>
              </a:rPr>
              <a:t>қаласына</a:t>
            </a:r>
            <a:r>
              <a:rPr lang="ru-RU" sz="1000" b="1" dirty="0">
                <a:cs typeface="Arial" panose="020B0604020202020204" pitchFamily="34" charset="0"/>
              </a:rPr>
              <a:t> МГҚ-</a:t>
            </a:r>
            <a:r>
              <a:rPr lang="ru-RU" sz="1000" b="1" dirty="0" err="1">
                <a:cs typeface="Arial" panose="020B0604020202020204" pitchFamily="34" charset="0"/>
              </a:rPr>
              <a:t>ның</a:t>
            </a:r>
            <a:r>
              <a:rPr lang="ru-RU" sz="1000" b="1" dirty="0">
                <a:cs typeface="Arial" panose="020B0604020202020204" pitchFamily="34" charset="0"/>
              </a:rPr>
              <a:t> 3-желісінің </a:t>
            </a:r>
            <a:r>
              <a:rPr lang="ru-RU" sz="1000" b="1" dirty="0" err="1">
                <a:cs typeface="Arial" panose="020B0604020202020204" pitchFamily="34" charset="0"/>
              </a:rPr>
              <a:t>құрылысы</a:t>
            </a:r>
            <a:endParaRPr lang="ru-RU" sz="1000" b="1" dirty="0">
              <a:cs typeface="Arial" panose="020B0604020202020204" pitchFamily="34" charset="0"/>
            </a:endParaRPr>
          </a:p>
          <a:p>
            <a:pPr indent="-173736" fontAlgn="ctr">
              <a:spcBef>
                <a:spcPts val="0"/>
              </a:spcBef>
              <a:spcAft>
                <a:spcPts val="0"/>
              </a:spcAft>
            </a:pPr>
            <a:r>
              <a:rPr lang="ru-RU" sz="1000" b="1" dirty="0">
                <a:cs typeface="Arial" panose="020B0604020202020204" pitchFamily="34" charset="0"/>
              </a:rPr>
              <a:t>«</a:t>
            </a:r>
            <a:r>
              <a:rPr lang="ru-RU" sz="1000" b="1" dirty="0" err="1">
                <a:cs typeface="Arial" panose="020B0604020202020204" pitchFamily="34" charset="0"/>
              </a:rPr>
              <a:t>Жаңажол-Ақтөбе</a:t>
            </a:r>
            <a:r>
              <a:rPr lang="ru-RU" sz="1000" b="1" dirty="0">
                <a:cs typeface="Arial" panose="020B0604020202020204" pitchFamily="34" charset="0"/>
              </a:rPr>
              <a:t>» МГҚ 2-желісін салу»</a:t>
            </a:r>
          </a:p>
        </p:txBody>
      </p:sp>
      <p:cxnSp>
        <p:nvCxnSpPr>
          <p:cNvPr id="118" name="Прямая соединительная линия 117"/>
          <p:cNvCxnSpPr/>
          <p:nvPr/>
        </p:nvCxnSpPr>
        <p:spPr>
          <a:xfrm>
            <a:off x="6528048" y="1458141"/>
            <a:ext cx="609554" cy="0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19" name="Прямая соединительная линия 118"/>
          <p:cNvCxnSpPr/>
          <p:nvPr/>
        </p:nvCxnSpPr>
        <p:spPr>
          <a:xfrm>
            <a:off x="6528048" y="1170109"/>
            <a:ext cx="567539" cy="0"/>
          </a:xfrm>
          <a:prstGeom prst="line">
            <a:avLst/>
          </a:prstGeom>
          <a:ln w="57150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0" name="Таблица 1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7016075"/>
              </p:ext>
            </p:extLst>
          </p:nvPr>
        </p:nvGraphicFramePr>
        <p:xfrm>
          <a:off x="191344" y="1464779"/>
          <a:ext cx="5544879" cy="2654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44879">
                  <a:extLst>
                    <a:ext uri="{9D8B030D-6E8A-4147-A177-3AD203B41FA5}">
                      <a16:colId xmlns:a16="http://schemas.microsoft.com/office/drawing/2014/main" xmlns="" val="3549534544"/>
                    </a:ext>
                  </a:extLst>
                </a:gridCol>
              </a:tblGrid>
              <a:tr h="303659"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v"/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«Бейнеу-</a:t>
                      </a:r>
                      <a:r>
                        <a:rPr lang="ru-RU" sz="1800" b="1" dirty="0" err="1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Жаңаөзен</a:t>
                      </a:r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» МГҚ 2-желісін салу|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09894601"/>
                  </a:ext>
                </a:extLst>
              </a:tr>
              <a:tr h="364418"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v"/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«Бейнеу-</a:t>
                      </a:r>
                      <a:r>
                        <a:rPr lang="ru-RU" sz="1800" b="1" dirty="0" err="1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Жаңаөзен</a:t>
                      </a:r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» МГҚ 1-желісін </a:t>
                      </a:r>
                      <a:r>
                        <a:rPr lang="ru-RU" sz="1800" b="1" dirty="0" err="1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күрделі</a:t>
                      </a:r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800" b="1" dirty="0" err="1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жөндеу</a:t>
                      </a:r>
                      <a:endParaRPr lang="ru-RU" sz="1800" b="1" dirty="0">
                        <a:solidFill>
                          <a:schemeClr val="tx1"/>
                        </a:solidFill>
                        <a:latin typeface="Bahnschrift Condensed" panose="020B0502040204020203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79463469"/>
                  </a:ext>
                </a:extLst>
              </a:tr>
              <a:tr h="357149"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v"/>
                      </a:pPr>
                      <a:r>
                        <a:rPr lang="ru-RU" sz="1800" b="1" dirty="0" err="1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Сарша</a:t>
                      </a:r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800" b="1" dirty="0" err="1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елді</a:t>
                      </a:r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800" b="1" dirty="0" err="1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мекеніне</a:t>
                      </a:r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800" b="1" dirty="0" err="1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тарату</a:t>
                      </a:r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 газ </a:t>
                      </a:r>
                      <a:r>
                        <a:rPr lang="ru-RU" sz="1800" b="1" dirty="0" err="1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құбырын</a:t>
                      </a:r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 салу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530840975"/>
                  </a:ext>
                </a:extLst>
              </a:tr>
              <a:tr h="357149"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v"/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«</a:t>
                      </a:r>
                      <a:r>
                        <a:rPr lang="ru-RU" sz="1800" b="1" dirty="0" err="1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Жаңаөзен-Ақтау</a:t>
                      </a:r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» МГҚ 4-желісін салу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45426353"/>
                  </a:ext>
                </a:extLst>
              </a:tr>
              <a:tr h="433884"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v"/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«</a:t>
                      </a:r>
                      <a:r>
                        <a:rPr lang="ru-RU" sz="1800" b="1" dirty="0" err="1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Мақат-Солтүстік</a:t>
                      </a:r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 Кавказ» МГҚ </a:t>
                      </a:r>
                      <a:r>
                        <a:rPr lang="ru-RU" sz="1800" b="1" dirty="0" err="1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лупингінің</a:t>
                      </a:r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800" b="1" dirty="0" err="1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құрылысы</a:t>
                      </a:r>
                      <a:endParaRPr lang="ru-RU" sz="1800" b="1" dirty="0">
                        <a:solidFill>
                          <a:schemeClr val="tx1"/>
                        </a:solidFill>
                        <a:latin typeface="Bahnschrift Condensed" panose="020B0502040204020203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80308973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v"/>
                      </a:pPr>
                      <a:r>
                        <a:rPr lang="ru-RU" sz="1800" b="1" dirty="0" err="1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Ақтөбе</a:t>
                      </a:r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800" b="1" dirty="0" err="1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қаласына</a:t>
                      </a:r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 МГҚ-</a:t>
                      </a:r>
                      <a:r>
                        <a:rPr lang="ru-RU" sz="1800" b="1" dirty="0" err="1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ның</a:t>
                      </a:r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 3-желісінің </a:t>
                      </a:r>
                      <a:r>
                        <a:rPr lang="ru-RU" sz="1800" b="1" dirty="0" err="1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құрылысы</a:t>
                      </a:r>
                      <a:endParaRPr lang="ru-RU" sz="1800" b="1" dirty="0">
                        <a:solidFill>
                          <a:schemeClr val="tx1"/>
                        </a:solidFill>
                        <a:latin typeface="Bahnschrift Condensed" panose="020B0502040204020203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61322613"/>
                  </a:ext>
                </a:extLst>
              </a:tr>
              <a:tr h="391682"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v"/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«</a:t>
                      </a:r>
                      <a:r>
                        <a:rPr lang="ru-RU" sz="1800" b="1" dirty="0" err="1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Жаңажол-Ақтөбе</a:t>
                      </a:r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» МГҚ 2-желісін салу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92340587"/>
                  </a:ext>
                </a:extLst>
              </a:tr>
            </a:tbl>
          </a:graphicData>
        </a:graphic>
      </p:graphicFrame>
      <p:sp>
        <p:nvSpPr>
          <p:cNvPr id="121" name="Прямоугольник 120"/>
          <p:cNvSpPr/>
          <p:nvPr/>
        </p:nvSpPr>
        <p:spPr>
          <a:xfrm>
            <a:off x="675673" y="4834261"/>
            <a:ext cx="5769865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ru-RU" sz="1600" b="1" dirty="0" err="1"/>
              <a:t>Өткізу</a:t>
            </a:r>
            <a:r>
              <a:rPr lang="ru-RU" sz="1600" b="1" dirty="0"/>
              <a:t> </a:t>
            </a:r>
            <a:r>
              <a:rPr lang="ru-RU" sz="1600" b="1" dirty="0" err="1"/>
              <a:t>қабілетін</a:t>
            </a:r>
            <a:r>
              <a:rPr lang="ru-RU" sz="1600" b="1" dirty="0"/>
              <a:t> </a:t>
            </a:r>
            <a:r>
              <a:rPr lang="ru-RU" sz="1600" b="1" dirty="0" err="1"/>
              <a:t>арттыру</a:t>
            </a:r>
            <a:r>
              <a:rPr lang="ru-RU" sz="1600" b="1" dirty="0"/>
              <a:t>:</a:t>
            </a:r>
          </a:p>
          <a:p>
            <a:pPr marL="285750" indent="-193675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q"/>
              <a:tabLst>
                <a:tab pos="630238" algn="l"/>
              </a:tabLst>
            </a:pPr>
            <a:r>
              <a:rPr lang="ru-RU" sz="1600" dirty="0"/>
              <a:t> «Бейнеу-</a:t>
            </a:r>
            <a:r>
              <a:rPr lang="ru-RU" sz="1600" dirty="0" err="1"/>
              <a:t>Жаңаөзен</a:t>
            </a:r>
            <a:r>
              <a:rPr lang="ru-RU" sz="1600" dirty="0"/>
              <a:t>» МГҚ 3,1-ден </a:t>
            </a:r>
            <a:r>
              <a:rPr lang="ru-RU" sz="1600" b="1" dirty="0">
                <a:solidFill>
                  <a:srgbClr val="00B050"/>
                </a:solidFill>
              </a:rPr>
              <a:t>8,9 млрд.м</a:t>
            </a:r>
            <a:r>
              <a:rPr lang="ru-RU" sz="1600" b="1" baseline="30000" dirty="0">
                <a:solidFill>
                  <a:srgbClr val="00B050"/>
                </a:solidFill>
              </a:rPr>
              <a:t>3</a:t>
            </a:r>
            <a:r>
              <a:rPr lang="ru-RU" sz="1600" b="1" dirty="0">
                <a:solidFill>
                  <a:srgbClr val="00B050"/>
                </a:solidFill>
              </a:rPr>
              <a:t>-ге </a:t>
            </a:r>
            <a:r>
              <a:rPr lang="ru-RU" sz="1600" dirty="0" err="1"/>
              <a:t>дейін</a:t>
            </a:r>
            <a:endParaRPr lang="ru-RU" sz="1600" b="1" baseline="30000" dirty="0"/>
          </a:p>
          <a:p>
            <a:pPr marL="285750" indent="-193675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ru-RU" sz="1600" dirty="0"/>
              <a:t> «</a:t>
            </a:r>
            <a:r>
              <a:rPr lang="ru-RU" sz="1600" dirty="0" err="1"/>
              <a:t>Жаңаөзен-Ақтау</a:t>
            </a:r>
            <a:r>
              <a:rPr lang="ru-RU" sz="1600" dirty="0"/>
              <a:t>» МГҚ 2,7-ден </a:t>
            </a:r>
            <a:r>
              <a:rPr lang="ru-RU" sz="1600" b="1" dirty="0">
                <a:solidFill>
                  <a:srgbClr val="00B050"/>
                </a:solidFill>
              </a:rPr>
              <a:t>6,1 млрд.м</a:t>
            </a:r>
            <a:r>
              <a:rPr lang="ru-RU" sz="1600" b="1" baseline="30000" dirty="0">
                <a:solidFill>
                  <a:srgbClr val="00B050"/>
                </a:solidFill>
              </a:rPr>
              <a:t>3-</a:t>
            </a:r>
            <a:r>
              <a:rPr lang="ru-RU" sz="1600" b="1" dirty="0">
                <a:solidFill>
                  <a:srgbClr val="00B050"/>
                </a:solidFill>
              </a:rPr>
              <a:t>ге </a:t>
            </a:r>
            <a:r>
              <a:rPr lang="ru-RU" sz="1600" dirty="0" err="1"/>
              <a:t>дейін</a:t>
            </a:r>
            <a:endParaRPr lang="ru-RU" sz="1600" b="1" baseline="30000" dirty="0"/>
          </a:p>
          <a:p>
            <a:pPr marL="285750" indent="-193675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ru-RU" sz="1600" dirty="0"/>
              <a:t> </a:t>
            </a:r>
            <a:r>
              <a:rPr lang="ru-RU" sz="1600" dirty="0" err="1"/>
              <a:t>Ақтөбе</a:t>
            </a:r>
            <a:r>
              <a:rPr lang="ru-RU" sz="1600" dirty="0"/>
              <a:t> қ. МГҚ 1,9-дан </a:t>
            </a:r>
            <a:r>
              <a:rPr lang="ru-RU" sz="1600" b="1" dirty="0">
                <a:solidFill>
                  <a:srgbClr val="00B050"/>
                </a:solidFill>
              </a:rPr>
              <a:t>2,4 млрд. м</a:t>
            </a:r>
            <a:r>
              <a:rPr lang="ru-RU" sz="1600" b="1" baseline="30000" dirty="0">
                <a:solidFill>
                  <a:srgbClr val="00B050"/>
                </a:solidFill>
              </a:rPr>
              <a:t>3</a:t>
            </a:r>
            <a:r>
              <a:rPr lang="ru-RU" sz="1600" b="1" dirty="0">
                <a:solidFill>
                  <a:srgbClr val="00B050"/>
                </a:solidFill>
              </a:rPr>
              <a:t>-ге </a:t>
            </a:r>
            <a:r>
              <a:rPr lang="ru-RU" sz="1600" b="1" dirty="0" err="1"/>
              <a:t>дейін</a:t>
            </a:r>
            <a:endParaRPr lang="ru-RU" sz="1600" b="1" baseline="30000" dirty="0"/>
          </a:p>
          <a:p>
            <a:pPr marL="285750" indent="-193675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ru-RU" sz="1600" dirty="0"/>
              <a:t> «</a:t>
            </a:r>
            <a:r>
              <a:rPr lang="ru-RU" sz="1600" dirty="0" err="1"/>
              <a:t>Мақат-Солтүстік</a:t>
            </a:r>
            <a:r>
              <a:rPr lang="ru-RU" sz="1600" dirty="0"/>
              <a:t> Кавказ» 15-тен </a:t>
            </a:r>
            <a:r>
              <a:rPr lang="ru-RU" sz="1600" b="1" dirty="0">
                <a:solidFill>
                  <a:srgbClr val="00B050"/>
                </a:solidFill>
              </a:rPr>
              <a:t>21,7 млрд.м</a:t>
            </a:r>
            <a:r>
              <a:rPr lang="ru-RU" sz="1600" b="1" baseline="30000" dirty="0">
                <a:solidFill>
                  <a:srgbClr val="00B050"/>
                </a:solidFill>
              </a:rPr>
              <a:t>3</a:t>
            </a:r>
            <a:r>
              <a:rPr lang="ru-RU" sz="1600" b="1" dirty="0">
                <a:solidFill>
                  <a:srgbClr val="00B050"/>
                </a:solidFill>
              </a:rPr>
              <a:t>-ге </a:t>
            </a:r>
            <a:r>
              <a:rPr lang="ru-RU" sz="1600" b="1" dirty="0" err="1"/>
              <a:t>дейін</a:t>
            </a:r>
            <a:endParaRPr lang="ru-RU" sz="1600" baseline="30000" dirty="0"/>
          </a:p>
        </p:txBody>
      </p:sp>
      <p:sp>
        <p:nvSpPr>
          <p:cNvPr id="123" name="TextBox 122"/>
          <p:cNvSpPr txBox="1"/>
          <p:nvPr/>
        </p:nvSpPr>
        <p:spPr>
          <a:xfrm>
            <a:off x="914639" y="4114292"/>
            <a:ext cx="29954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>
                <a:solidFill>
                  <a:srgbClr val="00B050"/>
                </a:solidFill>
              </a:rPr>
              <a:t>500,5 </a:t>
            </a:r>
            <a:r>
              <a:rPr lang="ru-RU" sz="2000" b="1" dirty="0" err="1">
                <a:solidFill>
                  <a:srgbClr val="00B050"/>
                </a:solidFill>
              </a:rPr>
              <a:t>млрд.тенге</a:t>
            </a:r>
            <a:r>
              <a:rPr lang="ru-RU" sz="2000" b="1" dirty="0">
                <a:solidFill>
                  <a:srgbClr val="00B050"/>
                </a:solidFill>
              </a:rPr>
              <a:t> </a:t>
            </a:r>
            <a:endParaRPr lang="ru-RU" sz="1600" b="1" dirty="0">
              <a:solidFill>
                <a:srgbClr val="00B050"/>
              </a:solidFill>
            </a:endParaRPr>
          </a:p>
        </p:txBody>
      </p:sp>
      <p:cxnSp>
        <p:nvCxnSpPr>
          <p:cNvPr id="124" name="Прямая соединительная линия 123"/>
          <p:cNvCxnSpPr/>
          <p:nvPr/>
        </p:nvCxnSpPr>
        <p:spPr>
          <a:xfrm>
            <a:off x="6749050" y="2063632"/>
            <a:ext cx="2135481" cy="2837456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5648139" y="2916133"/>
            <a:ext cx="2134741" cy="415498"/>
          </a:xfrm>
          <a:prstGeom prst="rect">
            <a:avLst/>
          </a:prstGeom>
          <a:solidFill>
            <a:srgbClr val="FCE0C8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sz="1000" b="1" dirty="0">
                <a:cs typeface="Arial" panose="020B0604020202020204" pitchFamily="34" charset="0"/>
              </a:rPr>
              <a:t>Строительство лупинга </a:t>
            </a:r>
          </a:p>
          <a:p>
            <a:r>
              <a:rPr lang="ru-RU" sz="1000" b="1" dirty="0">
                <a:cs typeface="Arial" panose="020B0604020202020204" pitchFamily="34" charset="0"/>
              </a:rPr>
              <a:t>МГ «</a:t>
            </a:r>
            <a:r>
              <a:rPr lang="ru-RU" sz="1000" b="1" dirty="0" err="1">
                <a:cs typeface="Arial" panose="020B0604020202020204" pitchFamily="34" charset="0"/>
              </a:rPr>
              <a:t>Макат</a:t>
            </a:r>
            <a:r>
              <a:rPr lang="ru-RU" sz="1000" b="1" dirty="0">
                <a:cs typeface="Arial" panose="020B0604020202020204" pitchFamily="34" charset="0"/>
              </a:rPr>
              <a:t>-Северный Кавказ»</a:t>
            </a:r>
            <a:endParaRPr lang="ru-RU" sz="1000" dirty="0">
              <a:cs typeface="Arial" panose="020B0604020202020204" pitchFamily="34" charset="0"/>
            </a:endParaRPr>
          </a:p>
        </p:txBody>
      </p:sp>
      <p:sp>
        <p:nvSpPr>
          <p:cNvPr id="126" name="Прямоугольник 125"/>
          <p:cNvSpPr/>
          <p:nvPr/>
        </p:nvSpPr>
        <p:spPr>
          <a:xfrm rot="18105128">
            <a:off x="7413549" y="4774559"/>
            <a:ext cx="166723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>
                <a:cs typeface="Arial" panose="020B0604020202020204" pitchFamily="34" charset="0"/>
              </a:rPr>
              <a:t>«Окарем-Бейнеу» МГҚ</a:t>
            </a:r>
            <a:endParaRPr lang="ru-RU" sz="900" dirty="0">
              <a:cs typeface="Arial" panose="020B0604020202020204" pitchFamily="34" charset="0"/>
            </a:endParaRPr>
          </a:p>
        </p:txBody>
      </p:sp>
      <p:pic>
        <p:nvPicPr>
          <p:cNvPr id="129" name="Picture 2" descr="F:\приро-ный-газ-industry-42160175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3709" b="7072"/>
          <a:stretch/>
        </p:blipFill>
        <p:spPr bwMode="auto">
          <a:xfrm>
            <a:off x="8633248" y="3258550"/>
            <a:ext cx="358916" cy="301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2" name="Прямая соединительная линия 131"/>
          <p:cNvCxnSpPr>
            <a:stCxn id="83" idx="47"/>
          </p:cNvCxnSpPr>
          <p:nvPr/>
        </p:nvCxnSpPr>
        <p:spPr>
          <a:xfrm flipV="1">
            <a:off x="8490010" y="4308272"/>
            <a:ext cx="803899" cy="90288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Овал 133"/>
          <p:cNvSpPr/>
          <p:nvPr/>
        </p:nvSpPr>
        <p:spPr>
          <a:xfrm>
            <a:off x="6887389" y="5247921"/>
            <a:ext cx="195792" cy="209950"/>
          </a:xfrm>
          <a:prstGeom prst="ellipse">
            <a:avLst/>
          </a:prstGeom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cs typeface="Arial" panose="020B0604020202020204" pitchFamily="34" charset="0"/>
            </a:endParaRPr>
          </a:p>
        </p:txBody>
      </p:sp>
      <p:sp>
        <p:nvSpPr>
          <p:cNvPr id="135" name="Прямоугольник 134"/>
          <p:cNvSpPr/>
          <p:nvPr/>
        </p:nvSpPr>
        <p:spPr>
          <a:xfrm>
            <a:off x="6453939" y="5419550"/>
            <a:ext cx="68712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 err="1">
                <a:cs typeface="Arial" panose="020B0604020202020204" pitchFamily="34" charset="0"/>
              </a:rPr>
              <a:t>Ақтау</a:t>
            </a:r>
            <a:endParaRPr lang="ru-RU" sz="900" b="1" dirty="0">
              <a:cs typeface="Arial" panose="020B0604020202020204" pitchFamily="34" charset="0"/>
            </a:endParaRPr>
          </a:p>
        </p:txBody>
      </p:sp>
      <p:cxnSp>
        <p:nvCxnSpPr>
          <p:cNvPr id="137" name="Прямая соединительная линия 136"/>
          <p:cNvCxnSpPr>
            <a:endCxn id="83" idx="21"/>
          </p:cNvCxnSpPr>
          <p:nvPr/>
        </p:nvCxnSpPr>
        <p:spPr>
          <a:xfrm flipH="1">
            <a:off x="6410672" y="3602969"/>
            <a:ext cx="1454159" cy="216786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Прямая соединительная линия 137"/>
          <p:cNvCxnSpPr/>
          <p:nvPr/>
        </p:nvCxnSpPr>
        <p:spPr>
          <a:xfrm flipV="1">
            <a:off x="7002461" y="1926593"/>
            <a:ext cx="1596916" cy="485184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Прямая соединительная линия 139"/>
          <p:cNvCxnSpPr/>
          <p:nvPr/>
        </p:nvCxnSpPr>
        <p:spPr>
          <a:xfrm>
            <a:off x="9271665" y="4318814"/>
            <a:ext cx="2209289" cy="1052253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TextBox 140"/>
          <p:cNvSpPr txBox="1"/>
          <p:nvPr/>
        </p:nvSpPr>
        <p:spPr>
          <a:xfrm>
            <a:off x="8458092" y="5239154"/>
            <a:ext cx="3680610" cy="1169551"/>
          </a:xfrm>
          <a:prstGeom prst="rect">
            <a:avLst/>
          </a:prstGeom>
          <a:solidFill>
            <a:srgbClr val="FCE0C8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sz="1000" b="1" dirty="0" err="1">
                <a:cs typeface="Arial" panose="020B0604020202020204" pitchFamily="34" charset="0"/>
              </a:rPr>
              <a:t>Маңғыстау</a:t>
            </a:r>
            <a:r>
              <a:rPr lang="ru-RU" sz="1000" b="1" dirty="0">
                <a:cs typeface="Arial" panose="020B0604020202020204" pitchFamily="34" charset="0"/>
              </a:rPr>
              <a:t> </a:t>
            </a:r>
            <a:r>
              <a:rPr lang="ru-RU" sz="1000" b="1" dirty="0" err="1">
                <a:cs typeface="Arial" panose="020B0604020202020204" pitchFamily="34" charset="0"/>
              </a:rPr>
              <a:t>облысының</a:t>
            </a:r>
            <a:r>
              <a:rPr lang="ru-RU" sz="1000" b="1" dirty="0">
                <a:cs typeface="Arial" panose="020B0604020202020204" pitchFamily="34" charset="0"/>
              </a:rPr>
              <a:t> газ </a:t>
            </a:r>
            <a:r>
              <a:rPr lang="ru-RU" sz="1000" b="1" dirty="0" err="1">
                <a:cs typeface="Arial" panose="020B0604020202020204" pitchFamily="34" charset="0"/>
              </a:rPr>
              <a:t>тасымалдау</a:t>
            </a:r>
            <a:r>
              <a:rPr lang="ru-RU" sz="1000" b="1" dirty="0">
                <a:cs typeface="Arial" panose="020B0604020202020204" pitchFamily="34" charset="0"/>
              </a:rPr>
              <a:t> </a:t>
            </a:r>
            <a:r>
              <a:rPr lang="ru-RU" sz="1000" b="1" dirty="0" err="1">
                <a:cs typeface="Arial" panose="020B0604020202020204" pitchFamily="34" charset="0"/>
              </a:rPr>
              <a:t>жүйесін</a:t>
            </a:r>
            <a:r>
              <a:rPr lang="ru-RU" sz="1000" b="1" dirty="0">
                <a:cs typeface="Arial" panose="020B0604020202020204" pitchFamily="34" charset="0"/>
              </a:rPr>
              <a:t> </a:t>
            </a:r>
            <a:r>
              <a:rPr lang="ru-RU" sz="1000" b="1" dirty="0" err="1">
                <a:cs typeface="Arial" panose="020B0604020202020204" pitchFamily="34" charset="0"/>
              </a:rPr>
              <a:t>жаңғырту</a:t>
            </a:r>
            <a:r>
              <a:rPr lang="ru-RU" sz="1000" b="1" dirty="0">
                <a:cs typeface="Arial" panose="020B0604020202020204" pitchFamily="34" charset="0"/>
              </a:rPr>
              <a:t>:</a:t>
            </a:r>
          </a:p>
          <a:p>
            <a:pPr marL="92075" indent="-92075">
              <a:buFont typeface="Arial" panose="020B0604020202020204" pitchFamily="34" charset="0"/>
              <a:buChar char="•"/>
              <a:tabLst>
                <a:tab pos="92075" algn="l"/>
              </a:tabLst>
            </a:pPr>
            <a:r>
              <a:rPr lang="ru-RU" sz="1000" dirty="0">
                <a:cs typeface="Arial" panose="020B0604020202020204" pitchFamily="34" charset="0"/>
              </a:rPr>
              <a:t>«Бейнеу-</a:t>
            </a:r>
            <a:r>
              <a:rPr lang="ru-RU" sz="1000" dirty="0" err="1">
                <a:cs typeface="Arial" panose="020B0604020202020204" pitchFamily="34" charset="0"/>
              </a:rPr>
              <a:t>Жаңаөзен</a:t>
            </a:r>
            <a:r>
              <a:rPr lang="ru-RU" sz="1000" dirty="0">
                <a:cs typeface="Arial" panose="020B0604020202020204" pitchFamily="34" charset="0"/>
              </a:rPr>
              <a:t>» 2-желісінің </a:t>
            </a:r>
            <a:r>
              <a:rPr lang="ru-RU" sz="1000" dirty="0" err="1">
                <a:cs typeface="Arial" panose="020B0604020202020204" pitchFamily="34" charset="0"/>
              </a:rPr>
              <a:t>құрылысы</a:t>
            </a:r>
            <a:endParaRPr lang="ru-RU" sz="1000" dirty="0">
              <a:cs typeface="Arial" panose="020B0604020202020204" pitchFamily="34" charset="0"/>
            </a:endParaRPr>
          </a:p>
          <a:p>
            <a:pPr marL="92075" indent="-92075">
              <a:buFont typeface="Arial" panose="020B0604020202020204" pitchFamily="34" charset="0"/>
              <a:buChar char="•"/>
              <a:tabLst>
                <a:tab pos="92075" algn="l"/>
              </a:tabLst>
            </a:pPr>
            <a:r>
              <a:rPr lang="ru-RU" sz="1000" dirty="0" err="1">
                <a:cs typeface="Arial" panose="020B0604020202020204" pitchFamily="34" charset="0"/>
              </a:rPr>
              <a:t>Қолданыстағы</a:t>
            </a:r>
            <a:r>
              <a:rPr lang="ru-RU" sz="1000" dirty="0">
                <a:cs typeface="Arial" panose="020B0604020202020204" pitchFamily="34" charset="0"/>
              </a:rPr>
              <a:t> «Бейнеу-</a:t>
            </a:r>
            <a:r>
              <a:rPr lang="ru-RU" sz="1000" dirty="0" err="1">
                <a:cs typeface="Arial" panose="020B0604020202020204" pitchFamily="34" charset="0"/>
              </a:rPr>
              <a:t>Жаңаөзен</a:t>
            </a:r>
            <a:r>
              <a:rPr lang="ru-RU" sz="1000" dirty="0">
                <a:cs typeface="Arial" panose="020B0604020202020204" pitchFamily="34" charset="0"/>
              </a:rPr>
              <a:t>» </a:t>
            </a:r>
            <a:r>
              <a:rPr lang="ru-RU" sz="1000" dirty="0" err="1">
                <a:cs typeface="Arial" panose="020B0604020202020204" pitchFamily="34" charset="0"/>
              </a:rPr>
              <a:t>желісін</a:t>
            </a:r>
            <a:r>
              <a:rPr lang="ru-RU" sz="1000" dirty="0">
                <a:cs typeface="Arial" panose="020B0604020202020204" pitchFamily="34" charset="0"/>
              </a:rPr>
              <a:t> </a:t>
            </a:r>
            <a:r>
              <a:rPr lang="ru-RU" sz="1000" dirty="0" err="1">
                <a:cs typeface="Arial" panose="020B0604020202020204" pitchFamily="34" charset="0"/>
              </a:rPr>
              <a:t>күрделі</a:t>
            </a:r>
            <a:r>
              <a:rPr lang="ru-RU" sz="1000" dirty="0">
                <a:cs typeface="Arial" panose="020B0604020202020204" pitchFamily="34" charset="0"/>
              </a:rPr>
              <a:t> </a:t>
            </a:r>
            <a:r>
              <a:rPr lang="ru-RU" sz="1000" dirty="0" err="1">
                <a:cs typeface="Arial" panose="020B0604020202020204" pitchFamily="34" charset="0"/>
              </a:rPr>
              <a:t>жөндеу</a:t>
            </a:r>
            <a:endParaRPr lang="ru-RU" sz="1000" dirty="0">
              <a:cs typeface="Arial" panose="020B0604020202020204" pitchFamily="34" charset="0"/>
            </a:endParaRPr>
          </a:p>
          <a:p>
            <a:pPr marL="92075" indent="-92075">
              <a:buFont typeface="Arial" panose="020B0604020202020204" pitchFamily="34" charset="0"/>
              <a:buChar char="•"/>
              <a:tabLst>
                <a:tab pos="92075" algn="l"/>
              </a:tabLst>
            </a:pPr>
            <a:r>
              <a:rPr lang="ru-RU" sz="1000" dirty="0">
                <a:cs typeface="Arial" panose="020B0604020202020204" pitchFamily="34" charset="0"/>
              </a:rPr>
              <a:t>«</a:t>
            </a:r>
            <a:r>
              <a:rPr lang="ru-RU" sz="1000" dirty="0" err="1">
                <a:cs typeface="Arial" panose="020B0604020202020204" pitchFamily="34" charset="0"/>
              </a:rPr>
              <a:t>Жаңаөзен-Ақтау</a:t>
            </a:r>
            <a:r>
              <a:rPr lang="ru-RU" sz="1000" dirty="0">
                <a:cs typeface="Arial" panose="020B0604020202020204" pitchFamily="34" charset="0"/>
              </a:rPr>
              <a:t>» 3 </a:t>
            </a:r>
            <a:r>
              <a:rPr lang="ru-RU" sz="1000" dirty="0" err="1">
                <a:cs typeface="Arial" panose="020B0604020202020204" pitchFamily="34" charset="0"/>
              </a:rPr>
              <a:t>желісін</a:t>
            </a:r>
            <a:r>
              <a:rPr lang="ru-RU" sz="1000" dirty="0">
                <a:cs typeface="Arial" panose="020B0604020202020204" pitchFamily="34" charset="0"/>
              </a:rPr>
              <a:t> </a:t>
            </a:r>
            <a:r>
              <a:rPr lang="ru-RU" sz="1000" dirty="0" err="1">
                <a:cs typeface="Arial" panose="020B0604020202020204" pitchFamily="34" charset="0"/>
              </a:rPr>
              <a:t>күрделі</a:t>
            </a:r>
            <a:r>
              <a:rPr lang="ru-RU" sz="1000" dirty="0">
                <a:cs typeface="Arial" panose="020B0604020202020204" pitchFamily="34" charset="0"/>
              </a:rPr>
              <a:t> </a:t>
            </a:r>
            <a:r>
              <a:rPr lang="ru-RU" sz="1000" dirty="0" err="1">
                <a:cs typeface="Arial" panose="020B0604020202020204" pitchFamily="34" charset="0"/>
              </a:rPr>
              <a:t>жөндеу</a:t>
            </a:r>
            <a:endParaRPr lang="ru-RU" sz="1000" dirty="0">
              <a:cs typeface="Arial" panose="020B0604020202020204" pitchFamily="34" charset="0"/>
            </a:endParaRPr>
          </a:p>
          <a:p>
            <a:pPr marL="92075" indent="-92075">
              <a:buFont typeface="Arial" panose="020B0604020202020204" pitchFamily="34" charset="0"/>
              <a:buChar char="•"/>
              <a:tabLst>
                <a:tab pos="92075" algn="l"/>
              </a:tabLst>
            </a:pPr>
            <a:r>
              <a:rPr lang="ru-RU" sz="1000" dirty="0">
                <a:cs typeface="Arial" panose="020B0604020202020204" pitchFamily="34" charset="0"/>
              </a:rPr>
              <a:t>«Бейнеу», «</a:t>
            </a:r>
            <a:r>
              <a:rPr lang="ru-RU" sz="1000" dirty="0" err="1">
                <a:cs typeface="Arial" panose="020B0604020202020204" pitchFamily="34" charset="0"/>
              </a:rPr>
              <a:t>Жаңаөзен</a:t>
            </a:r>
            <a:r>
              <a:rPr lang="ru-RU" sz="1000" dirty="0">
                <a:cs typeface="Arial" panose="020B0604020202020204" pitchFamily="34" charset="0"/>
              </a:rPr>
              <a:t>» КС-</a:t>
            </a:r>
            <a:r>
              <a:rPr lang="ru-RU" sz="1000" dirty="0" err="1">
                <a:cs typeface="Arial" panose="020B0604020202020204" pitchFamily="34" charset="0"/>
              </a:rPr>
              <a:t>терін</a:t>
            </a:r>
            <a:r>
              <a:rPr lang="ru-RU" sz="1000" dirty="0">
                <a:cs typeface="Arial" panose="020B0604020202020204" pitchFamily="34" charset="0"/>
              </a:rPr>
              <a:t> </a:t>
            </a:r>
            <a:r>
              <a:rPr lang="ru-RU" sz="1000" dirty="0" err="1">
                <a:cs typeface="Arial" panose="020B0604020202020204" pitchFamily="34" charset="0"/>
              </a:rPr>
              <a:t>қайта</a:t>
            </a:r>
            <a:r>
              <a:rPr lang="ru-RU" sz="1000" dirty="0">
                <a:cs typeface="Arial" panose="020B0604020202020204" pitchFamily="34" charset="0"/>
              </a:rPr>
              <a:t> </a:t>
            </a:r>
            <a:r>
              <a:rPr lang="ru-RU" sz="1000" dirty="0" err="1">
                <a:cs typeface="Arial" panose="020B0604020202020204" pitchFamily="34" charset="0"/>
              </a:rPr>
              <a:t>жаңарту</a:t>
            </a:r>
            <a:endParaRPr lang="ru-RU" sz="1000" dirty="0">
              <a:cs typeface="Arial" panose="020B0604020202020204" pitchFamily="34" charset="0"/>
            </a:endParaRPr>
          </a:p>
          <a:p>
            <a:pPr marL="92075" indent="-92075">
              <a:buFont typeface="Arial" panose="020B0604020202020204" pitchFamily="34" charset="0"/>
              <a:buChar char="•"/>
              <a:tabLst>
                <a:tab pos="92075" algn="l"/>
              </a:tabLst>
            </a:pPr>
            <a:r>
              <a:rPr lang="ru-RU" sz="1000" dirty="0">
                <a:cs typeface="Arial" panose="020B0604020202020204" pitchFamily="34" charset="0"/>
              </a:rPr>
              <a:t>«Жаңаөзен-Ақтау»4-желісінің </a:t>
            </a:r>
            <a:r>
              <a:rPr lang="ru-RU" sz="1000" dirty="0" err="1">
                <a:cs typeface="Arial" panose="020B0604020202020204" pitchFamily="34" charset="0"/>
              </a:rPr>
              <a:t>құрылысы</a:t>
            </a:r>
            <a:endParaRPr lang="ru-RU" sz="1000" dirty="0">
              <a:cs typeface="Arial" panose="020B0604020202020204" pitchFamily="34" charset="0"/>
            </a:endParaRPr>
          </a:p>
          <a:p>
            <a:pPr marL="92075" indent="-92075">
              <a:buFont typeface="Arial" panose="020B0604020202020204" pitchFamily="34" charset="0"/>
              <a:buChar char="•"/>
              <a:tabLst>
                <a:tab pos="92075" algn="l"/>
              </a:tabLst>
            </a:pPr>
            <a:r>
              <a:rPr lang="ru-RU" sz="1000" dirty="0" err="1">
                <a:cs typeface="Arial" panose="020B0604020202020204" pitchFamily="34" charset="0"/>
              </a:rPr>
              <a:t>Сарша</a:t>
            </a:r>
            <a:r>
              <a:rPr lang="ru-RU" sz="1000" dirty="0">
                <a:cs typeface="Arial" panose="020B0604020202020204" pitchFamily="34" charset="0"/>
              </a:rPr>
              <a:t> </a:t>
            </a:r>
            <a:r>
              <a:rPr lang="ru-RU" sz="1000" dirty="0" err="1">
                <a:cs typeface="Arial" panose="020B0604020202020204" pitchFamily="34" charset="0"/>
              </a:rPr>
              <a:t>елді</a:t>
            </a:r>
            <a:r>
              <a:rPr lang="ru-RU" sz="1000" dirty="0">
                <a:cs typeface="Arial" panose="020B0604020202020204" pitchFamily="34" charset="0"/>
              </a:rPr>
              <a:t> </a:t>
            </a:r>
            <a:r>
              <a:rPr lang="ru-RU" sz="1000" dirty="0" err="1">
                <a:cs typeface="Arial" panose="020B0604020202020204" pitchFamily="34" charset="0"/>
              </a:rPr>
              <a:t>мекеніне</a:t>
            </a:r>
            <a:r>
              <a:rPr lang="ru-RU" sz="1000" dirty="0">
                <a:cs typeface="Arial" panose="020B0604020202020204" pitchFamily="34" charset="0"/>
              </a:rPr>
              <a:t> </a:t>
            </a:r>
            <a:r>
              <a:rPr lang="ru-RU" sz="1000" dirty="0" err="1">
                <a:cs typeface="Arial" panose="020B0604020202020204" pitchFamily="34" charset="0"/>
              </a:rPr>
              <a:t>тарату</a:t>
            </a:r>
            <a:r>
              <a:rPr lang="ru-RU" sz="1000" dirty="0">
                <a:cs typeface="Arial" panose="020B0604020202020204" pitchFamily="34" charset="0"/>
              </a:rPr>
              <a:t> </a:t>
            </a:r>
            <a:r>
              <a:rPr lang="ru-RU" sz="1000" dirty="0" err="1">
                <a:cs typeface="Arial" panose="020B0604020202020204" pitchFamily="34" charset="0"/>
              </a:rPr>
              <a:t>желілерін</a:t>
            </a:r>
            <a:r>
              <a:rPr lang="ru-RU" sz="1000" dirty="0">
                <a:cs typeface="Arial" panose="020B0604020202020204" pitchFamily="34" charset="0"/>
              </a:rPr>
              <a:t> салу</a:t>
            </a:r>
          </a:p>
        </p:txBody>
      </p:sp>
      <p:grpSp>
        <p:nvGrpSpPr>
          <p:cNvPr id="145" name="Группа 144"/>
          <p:cNvGrpSpPr/>
          <p:nvPr/>
        </p:nvGrpSpPr>
        <p:grpSpPr>
          <a:xfrm>
            <a:off x="47015" y="905310"/>
            <a:ext cx="525779" cy="449946"/>
            <a:chOff x="1655079" y="1586323"/>
            <a:chExt cx="956246" cy="783789"/>
          </a:xfrm>
        </p:grpSpPr>
        <p:sp>
          <p:nvSpPr>
            <p:cNvPr id="146" name="Прямоугольник 145"/>
            <p:cNvSpPr/>
            <p:nvPr/>
          </p:nvSpPr>
          <p:spPr>
            <a:xfrm>
              <a:off x="1655079" y="2102070"/>
              <a:ext cx="956246" cy="14400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cs typeface="Arial" pitchFamily="34" charset="0"/>
              </a:endParaRPr>
            </a:p>
          </p:txBody>
        </p:sp>
        <p:pic>
          <p:nvPicPr>
            <p:cNvPr id="148" name="Рисунок 147"/>
            <p:cNvPicPr>
              <a:picLocks noChangeAspect="1"/>
            </p:cNvPicPr>
            <p:nvPr/>
          </p:nvPicPr>
          <p:blipFill>
            <a:blip r:embed="rId5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85961" y="1586323"/>
              <a:ext cx="694482" cy="783789"/>
            </a:xfrm>
            <a:prstGeom prst="rect">
              <a:avLst/>
            </a:prstGeom>
          </p:spPr>
        </p:pic>
      </p:grpSp>
      <p:sp>
        <p:nvSpPr>
          <p:cNvPr id="149" name="TextBox 148"/>
          <p:cNvSpPr txBox="1"/>
          <p:nvPr/>
        </p:nvSpPr>
        <p:spPr>
          <a:xfrm>
            <a:off x="619342" y="983168"/>
            <a:ext cx="5634212" cy="33855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600" b="1" dirty="0" err="1">
                <a:cs typeface="Arial" panose="020B0604020202020204" pitchFamily="34" charset="0"/>
              </a:rPr>
              <a:t>Батыс</a:t>
            </a:r>
            <a:r>
              <a:rPr lang="ru-RU" sz="1600" b="1" dirty="0">
                <a:cs typeface="Arial" panose="020B0604020202020204" pitchFamily="34" charset="0"/>
              </a:rPr>
              <a:t> </a:t>
            </a:r>
            <a:r>
              <a:rPr lang="ru-RU" sz="1600" b="1" dirty="0" err="1">
                <a:cs typeface="Arial" panose="020B0604020202020204" pitchFamily="34" charset="0"/>
              </a:rPr>
              <a:t>өңірдің</a:t>
            </a:r>
            <a:r>
              <a:rPr lang="ru-RU" sz="1600" b="1" dirty="0">
                <a:cs typeface="Arial" panose="020B0604020202020204" pitchFamily="34" charset="0"/>
              </a:rPr>
              <a:t> ГТЖ </a:t>
            </a:r>
            <a:r>
              <a:rPr lang="ru-RU" sz="1600" b="1" dirty="0" err="1">
                <a:cs typeface="Arial" panose="020B0604020202020204" pitchFamily="34" charset="0"/>
              </a:rPr>
              <a:t>жаңғырту</a:t>
            </a:r>
            <a:r>
              <a:rPr lang="ru-RU" sz="1600" b="1" dirty="0">
                <a:cs typeface="Arial" panose="020B0604020202020204" pitchFamily="34" charset="0"/>
              </a:rPr>
              <a:t> </a:t>
            </a:r>
            <a:r>
              <a:rPr lang="ru-RU" sz="1600" b="1" dirty="0" err="1">
                <a:cs typeface="Arial" panose="020B0604020202020204" pitchFamily="34" charset="0"/>
              </a:rPr>
              <a:t>жөніндегі</a:t>
            </a:r>
            <a:r>
              <a:rPr lang="ru-RU" sz="1600" b="1" dirty="0">
                <a:cs typeface="Arial" panose="020B0604020202020204" pitchFamily="34" charset="0"/>
              </a:rPr>
              <a:t> </a:t>
            </a:r>
            <a:r>
              <a:rPr lang="ru-RU" sz="1600" b="1" dirty="0" err="1">
                <a:cs typeface="Arial" panose="020B0604020202020204" pitchFamily="34" charset="0"/>
              </a:rPr>
              <a:t>жобалар</a:t>
            </a:r>
            <a:endParaRPr lang="ru-RU" sz="1600" b="1" dirty="0">
              <a:cs typeface="Arial" panose="020B0604020202020204" pitchFamily="34" charset="0"/>
            </a:endParaRPr>
          </a:p>
        </p:txBody>
      </p:sp>
      <p:pic>
        <p:nvPicPr>
          <p:cNvPr id="152" name="Рисунок 15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904" y="4178031"/>
            <a:ext cx="720080" cy="486675"/>
          </a:xfrm>
          <a:prstGeom prst="rect">
            <a:avLst/>
          </a:prstGeom>
        </p:spPr>
      </p:pic>
      <p:pic>
        <p:nvPicPr>
          <p:cNvPr id="153" name="Рисунок 152">
            <a:extLst>
              <a:ext uri="{FF2B5EF4-FFF2-40B4-BE49-F238E27FC236}">
                <a16:creationId xmlns:a16="http://schemas.microsoft.com/office/drawing/2014/main" xmlns="" id="{D983FF89-4C20-4F69-84D8-B9CF18772CC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741" y="5484601"/>
            <a:ext cx="470785" cy="451998"/>
          </a:xfrm>
          <a:prstGeom prst="rect">
            <a:avLst/>
          </a:prstGeom>
        </p:spPr>
      </p:pic>
      <p:pic>
        <p:nvPicPr>
          <p:cNvPr id="62" name="Рисунок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0033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11324784" y="113073"/>
            <a:ext cx="891251" cy="365125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</a:t>
            </a:r>
          </a:p>
        </p:txBody>
      </p:sp>
    </p:spTree>
    <p:extLst>
      <p:ext uri="{BB962C8B-B14F-4D97-AF65-F5344CB8AC3E}">
        <p14:creationId xmlns:p14="http://schemas.microsoft.com/office/powerpoint/2010/main" val="1322163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AutoShape 6" descr="больница, здание бесплатно значок - Icon-Icons.com"/>
          <p:cNvSpPr>
            <a:spLocks noChangeAspect="1" noChangeArrowheads="1"/>
          </p:cNvSpPr>
          <p:nvPr/>
        </p:nvSpPr>
        <p:spPr bwMode="auto">
          <a:xfrm>
            <a:off x="2897981" y="734566"/>
            <a:ext cx="2286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120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77AC08D8-A2CF-4813-BCB9-ECFCFFCE433C}"/>
              </a:ext>
            </a:extLst>
          </p:cNvPr>
          <p:cNvSpPr txBox="1"/>
          <p:nvPr/>
        </p:nvSpPr>
        <p:spPr>
          <a:xfrm>
            <a:off x="92540" y="65447"/>
            <a:ext cx="80081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1A4164"/>
                </a:solidFill>
                <a:latin typeface="Arial Narrow" panose="020B0606020202030204" pitchFamily="34" charset="0"/>
                <a:ea typeface="Barlow Condensed"/>
                <a:cs typeface="Arial" panose="020B0604020202020204" pitchFamily="34" charset="0"/>
              </a:rPr>
              <a:t>ГАЗ САЛАСЫН ДАМЫТУДЫҢ КЕШЕНДІ ЖОСПАРЫ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252728" y="935160"/>
            <a:ext cx="10314432" cy="5247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 algn="just">
              <a:buFont typeface="Wingdings" panose="05000000000000000000" pitchFamily="2" charset="2"/>
              <a:buChar char="v"/>
            </a:pPr>
            <a:r>
              <a:rPr lang="kk-KZ" b="1" dirty="0">
                <a:solidFill>
                  <a:srgbClr val="002060"/>
                </a:solidFill>
                <a:latin typeface="Arial Narrow" panose="020B0606020202030204" pitchFamily="34" charset="0"/>
              </a:rPr>
              <a:t>РЕСУРСТЫҚ БАЗАНЫ ТОЛЫҚТЫРУ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marL="214313" indent="-214313" algn="just">
              <a:buFont typeface="Wingdings" panose="05000000000000000000" pitchFamily="2" charset="2"/>
              <a:buChar char="ü"/>
            </a:pPr>
            <a:r>
              <a:rPr lang="ru-RU" dirty="0" err="1">
                <a:latin typeface="Arial Narrow" panose="020B0606020202030204" pitchFamily="34" charset="0"/>
              </a:rPr>
              <a:t>Қашағанда</a:t>
            </a:r>
            <a:r>
              <a:rPr lang="ru-RU" dirty="0">
                <a:latin typeface="Arial Narrow" panose="020B0606020202030204" pitchFamily="34" charset="0"/>
              </a:rPr>
              <a:t> газ </a:t>
            </a:r>
            <a:r>
              <a:rPr lang="ru-RU" dirty="0" err="1">
                <a:latin typeface="Arial Narrow" panose="020B0606020202030204" pitchFamily="34" charset="0"/>
              </a:rPr>
              <a:t>өңдеу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қуаттарын</a:t>
            </a:r>
            <a:r>
              <a:rPr lang="ru-RU" dirty="0">
                <a:latin typeface="Arial Narrow" panose="020B0606020202030204" pitchFamily="34" charset="0"/>
              </a:rPr>
              <a:t> салу;</a:t>
            </a:r>
          </a:p>
          <a:p>
            <a:pPr marL="214313" indent="-214313" algn="just">
              <a:buFont typeface="Wingdings" panose="05000000000000000000" pitchFamily="2" charset="2"/>
              <a:buChar char="ü"/>
            </a:pPr>
            <a:r>
              <a:rPr lang="ru-RU" dirty="0" err="1">
                <a:latin typeface="Arial Narrow" panose="020B0606020202030204" pitchFamily="34" charset="0"/>
              </a:rPr>
              <a:t>жақсартылған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модельдік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келісімшартты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енгізу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шеңберінде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жер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қойнауын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пайдаланушылар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үшін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ынталандырушы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преференциялар</a:t>
            </a:r>
            <a:r>
              <a:rPr lang="ru-RU" dirty="0">
                <a:latin typeface="Arial Narrow" panose="020B0606020202030204" pitchFamily="34" charset="0"/>
              </a:rPr>
              <a:t> беру.</a:t>
            </a:r>
          </a:p>
          <a:p>
            <a:pPr marL="214313" indent="-214313" algn="just">
              <a:buFont typeface="Wingdings" panose="05000000000000000000" pitchFamily="2" charset="2"/>
              <a:buChar char="ü"/>
            </a:pPr>
            <a:endParaRPr lang="ru-RU" dirty="0">
              <a:latin typeface="Arial Narrow" panose="020B0606020202030204" pitchFamily="34" charset="0"/>
            </a:endParaRPr>
          </a:p>
          <a:p>
            <a:pPr marL="257175" indent="-257175" algn="just">
              <a:buFont typeface="Wingdings" panose="05000000000000000000" pitchFamily="2" charset="2"/>
              <a:buChar char="v"/>
            </a:pPr>
            <a:r>
              <a:rPr lang="ru-RU" b="1" dirty="0">
                <a:solidFill>
                  <a:schemeClr val="tx2"/>
                </a:solidFill>
                <a:latin typeface="Arial Narrow" panose="020B0606020202030204" pitchFamily="34" charset="0"/>
              </a:rPr>
              <a:t>ҚАЗАҚСТАН РЕСПУБЛИКАСЫН ГАЗДАНДЫРУДЫҢ БАС СХЕМАСЫН ӨЗЕКТЕНДІРУ</a:t>
            </a:r>
            <a:endParaRPr lang="kk-KZ" b="1" dirty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 marL="214313" indent="-214313" algn="just">
              <a:buFont typeface="Wingdings" panose="05000000000000000000" pitchFamily="2" charset="2"/>
              <a:buChar char="ü"/>
            </a:pPr>
            <a:r>
              <a:rPr lang="ru-RU" dirty="0" err="1">
                <a:latin typeface="Arial Narrow" panose="020B0606020202030204" pitchFamily="34" charset="0"/>
              </a:rPr>
              <a:t>солтүстік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өңірлерді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газдандыру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және</a:t>
            </a:r>
            <a:r>
              <a:rPr lang="ru-RU" dirty="0">
                <a:latin typeface="Arial Narrow" panose="020B0606020202030204" pitchFamily="34" charset="0"/>
              </a:rPr>
              <a:t> 2030 </a:t>
            </a:r>
            <a:r>
              <a:rPr lang="ru-RU" dirty="0" err="1">
                <a:latin typeface="Arial Narrow" panose="020B0606020202030204" pitchFamily="34" charset="0"/>
              </a:rPr>
              <a:t>жылға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қарай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халықты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газдандыруды</a:t>
            </a:r>
            <a:r>
              <a:rPr lang="ru-RU" dirty="0">
                <a:latin typeface="Arial Narrow" panose="020B0606020202030204" pitchFamily="34" charset="0"/>
              </a:rPr>
              <a:t> 65%-</a:t>
            </a:r>
            <a:r>
              <a:rPr lang="ru-RU" dirty="0" err="1">
                <a:latin typeface="Arial Narrow" panose="020B0606020202030204" pitchFamily="34" charset="0"/>
              </a:rPr>
              <a:t>ға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жалпы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қамтуға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қол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жеткізу</a:t>
            </a:r>
            <a:r>
              <a:rPr lang="ru-RU" dirty="0">
                <a:latin typeface="Arial Narrow" panose="020B0606020202030204" pitchFamily="34" charset="0"/>
              </a:rPr>
              <a:t>.</a:t>
            </a:r>
          </a:p>
          <a:p>
            <a:pPr algn="just"/>
            <a:endParaRPr lang="ru-RU" sz="1000" dirty="0">
              <a:solidFill>
                <a:srgbClr val="FF0000"/>
              </a:solidFill>
              <a:latin typeface="Arial Narrow" panose="020B0606020202030204" pitchFamily="34" charset="0"/>
            </a:endParaRPr>
          </a:p>
          <a:p>
            <a:pPr marL="214313" indent="-214313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kk-KZ" b="1" dirty="0">
                <a:solidFill>
                  <a:schemeClr val="tx2"/>
                </a:solidFill>
                <a:latin typeface="Arial Narrow" panose="020B0606020202030204" pitchFamily="34" charset="0"/>
              </a:rPr>
              <a:t>ГАЗ ТАСЫМАЛДАУ ИНФРАҚҰРЫЛЫМЫН ЖАҢҒЫРТУ</a:t>
            </a:r>
          </a:p>
          <a:p>
            <a:pPr marL="214313" indent="-214313" algn="just">
              <a:buFont typeface="Wingdings" panose="05000000000000000000" pitchFamily="2" charset="2"/>
              <a:buChar char="ü"/>
            </a:pPr>
            <a:r>
              <a:rPr lang="ru-RU" dirty="0">
                <a:latin typeface="Arial Narrow" panose="020B0606020202030204" pitchFamily="34" charset="0"/>
              </a:rPr>
              <a:t>газ </a:t>
            </a:r>
            <a:r>
              <a:rPr lang="ru-RU" dirty="0" err="1">
                <a:latin typeface="Arial Narrow" panose="020B0606020202030204" pitchFamily="34" charset="0"/>
              </a:rPr>
              <a:t>тасымалдау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инфрақұрылымының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тозу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деңгейін</a:t>
            </a:r>
            <a:r>
              <a:rPr lang="ru-RU" dirty="0">
                <a:latin typeface="Arial Narrow" panose="020B0606020202030204" pitchFamily="34" charset="0"/>
              </a:rPr>
              <a:t> 25%-</a:t>
            </a:r>
            <a:r>
              <a:rPr lang="ru-RU" dirty="0" err="1">
                <a:latin typeface="Arial Narrow" panose="020B0606020202030204" pitchFamily="34" charset="0"/>
              </a:rPr>
              <a:t>ға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дейін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қысқарту</a:t>
            </a:r>
            <a:r>
              <a:rPr lang="ru-RU" dirty="0">
                <a:latin typeface="Arial Narrow" panose="020B0606020202030204" pitchFamily="34" charset="0"/>
              </a:rPr>
              <a:t>, </a:t>
            </a:r>
            <a:r>
              <a:rPr lang="ru-RU" dirty="0" err="1">
                <a:latin typeface="Arial Narrow" panose="020B0606020202030204" pitchFamily="34" charset="0"/>
              </a:rPr>
              <a:t>өткізу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қабілетін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газдандыру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бойынша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нысаналы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көрсеткіштерді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қамтамасыз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ету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үшін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қажетті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деңгейге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дейін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кеңейту</a:t>
            </a:r>
            <a:r>
              <a:rPr lang="ru-RU" dirty="0">
                <a:latin typeface="Arial Narrow" panose="020B0606020202030204" pitchFamily="34" charset="0"/>
              </a:rPr>
              <a:t>;</a:t>
            </a:r>
          </a:p>
          <a:p>
            <a:pPr marL="214313" indent="-214313" algn="just">
              <a:buFont typeface="Wingdings" panose="05000000000000000000" pitchFamily="2" charset="2"/>
              <a:buChar char="v"/>
            </a:pPr>
            <a:endParaRPr lang="kk-KZ" sz="10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 marL="214313" indent="-214313" algn="just">
              <a:buFont typeface="Wingdings" panose="05000000000000000000" pitchFamily="2" charset="2"/>
              <a:buChar char="v"/>
            </a:pPr>
            <a:r>
              <a:rPr lang="ru-RU" b="1" dirty="0">
                <a:solidFill>
                  <a:schemeClr val="tx2"/>
                </a:solidFill>
                <a:latin typeface="Arial Narrow" panose="020B0606020202030204" pitchFamily="34" charset="0"/>
              </a:rPr>
              <a:t>ГАЗҒА БАҒА БЕЛГІЛЕУ МОДЕЛІН ЖЕТІЛДІРУ</a:t>
            </a:r>
          </a:p>
          <a:p>
            <a:pPr marL="214313" indent="-214313" algn="just">
              <a:buFont typeface="Wingdings" panose="05000000000000000000" pitchFamily="2" charset="2"/>
              <a:buChar char="ü"/>
            </a:pPr>
            <a:r>
              <a:rPr lang="ru-RU" dirty="0" err="1">
                <a:latin typeface="Arial Narrow" panose="020B0606020202030204" pitchFamily="34" charset="0"/>
              </a:rPr>
              <a:t>қолдауға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мұқтаж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тұтынушылар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санаттары</a:t>
            </a:r>
            <a:r>
              <a:rPr lang="ru-RU" dirty="0">
                <a:latin typeface="Arial Narrow" panose="020B0606020202030204" pitchFamily="34" charset="0"/>
              </a:rPr>
              <a:t>, </a:t>
            </a:r>
            <a:r>
              <a:rPr lang="ru-RU" dirty="0" err="1">
                <a:latin typeface="Arial Narrow" panose="020B0606020202030204" pitchFamily="34" charset="0"/>
              </a:rPr>
              <a:t>ең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алдымен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халықтың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әлеуметтік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осал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топтары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үшін</a:t>
            </a:r>
            <a:r>
              <a:rPr lang="ru-RU" dirty="0">
                <a:latin typeface="Arial Narrow" panose="020B0606020202030204" pitchFamily="34" charset="0"/>
              </a:rPr>
              <a:t> газ </a:t>
            </a:r>
            <a:r>
              <a:rPr lang="ru-RU" dirty="0" err="1">
                <a:latin typeface="Arial Narrow" panose="020B0606020202030204" pitchFamily="34" charset="0"/>
              </a:rPr>
              <a:t>бағасын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ұстап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тұру</a:t>
            </a:r>
            <a:r>
              <a:rPr lang="ru-RU" dirty="0">
                <a:latin typeface="Arial Narrow" panose="020B0606020202030204" pitchFamily="34" charset="0"/>
              </a:rPr>
              <a:t>;</a:t>
            </a:r>
          </a:p>
          <a:p>
            <a:pPr marL="214313" indent="-214313" algn="just">
              <a:buFont typeface="Wingdings" panose="05000000000000000000" pitchFamily="2" charset="2"/>
              <a:buChar char="ü"/>
            </a:pPr>
            <a:r>
              <a:rPr lang="ru-RU" dirty="0" err="1">
                <a:latin typeface="Arial Narrow" panose="020B0606020202030204" pitchFamily="34" charset="0"/>
              </a:rPr>
              <a:t>газдың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нарықтық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бағасын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төлей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алатын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тұтынушылардың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жаңа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санаттарын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енгізу</a:t>
            </a:r>
            <a:r>
              <a:rPr lang="ru-RU" dirty="0">
                <a:latin typeface="Arial Narrow" panose="020B0606020202030204" pitchFamily="34" charset="0"/>
              </a:rPr>
              <a:t>;</a:t>
            </a:r>
          </a:p>
          <a:p>
            <a:pPr marL="214313" indent="-214313" algn="just">
              <a:buFont typeface="Wingdings" panose="05000000000000000000" pitchFamily="2" charset="2"/>
              <a:buChar char="ü"/>
            </a:pPr>
            <a:r>
              <a:rPr lang="ru-RU" dirty="0" err="1">
                <a:latin typeface="Arial Narrow" panose="020B0606020202030204" pitchFamily="34" charset="0"/>
              </a:rPr>
              <a:t>ұлттық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оператордың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қаржылық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тұрақтылығын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қамтамасыз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ету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үшін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тарифтер</a:t>
            </a:r>
            <a:r>
              <a:rPr lang="ru-RU" dirty="0">
                <a:latin typeface="Arial Narrow" panose="020B0606020202030204" pitchFamily="34" charset="0"/>
              </a:rPr>
              <a:t> мен </a:t>
            </a:r>
            <a:r>
              <a:rPr lang="ru-RU" dirty="0" err="1">
                <a:latin typeface="Arial Narrow" panose="020B0606020202030204" pitchFamily="34" charset="0"/>
              </a:rPr>
              <a:t>бағаларды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ұзақ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мерзімді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жоспарлау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және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дефолтты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болдырмау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үшін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мемлекеттік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қолдау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шараларын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заңнамалық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err="1">
                <a:latin typeface="Arial Narrow" panose="020B0606020202030204" pitchFamily="34" charset="0"/>
              </a:rPr>
              <a:t>бекіту</a:t>
            </a:r>
            <a:r>
              <a:rPr lang="ru-RU" dirty="0">
                <a:latin typeface="Arial Narrow" panose="020B0606020202030204" pitchFamily="34" charset="0"/>
              </a:rPr>
              <a:t>.</a:t>
            </a:r>
            <a:endParaRPr lang="kk-KZ" sz="7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pic>
        <p:nvPicPr>
          <p:cNvPr id="33" name="Picture 3" descr="F:\tubo-de-gas-amarillo-con-vector-rojo-del-arte-pop-la-válvula-110913845.jpg"/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88" t="11296" r="6009" b="22914"/>
          <a:stretch/>
        </p:blipFill>
        <p:spPr bwMode="auto">
          <a:xfrm>
            <a:off x="233895" y="3599752"/>
            <a:ext cx="975433" cy="60404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object 10"/>
          <p:cNvPicPr/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68448" y="4971469"/>
            <a:ext cx="763952" cy="686240"/>
          </a:xfrm>
          <a:prstGeom prst="rect">
            <a:avLst/>
          </a:prstGeom>
        </p:spPr>
      </p:pic>
      <p:pic>
        <p:nvPicPr>
          <p:cNvPr id="35" name="Picture 14" descr="C:\Users\koshen_g\Desktop\ТРЕНИНГ\img_140115_042628.jp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337" y="1225533"/>
            <a:ext cx="913991" cy="614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Cutout/>
                    </a14:imgEffect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320" y="2443622"/>
            <a:ext cx="720080" cy="720080"/>
          </a:xfrm>
          <a:prstGeom prst="rect">
            <a:avLst/>
          </a:prstGeom>
        </p:spPr>
      </p:pic>
      <p:pic>
        <p:nvPicPr>
          <p:cNvPr id="13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0033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Номер слайда 3"/>
          <p:cNvSpPr txBox="1">
            <a:spLocks/>
          </p:cNvSpPr>
          <p:nvPr/>
        </p:nvSpPr>
        <p:spPr>
          <a:xfrm>
            <a:off x="11324784" y="113073"/>
            <a:ext cx="8912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</a:t>
            </a: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454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4" descr="Флаг Сингапура — Википедия"/>
          <p:cNvSpPr>
            <a:spLocks noChangeAspect="1" noChangeArrowheads="1"/>
          </p:cNvSpPr>
          <p:nvPr/>
        </p:nvSpPr>
        <p:spPr bwMode="auto">
          <a:xfrm>
            <a:off x="1640681" y="-104536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0" name="AutoShape 6" descr="Флаг Сингапура — Википедия"/>
          <p:cNvSpPr>
            <a:spLocks noChangeAspect="1" noChangeArrowheads="1"/>
          </p:cNvSpPr>
          <p:nvPr/>
        </p:nvSpPr>
        <p:spPr bwMode="auto">
          <a:xfrm>
            <a:off x="1754981" y="9765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1" name="AutoShape 8" descr="Флаг Сингапура — Википедия"/>
          <p:cNvSpPr>
            <a:spLocks noChangeAspect="1" noChangeArrowheads="1"/>
          </p:cNvSpPr>
          <p:nvPr/>
        </p:nvSpPr>
        <p:spPr bwMode="auto">
          <a:xfrm>
            <a:off x="1869281" y="124065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6" name="Заголовок 4">
            <a:extLst>
              <a:ext uri="{FF2B5EF4-FFF2-40B4-BE49-F238E27FC236}">
                <a16:creationId xmlns:a16="http://schemas.microsoft.com/office/drawing/2014/main" xmlns="" id="{79EBD815-F53D-4FF3-97A7-A4CF3A7A0BE8}"/>
              </a:ext>
            </a:extLst>
          </p:cNvPr>
          <p:cNvSpPr txBox="1">
            <a:spLocks/>
          </p:cNvSpPr>
          <p:nvPr/>
        </p:nvSpPr>
        <p:spPr>
          <a:xfrm>
            <a:off x="13744" y="73330"/>
            <a:ext cx="7123780" cy="51863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defTabSz="685783">
              <a:lnSpc>
                <a:spcPct val="90000"/>
              </a:lnSpc>
              <a:buSzPts val="2800"/>
              <a:defRPr b="1">
                <a:solidFill>
                  <a:srgbClr val="1A4164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>
                <a:latin typeface="+mn-lt"/>
              </a:rPr>
              <a:t>СҰЙЫТЫЛҒАН МҰНАЙ ГАЗЫ</a:t>
            </a:r>
          </a:p>
        </p:txBody>
      </p:sp>
      <p:graphicFrame>
        <p:nvGraphicFramePr>
          <p:cNvPr id="17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0116235"/>
              </p:ext>
            </p:extLst>
          </p:nvPr>
        </p:nvGraphicFramePr>
        <p:xfrm>
          <a:off x="1631163" y="3984818"/>
          <a:ext cx="3411464" cy="14253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1602399" y="2986016"/>
            <a:ext cx="335150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cs typeface="Arial" panose="020B0604020202020204" pitchFamily="34" charset="0"/>
              </a:rPr>
              <a:t>ГАЗДАҒЫ АВТОКӨЛІКТЕРДІҢ САНЫ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476376" y="5384179"/>
            <a:ext cx="37287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rgbClr val="FF0000"/>
                </a:solidFill>
                <a:cs typeface="Arial" panose="020B0604020202020204" pitchFamily="34" charset="0"/>
              </a:rPr>
              <a:t>СМГ-</a:t>
            </a:r>
            <a:r>
              <a:rPr lang="ru-RU" sz="1600" dirty="0" err="1">
                <a:solidFill>
                  <a:srgbClr val="FF0000"/>
                </a:solidFill>
                <a:cs typeface="Arial" panose="020B0604020202020204" pitchFamily="34" charset="0"/>
              </a:rPr>
              <a:t>ның</a:t>
            </a:r>
            <a:r>
              <a:rPr lang="ru-RU" sz="1600" dirty="0">
                <a:solidFill>
                  <a:srgbClr val="FF0000"/>
                </a:solidFill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FF0000"/>
                </a:solidFill>
                <a:cs typeface="Arial" panose="020B0604020202020204" pitchFamily="34" charset="0"/>
              </a:rPr>
              <a:t>төмен</a:t>
            </a:r>
            <a:r>
              <a:rPr lang="ru-RU" sz="1600" dirty="0">
                <a:solidFill>
                  <a:srgbClr val="FF0000"/>
                </a:solidFill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FF0000"/>
                </a:solidFill>
                <a:cs typeface="Arial" panose="020B0604020202020204" pitchFamily="34" charset="0"/>
              </a:rPr>
              <a:t>бағасы</a:t>
            </a:r>
            <a:r>
              <a:rPr lang="ru-RU" sz="1600" dirty="0">
                <a:solidFill>
                  <a:srgbClr val="FF0000"/>
                </a:solidFill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FF0000"/>
                </a:solidFill>
                <a:cs typeface="Arial" panose="020B0604020202020204" pitchFamily="34" charset="0"/>
              </a:rPr>
              <a:t>тұтынудың</a:t>
            </a:r>
            <a:r>
              <a:rPr lang="ru-RU" sz="1600" dirty="0">
                <a:solidFill>
                  <a:srgbClr val="FF0000"/>
                </a:solidFill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FF0000"/>
                </a:solidFill>
                <a:cs typeface="Arial" panose="020B0604020202020204" pitchFamily="34" charset="0"/>
              </a:rPr>
              <a:t>қарқынды</a:t>
            </a:r>
            <a:r>
              <a:rPr lang="ru-RU" sz="1600" dirty="0">
                <a:solidFill>
                  <a:srgbClr val="FF0000"/>
                </a:solidFill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FF0000"/>
                </a:solidFill>
                <a:cs typeface="Arial" panose="020B0604020202020204" pitchFamily="34" charset="0"/>
              </a:rPr>
              <a:t>өсуіне</a:t>
            </a:r>
            <a:r>
              <a:rPr lang="ru-RU" sz="1600" dirty="0">
                <a:solidFill>
                  <a:srgbClr val="FF0000"/>
                </a:solidFill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FF0000"/>
                </a:solidFill>
                <a:cs typeface="Arial" panose="020B0604020202020204" pitchFamily="34" charset="0"/>
              </a:rPr>
              <a:t>әсер</a:t>
            </a:r>
            <a:r>
              <a:rPr lang="ru-RU" sz="1600" dirty="0">
                <a:solidFill>
                  <a:srgbClr val="FF0000"/>
                </a:solidFill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FF0000"/>
                </a:solidFill>
                <a:cs typeface="Arial" panose="020B0604020202020204" pitchFamily="34" charset="0"/>
              </a:rPr>
              <a:t>етеді</a:t>
            </a:r>
            <a:endParaRPr lang="ru-RU" sz="1050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081914" y="3161778"/>
            <a:ext cx="41242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b="1" dirty="0">
                <a:cs typeface="Arial" panose="020B0604020202020204" pitchFamily="34" charset="0"/>
              </a:rPr>
              <a:t>СМГ-НЫҢ БӨЛШЕК БАҒАСЫ</a:t>
            </a:r>
          </a:p>
          <a:p>
            <a:pPr algn="ctr"/>
            <a:endParaRPr lang="ru-RU" b="1" dirty="0">
              <a:cs typeface="Arial" panose="020B0604020202020204" pitchFamily="34" charset="0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1241502" y="698285"/>
            <a:ext cx="4688421" cy="2928155"/>
            <a:chOff x="53606" y="263304"/>
            <a:chExt cx="4688421" cy="3221871"/>
          </a:xfrm>
        </p:grpSpPr>
        <p:grpSp>
          <p:nvGrpSpPr>
            <p:cNvPr id="5" name="Группа 4"/>
            <p:cNvGrpSpPr/>
            <p:nvPr/>
          </p:nvGrpSpPr>
          <p:grpSpPr>
            <a:xfrm>
              <a:off x="53606" y="541592"/>
              <a:ext cx="4688421" cy="2943583"/>
              <a:chOff x="278722" y="649202"/>
              <a:chExt cx="4688421" cy="2943583"/>
            </a:xfrm>
          </p:grpSpPr>
          <p:graphicFrame>
            <p:nvGraphicFramePr>
              <p:cNvPr id="70" name="Диаграмма 17">
                <a:extLst>
                  <a:ext uri="{FF2B5EF4-FFF2-40B4-BE49-F238E27FC236}">
                    <a16:creationId xmlns:a16="http://schemas.microsoft.com/office/drawing/2014/main" xmlns="" id="{D0887785-1003-9347-B331-C0396D95376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298899181"/>
                  </p:ext>
                </p:extLst>
              </p:nvPr>
            </p:nvGraphicFramePr>
            <p:xfrm>
              <a:off x="278722" y="649202"/>
              <a:ext cx="4688421" cy="294358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72" name="TextBox 71"/>
              <p:cNvSpPr txBox="1"/>
              <p:nvPr/>
            </p:nvSpPr>
            <p:spPr>
              <a:xfrm>
                <a:off x="1209456" y="1862136"/>
                <a:ext cx="895488" cy="7111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000" b="1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3,2</a:t>
                </a:r>
              </a:p>
              <a:p>
                <a:pPr algn="ctr"/>
                <a:r>
                  <a:rPr lang="ru-RU" sz="1600" b="1" dirty="0" err="1">
                    <a:solidFill>
                      <a:schemeClr val="tx2"/>
                    </a:solidFill>
                    <a:cs typeface="Arial" panose="020B0604020202020204" pitchFamily="34" charset="0"/>
                  </a:rPr>
                  <a:t>млн.тн</a:t>
                </a:r>
                <a:endParaRPr lang="ru-RU" sz="1600" b="1" baseline="30000" dirty="0">
                  <a:solidFill>
                    <a:schemeClr val="tx2"/>
                  </a:solidFill>
                  <a:cs typeface="Arial" panose="020B0604020202020204" pitchFamily="34" charset="0"/>
                </a:endParaRPr>
              </a:p>
            </p:txBody>
          </p:sp>
        </p:grpSp>
        <p:sp>
          <p:nvSpPr>
            <p:cNvPr id="73" name="TextBox 72"/>
            <p:cNvSpPr txBox="1"/>
            <p:nvPr/>
          </p:nvSpPr>
          <p:spPr>
            <a:xfrm>
              <a:off x="605185" y="263304"/>
              <a:ext cx="3084625" cy="4063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k-KZ" b="1" dirty="0">
                  <a:cs typeface="Arial" panose="020B0604020202020204" pitchFamily="34" charset="0"/>
                </a:rPr>
                <a:t>2022 ж. СМГ ӨНДІРІСІ</a:t>
              </a:r>
              <a:endParaRPr lang="ru-RU" b="1" dirty="0">
                <a:cs typeface="Arial" panose="020B0604020202020204" pitchFamily="34" charset="0"/>
              </a:endParaRP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2088364" y="4388972"/>
            <a:ext cx="1209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cs typeface="Arial" panose="020B0604020202020204" pitchFamily="34" charset="0"/>
              </a:rPr>
              <a:t>139 990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3676657" y="4007139"/>
            <a:ext cx="1152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cs typeface="Arial" panose="020B0604020202020204" pitchFamily="34" charset="0"/>
              </a:rPr>
              <a:t>313 373</a:t>
            </a:r>
          </a:p>
        </p:txBody>
      </p:sp>
      <p:sp>
        <p:nvSpPr>
          <p:cNvPr id="79" name="Стрелка вправо 78"/>
          <p:cNvSpPr/>
          <p:nvPr/>
        </p:nvSpPr>
        <p:spPr>
          <a:xfrm rot="16200000">
            <a:off x="2970262" y="4064286"/>
            <a:ext cx="655550" cy="332377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>
              <a:solidFill>
                <a:srgbClr val="0070C0"/>
              </a:solidFill>
              <a:cs typeface="Arial" panose="020B0604020202020204" pitchFamily="34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2769401" y="3568929"/>
            <a:ext cx="18979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00B0F0"/>
                </a:solidFill>
                <a:cs typeface="Arial" panose="020B0604020202020204" pitchFamily="34" charset="0"/>
              </a:rPr>
              <a:t>+ 223%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793081" y="6209105"/>
            <a:ext cx="86844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2000" b="1" dirty="0">
                <a:cs typeface="Arial" panose="020B0604020202020204" pitchFamily="34" charset="0"/>
              </a:rPr>
              <a:t>Зауыттарды қолдау үшін бағаларды кезең-кезеңімен көтеру қажет</a:t>
            </a:r>
            <a:endParaRPr lang="ru-RU" sz="2000" b="1" dirty="0">
              <a:cs typeface="Arial" panose="020B0604020202020204" pitchFamily="34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1461846" y="5839048"/>
            <a:ext cx="7588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200" b="1" dirty="0">
                <a:solidFill>
                  <a:srgbClr val="C00000"/>
                </a:solidFill>
                <a:cs typeface="Arial" panose="020B0604020202020204" pitchFamily="34" charset="0"/>
              </a:rPr>
              <a:t>!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9823694" y="4854633"/>
            <a:ext cx="113262" cy="1828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/>
          </a:p>
        </p:txBody>
      </p:sp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4067249"/>
              </p:ext>
            </p:extLst>
          </p:nvPr>
        </p:nvGraphicFramePr>
        <p:xfrm>
          <a:off x="5715000" y="3542164"/>
          <a:ext cx="4543425" cy="2362356"/>
        </p:xfrm>
        <a:graphic>
          <a:graphicData uri="http://schemas.openxmlformats.org/drawingml/2006/table">
            <a:tbl>
              <a:tblPr bandRow="1"/>
              <a:tblGrid>
                <a:gridCol w="2106199">
                  <a:extLst>
                    <a:ext uri="{9D8B030D-6E8A-4147-A177-3AD203B41FA5}">
                      <a16:colId xmlns:a16="http://schemas.microsoft.com/office/drawing/2014/main" xmlns="" val="661572951"/>
                    </a:ext>
                  </a:extLst>
                </a:gridCol>
                <a:gridCol w="2437226">
                  <a:extLst>
                    <a:ext uri="{9D8B030D-6E8A-4147-A177-3AD203B41FA5}">
                      <a16:colId xmlns:a16="http://schemas.microsoft.com/office/drawing/2014/main" xmlns="" val="4232592772"/>
                    </a:ext>
                  </a:extLst>
                </a:gridCol>
              </a:tblGrid>
              <a:tr h="509196">
                <a:tc>
                  <a:txBody>
                    <a:bodyPr/>
                    <a:lstStyle/>
                    <a:p>
                      <a:pPr algn="ctr" rtl="0" fontAlgn="ctr"/>
                      <a:r>
                        <a:rPr lang="kk-K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МЛЕКЕТ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өлшек</a:t>
                      </a:r>
                      <a:r>
                        <a:rPr lang="ru-RU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ға</a:t>
                      </a:r>
                      <a:endParaRPr lang="ru-RU" sz="105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050" b="0" i="1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тріне</a:t>
                      </a:r>
                      <a:r>
                        <a:rPr lang="ru-RU" sz="105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0" i="1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ңге</a:t>
                      </a:r>
                      <a:r>
                        <a:rPr lang="ru-RU" sz="105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47427792"/>
                  </a:ext>
                </a:extLst>
              </a:tr>
              <a:tr h="30886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зақстан</a:t>
                      </a:r>
                      <a:endParaRPr lang="ru-RU" sz="12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-7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96761234"/>
                  </a:ext>
                </a:extLst>
              </a:tr>
              <a:tr h="30886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әжікстан</a:t>
                      </a:r>
                      <a:endParaRPr lang="ru-RU" sz="12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0</a:t>
                      </a:r>
                      <a:endParaRPr lang="ru-RU" sz="11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38467903"/>
                  </a:ext>
                </a:extLst>
              </a:tr>
              <a:tr h="30886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рғызстан</a:t>
                      </a:r>
                      <a:endParaRPr lang="ru-RU" sz="12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4</a:t>
                      </a:r>
                      <a:endParaRPr lang="ru-RU" sz="11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14526908"/>
                  </a:ext>
                </a:extLst>
              </a:tr>
              <a:tr h="30886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краин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8</a:t>
                      </a:r>
                      <a:endParaRPr lang="ru-RU" sz="11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84896557"/>
                  </a:ext>
                </a:extLst>
              </a:tr>
              <a:tr h="30886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ей</a:t>
                      </a:r>
                      <a:endParaRPr lang="ru-RU" sz="12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6</a:t>
                      </a:r>
                      <a:endParaRPr lang="ru-RU" sz="11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932244368"/>
                  </a:ext>
                </a:extLst>
              </a:tr>
              <a:tr h="30886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зірбайжан</a:t>
                      </a:r>
                      <a:endParaRPr lang="ru-RU" sz="12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8</a:t>
                      </a:r>
                      <a:endParaRPr lang="ru-RU" sz="11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74496632"/>
                  </a:ext>
                </a:extLst>
              </a:tr>
            </a:tbl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5694772" y="5944887"/>
            <a:ext cx="350198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1400" i="1" dirty="0">
                <a:cs typeface="Arial" panose="020B0604020202020204" pitchFamily="34" charset="0"/>
              </a:rPr>
              <a:t>* </a:t>
            </a:r>
            <a:r>
              <a:rPr lang="en-US" sz="1400" i="1" dirty="0" err="1">
                <a:cs typeface="Arial" panose="020B0604020202020204" pitchFamily="34" charset="0"/>
              </a:rPr>
              <a:t>GlobalPetrolPrices</a:t>
            </a:r>
            <a:r>
              <a:rPr lang="kk-KZ" sz="1400" i="1" dirty="0">
                <a:cs typeface="Arial" panose="020B0604020202020204" pitchFamily="34" charset="0"/>
              </a:rPr>
              <a:t> мәліметтері бойынша</a:t>
            </a:r>
            <a:endParaRPr lang="ru-RU" sz="1400" i="1" dirty="0"/>
          </a:p>
        </p:txBody>
      </p:sp>
      <p:cxnSp>
        <p:nvCxnSpPr>
          <p:cNvPr id="38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Группа 7"/>
          <p:cNvGrpSpPr/>
          <p:nvPr/>
        </p:nvGrpSpPr>
        <p:grpSpPr>
          <a:xfrm>
            <a:off x="5362837" y="783018"/>
            <a:ext cx="5562368" cy="2900308"/>
            <a:chOff x="4372682" y="-607804"/>
            <a:chExt cx="5562368" cy="3165843"/>
          </a:xfrm>
        </p:grpSpPr>
        <p:grpSp>
          <p:nvGrpSpPr>
            <p:cNvPr id="74" name="Группа 73"/>
            <p:cNvGrpSpPr/>
            <p:nvPr/>
          </p:nvGrpSpPr>
          <p:grpSpPr>
            <a:xfrm>
              <a:off x="4372682" y="-385544"/>
              <a:ext cx="5562368" cy="2943583"/>
              <a:chOff x="127955" y="-341945"/>
              <a:chExt cx="4688421" cy="2943583"/>
            </a:xfrm>
          </p:grpSpPr>
          <p:graphicFrame>
            <p:nvGraphicFramePr>
              <p:cNvPr id="75" name="Диаграмма 17">
                <a:extLst>
                  <a:ext uri="{FF2B5EF4-FFF2-40B4-BE49-F238E27FC236}">
                    <a16:creationId xmlns:a16="http://schemas.microsoft.com/office/drawing/2014/main" xmlns="" id="{D0887785-1003-9347-B331-C0396D95376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052021861"/>
                  </p:ext>
                </p:extLst>
              </p:nvPr>
            </p:nvGraphicFramePr>
            <p:xfrm>
              <a:off x="127955" y="-341945"/>
              <a:ext cx="4688421" cy="294358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76" name="TextBox 75"/>
              <p:cNvSpPr txBox="1"/>
              <p:nvPr/>
            </p:nvSpPr>
            <p:spPr>
              <a:xfrm>
                <a:off x="1083928" y="404068"/>
                <a:ext cx="895488" cy="7055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000" b="1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1,6</a:t>
                </a:r>
              </a:p>
              <a:p>
                <a:pPr algn="ctr"/>
                <a:r>
                  <a:rPr lang="ru-RU" sz="1600" b="1" dirty="0" err="1">
                    <a:solidFill>
                      <a:schemeClr val="tx2"/>
                    </a:solidFill>
                    <a:cs typeface="Arial" panose="020B0604020202020204" pitchFamily="34" charset="0"/>
                  </a:rPr>
                  <a:t>млн.тн</a:t>
                </a:r>
                <a:endParaRPr lang="ru-RU" sz="1600" b="1" baseline="30000" dirty="0">
                  <a:solidFill>
                    <a:schemeClr val="tx2"/>
                  </a:solidFill>
                  <a:cs typeface="Arial" panose="020B0604020202020204" pitchFamily="34" charset="0"/>
                </a:endParaRPr>
              </a:p>
            </p:txBody>
          </p:sp>
        </p:grpSp>
        <p:sp>
          <p:nvSpPr>
            <p:cNvPr id="77" name="TextBox 76"/>
            <p:cNvSpPr txBox="1"/>
            <p:nvPr/>
          </p:nvSpPr>
          <p:spPr>
            <a:xfrm>
              <a:off x="4619374" y="-607804"/>
              <a:ext cx="4800893" cy="369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k-KZ" sz="1600" b="1" dirty="0">
                  <a:cs typeface="Arial" panose="020B0604020202020204" pitchFamily="34" charset="0"/>
                </a:rPr>
                <a:t>ІШКІ ТҰТЫНУДЫҢ БОЛЖАМЫ, 2022ж.</a:t>
              </a:r>
              <a:endParaRPr lang="ru-RU" sz="1600" b="1" dirty="0">
                <a:cs typeface="Arial" panose="020B0604020202020204" pitchFamily="34" charset="0"/>
              </a:endParaRPr>
            </a:p>
          </p:txBody>
        </p:sp>
      </p:grpSp>
      <p:pic>
        <p:nvPicPr>
          <p:cNvPr id="35" name="Рисунок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0033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11324784" y="113073"/>
            <a:ext cx="891251" cy="365125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</a:t>
            </a:r>
          </a:p>
        </p:txBody>
      </p:sp>
    </p:spTree>
    <p:extLst>
      <p:ext uri="{BB962C8B-B14F-4D97-AF65-F5344CB8AC3E}">
        <p14:creationId xmlns:p14="http://schemas.microsoft.com/office/powerpoint/2010/main" val="2350199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7AC08D8-A2CF-4813-BCB9-ECFCFFCE433C}"/>
              </a:ext>
            </a:extLst>
          </p:cNvPr>
          <p:cNvSpPr txBox="1"/>
          <p:nvPr/>
        </p:nvSpPr>
        <p:spPr>
          <a:xfrm>
            <a:off x="-5026" y="89302"/>
            <a:ext cx="10602922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>
              <a:lnSpc>
                <a:spcPct val="90000"/>
              </a:lnSpc>
              <a:buSzPts val="2800"/>
            </a:pPr>
            <a:r>
              <a:rPr lang="ru-RU" sz="2200" b="1" dirty="0">
                <a:solidFill>
                  <a:srgbClr val="1A4164"/>
                </a:solidFill>
                <a:ea typeface="Barlow Condensed"/>
                <a:cs typeface="Arial" panose="020B0604020202020204" pitchFamily="34" charset="0"/>
              </a:rPr>
              <a:t>СҰЙЫТЫЛҒАН МҰНАЙ ГАЗЫ БОЙЫНША ҚЫСҚА ЖӘНЕ ҰЗАҚ МЕРЗІМДІ ШАРАЛАР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876164" y="1202472"/>
            <a:ext cx="836841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dirty="0">
                <a:solidFill>
                  <a:srgbClr val="002060"/>
                </a:solidFill>
              </a:rPr>
              <a:t>2022 ЖЫЛҒА АРНАЛҒАН ТМД БОЙЫНША ҚЫСҚА МЕРЗІМДІ ШАРАЛАР :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77AC08D8-A2CF-4813-BCB9-ECFCFFCE433C}"/>
              </a:ext>
            </a:extLst>
          </p:cNvPr>
          <p:cNvSpPr txBox="1"/>
          <p:nvPr/>
        </p:nvSpPr>
        <p:spPr>
          <a:xfrm>
            <a:off x="939332" y="3131830"/>
            <a:ext cx="80081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002060"/>
                </a:solidFill>
              </a:rPr>
              <a:t>2023 ЖЫЛДАН БАСТАП ТМД БОЙЫНША ҰЗАҚ МЕРЗІМДІ ШАРАЛАР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96770" y="3537693"/>
            <a:ext cx="11833305" cy="24191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dirty="0" err="1">
                <a:cs typeface="Arial" panose="020B0604020202020204" pitchFamily="34" charset="0"/>
              </a:rPr>
              <a:t>Бөлшек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бағаларды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мемлекет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реттейді</a:t>
            </a:r>
            <a:r>
              <a:rPr lang="ru-RU" dirty="0">
                <a:cs typeface="Arial" panose="020B0604020202020204" pitchFamily="34" charset="0"/>
              </a:rPr>
              <a:t> (Энергетика </a:t>
            </a:r>
            <a:r>
              <a:rPr lang="ru-RU" dirty="0" err="1">
                <a:cs typeface="Arial" panose="020B0604020202020204" pitchFamily="34" charset="0"/>
              </a:rPr>
              <a:t>министрлігі</a:t>
            </a:r>
            <a:r>
              <a:rPr lang="ru-RU" dirty="0">
                <a:cs typeface="Arial" panose="020B0604020202020204" pitchFamily="34" charset="0"/>
              </a:rPr>
              <a:t>)</a:t>
            </a:r>
          </a:p>
          <a:p>
            <a:pPr marL="342900" indent="-342900" algn="just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dirty="0" err="1">
                <a:cs typeface="Arial" panose="020B0604020202020204" pitchFamily="34" charset="0"/>
              </a:rPr>
              <a:t>Көтерме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баға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тауар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биржаларында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қалыптасады</a:t>
            </a:r>
            <a:endParaRPr lang="ru-RU" dirty="0">
              <a:cs typeface="Arial" panose="020B0604020202020204" pitchFamily="34" charset="0"/>
            </a:endParaRPr>
          </a:p>
          <a:p>
            <a:pPr marL="342900" indent="-342900" algn="just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dirty="0">
                <a:cs typeface="Arial" panose="020B0604020202020204" pitchFamily="34" charset="0"/>
              </a:rPr>
              <a:t>СМГ-</a:t>
            </a:r>
            <a:r>
              <a:rPr lang="ru-RU" dirty="0" err="1">
                <a:cs typeface="Arial" panose="020B0604020202020204" pitchFamily="34" charset="0"/>
              </a:rPr>
              <a:t>ның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Тауар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биржалары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арқылы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сатылатын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көлемінің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үлесі</a:t>
            </a:r>
            <a:r>
              <a:rPr lang="ru-RU" dirty="0">
                <a:cs typeface="Arial" panose="020B0604020202020204" pitchFamily="34" charset="0"/>
              </a:rPr>
              <a:t> 2023 </a:t>
            </a:r>
            <a:r>
              <a:rPr lang="ru-RU" dirty="0" err="1">
                <a:cs typeface="Arial" panose="020B0604020202020204" pitchFamily="34" charset="0"/>
              </a:rPr>
              <a:t>жылы</a:t>
            </a:r>
            <a:r>
              <a:rPr lang="ru-RU" dirty="0">
                <a:cs typeface="Arial" panose="020B0604020202020204" pitchFamily="34" charset="0"/>
              </a:rPr>
              <a:t> 20%-дан </a:t>
            </a:r>
            <a:r>
              <a:rPr lang="ru-RU" dirty="0" err="1">
                <a:cs typeface="Arial" panose="020B0604020202020204" pitchFamily="34" charset="0"/>
              </a:rPr>
              <a:t>басталып</a:t>
            </a:r>
            <a:r>
              <a:rPr lang="ru-RU" dirty="0">
                <a:cs typeface="Arial" panose="020B0604020202020204" pitchFamily="34" charset="0"/>
              </a:rPr>
              <a:t>, 2025 </a:t>
            </a:r>
            <a:r>
              <a:rPr lang="ru-RU" dirty="0" err="1">
                <a:cs typeface="Arial" panose="020B0604020202020204" pitchFamily="34" charset="0"/>
              </a:rPr>
              <a:t>жылға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қарай</a:t>
            </a:r>
            <a:r>
              <a:rPr lang="ru-RU" dirty="0">
                <a:cs typeface="Arial" panose="020B0604020202020204" pitchFamily="34" charset="0"/>
              </a:rPr>
              <a:t> 100%-</a:t>
            </a:r>
            <a:r>
              <a:rPr lang="ru-RU" dirty="0" err="1">
                <a:cs typeface="Arial" panose="020B0604020202020204" pitchFamily="34" charset="0"/>
              </a:rPr>
              <a:t>ға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жетеді</a:t>
            </a:r>
            <a:endParaRPr lang="ru-RU" dirty="0">
              <a:cs typeface="Arial" panose="020B0604020202020204" pitchFamily="34" charset="0"/>
            </a:endParaRPr>
          </a:p>
          <a:p>
            <a:pPr marL="342900" indent="-342900" algn="just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dirty="0" err="1">
                <a:cs typeface="Arial" panose="020B0604020202020204" pitchFamily="34" charset="0"/>
              </a:rPr>
              <a:t>Жеткізу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жоспары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шеңберінде</a:t>
            </a:r>
            <a:r>
              <a:rPr lang="ru-RU" dirty="0">
                <a:cs typeface="Arial" panose="020B0604020202020204" pitchFamily="34" charset="0"/>
              </a:rPr>
              <a:t> ТМД-</a:t>
            </a:r>
            <a:r>
              <a:rPr lang="ru-RU" dirty="0" err="1">
                <a:cs typeface="Arial" panose="020B0604020202020204" pitchFamily="34" charset="0"/>
              </a:rPr>
              <a:t>ның</a:t>
            </a:r>
            <a:r>
              <a:rPr lang="ru-RU" dirty="0">
                <a:cs typeface="Arial" panose="020B0604020202020204" pitchFamily="34" charset="0"/>
              </a:rPr>
              <a:t> осы </a:t>
            </a:r>
            <a:r>
              <a:rPr lang="ru-RU" dirty="0" err="1">
                <a:cs typeface="Arial" panose="020B0604020202020204" pitchFamily="34" charset="0"/>
              </a:rPr>
              <a:t>көлемдері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іске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асырылуы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тиіс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облыстан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тыс</a:t>
            </a:r>
            <a:r>
              <a:rPr lang="ru-RU" dirty="0">
                <a:cs typeface="Arial" panose="020B0604020202020204" pitchFamily="34" charset="0"/>
              </a:rPr>
              <a:t> СМГ-</a:t>
            </a:r>
            <a:r>
              <a:rPr lang="ru-RU" dirty="0" err="1">
                <a:cs typeface="Arial" panose="020B0604020202020204" pitchFamily="34" charset="0"/>
              </a:rPr>
              <a:t>ны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іске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асырғаны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үшін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әкімшілік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жазалар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енгізілетін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болады</a:t>
            </a:r>
            <a:endParaRPr lang="ru-RU" dirty="0">
              <a:cs typeface="Arial" panose="020B0604020202020204" pitchFamily="34" charset="0"/>
            </a:endParaRPr>
          </a:p>
          <a:p>
            <a:pPr marL="342900" indent="-342900" algn="just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dirty="0" err="1">
                <a:cs typeface="Arial" panose="020B0604020202020204" pitchFamily="34" charset="0"/>
              </a:rPr>
              <a:t>Нарықтың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барлық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субъектілері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үшін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өндіруші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зауыттан</a:t>
            </a:r>
            <a:r>
              <a:rPr lang="ru-RU" dirty="0">
                <a:cs typeface="Arial" panose="020B0604020202020204" pitchFamily="34" charset="0"/>
              </a:rPr>
              <a:t> СМГ-</a:t>
            </a:r>
            <a:r>
              <a:rPr lang="ru-RU" dirty="0" err="1">
                <a:cs typeface="Arial" panose="020B0604020202020204" pitchFamily="34" charset="0"/>
              </a:rPr>
              <a:t>ны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тікелей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сатып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алу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құқығын</a:t>
            </a:r>
            <a:r>
              <a:rPr lang="ru-RU" dirty="0">
                <a:cs typeface="Arial" panose="020B0604020202020204" pitchFamily="34" charset="0"/>
              </a:rPr>
              <a:t> беру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96770" y="1694272"/>
            <a:ext cx="11763582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5731" indent="-135731" algn="just">
              <a:lnSpc>
                <a:spcPct val="120000"/>
              </a:lnSpc>
              <a:buFont typeface="Arial" pitchFamily="34" charset="0"/>
              <a:buChar char="•"/>
            </a:pPr>
            <a:r>
              <a:rPr lang="ru-RU" dirty="0">
                <a:cs typeface="Arial" panose="020B0604020202020204" pitchFamily="34" charset="0"/>
              </a:rPr>
              <a:t>ҚР </a:t>
            </a:r>
            <a:r>
              <a:rPr lang="ru-RU" dirty="0" err="1">
                <a:cs typeface="Arial" panose="020B0604020202020204" pitchFamily="34" charset="0"/>
              </a:rPr>
              <a:t>Кәсіпкерлік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Кодексі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бағаны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жылына</a:t>
            </a:r>
            <a:r>
              <a:rPr lang="ru-RU" dirty="0">
                <a:cs typeface="Arial" panose="020B0604020202020204" pitchFamily="34" charset="0"/>
              </a:rPr>
              <a:t> 180 </a:t>
            </a:r>
            <a:r>
              <a:rPr lang="ru-RU" dirty="0" err="1">
                <a:cs typeface="Arial" panose="020B0604020202020204" pitchFamily="34" charset="0"/>
              </a:rPr>
              <a:t>күнге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ғана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мемлекеттік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реттеуге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мүмкіндік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береді</a:t>
            </a:r>
            <a:r>
              <a:rPr lang="ru-RU" dirty="0">
                <a:cs typeface="Arial" panose="020B0604020202020204" pitchFamily="34" charset="0"/>
              </a:rPr>
              <a:t>.</a:t>
            </a:r>
          </a:p>
          <a:p>
            <a:pPr marL="135731" indent="-135731" algn="just">
              <a:lnSpc>
                <a:spcPct val="120000"/>
              </a:lnSpc>
              <a:buFont typeface="Arial" pitchFamily="34" charset="0"/>
              <a:buChar char="•"/>
            </a:pPr>
            <a:r>
              <a:rPr lang="ru-RU" dirty="0" err="1">
                <a:cs typeface="Arial" panose="020B0604020202020204" pitchFamily="34" charset="0"/>
              </a:rPr>
              <a:t>Бөлшек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сауда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бағаларын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мемлекеттік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реттеу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smtClean="0">
                <a:cs typeface="Arial" panose="020B0604020202020204" pitchFamily="34" charset="0"/>
              </a:rPr>
              <a:t>2022 </a:t>
            </a:r>
            <a:r>
              <a:rPr lang="ru-RU" dirty="0" err="1" smtClean="0">
                <a:cs typeface="Arial" panose="020B0604020202020204" pitchFamily="34" charset="0"/>
              </a:rPr>
              <a:t>жыл</a:t>
            </a:r>
            <a:r>
              <a:rPr lang="kk-KZ" dirty="0" smtClean="0">
                <a:cs typeface="Arial" panose="020B0604020202020204" pitchFamily="34" charset="0"/>
              </a:rPr>
              <a:t>ғы 4 шілдеде</a:t>
            </a:r>
            <a:r>
              <a:rPr lang="ru-RU" dirty="0" smtClean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аяқталады</a:t>
            </a:r>
            <a:r>
              <a:rPr lang="ru-RU" dirty="0">
                <a:cs typeface="Arial" panose="020B0604020202020204" pitchFamily="34" charset="0"/>
              </a:rPr>
              <a:t>.</a:t>
            </a:r>
          </a:p>
          <a:p>
            <a:pPr marL="135731" indent="-135731" algn="just">
              <a:lnSpc>
                <a:spcPct val="120000"/>
              </a:lnSpc>
              <a:buFont typeface="Arial" pitchFamily="34" charset="0"/>
              <a:buChar char="•"/>
            </a:pPr>
            <a:r>
              <a:rPr lang="ru-RU" dirty="0">
                <a:cs typeface="Arial" panose="020B0604020202020204" pitchFamily="34" charset="0"/>
              </a:rPr>
              <a:t>Энергетика </a:t>
            </a:r>
            <a:r>
              <a:rPr lang="ru-RU" dirty="0" err="1">
                <a:cs typeface="Arial" panose="020B0604020202020204" pitchFamily="34" charset="0"/>
              </a:rPr>
              <a:t>министрлігі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Мемлекеттік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кірістер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комитетімен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бірлесіп</a:t>
            </a:r>
            <a:r>
              <a:rPr lang="ru-RU" dirty="0">
                <a:cs typeface="Arial" panose="020B0604020202020204" pitchFamily="34" charset="0"/>
              </a:rPr>
              <a:t> СМГ (ТІЖ </a:t>
            </a:r>
            <a:r>
              <a:rPr lang="ru-RU" dirty="0" err="1">
                <a:cs typeface="Arial" panose="020B0604020202020204" pitchFamily="34" charset="0"/>
              </a:rPr>
              <a:t>және</a:t>
            </a:r>
            <a:r>
              <a:rPr lang="ru-RU" dirty="0">
                <a:cs typeface="Arial" panose="020B0604020202020204" pitchFamily="34" charset="0"/>
              </a:rPr>
              <a:t> БКМ) </a:t>
            </a:r>
            <a:r>
              <a:rPr lang="ru-RU" dirty="0" err="1">
                <a:cs typeface="Arial" panose="020B0604020202020204" pitchFamily="34" charset="0"/>
              </a:rPr>
              <a:t>айналымын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бақылайтын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болады</a:t>
            </a:r>
            <a:r>
              <a:rPr lang="ru-RU" dirty="0">
                <a:cs typeface="Arial" panose="020B0604020202020204" pitchFamily="34" charset="0"/>
              </a:rPr>
              <a:t>.</a:t>
            </a:r>
          </a:p>
        </p:txBody>
      </p:sp>
      <p:cxnSp>
        <p:nvCxnSpPr>
          <p:cNvPr id="15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0033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11324784" y="104527"/>
            <a:ext cx="891251" cy="365125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</a:t>
            </a:r>
          </a:p>
        </p:txBody>
      </p:sp>
    </p:spTree>
    <p:extLst>
      <p:ext uri="{BB962C8B-B14F-4D97-AF65-F5344CB8AC3E}">
        <p14:creationId xmlns:p14="http://schemas.microsoft.com/office/powerpoint/2010/main" val="1248589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AutoShape 6" descr="больница, здание бесплатно значок - Icon-Icons.com"/>
          <p:cNvSpPr>
            <a:spLocks noChangeAspect="1" noChangeArrowheads="1"/>
          </p:cNvSpPr>
          <p:nvPr/>
        </p:nvSpPr>
        <p:spPr bwMode="auto">
          <a:xfrm>
            <a:off x="2897981" y="734566"/>
            <a:ext cx="2286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1350">
              <a:cs typeface="Arial" panose="020B0604020202020204" pitchFamily="34" charset="0"/>
            </a:endParaRPr>
          </a:p>
        </p:txBody>
      </p:sp>
      <p:pic>
        <p:nvPicPr>
          <p:cNvPr id="35" name="Picture 14" descr="C:\Users\koshen_g\Desktop\ТРЕНИНГ\img_140115_042628.jp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672" y="3055739"/>
            <a:ext cx="1961041" cy="1365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382614" y="5247251"/>
            <a:ext cx="3251358" cy="103632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cs typeface="Arial" pitchFamily="34" charset="0"/>
              </a:rPr>
              <a:t>Апта </a:t>
            </a:r>
            <a:r>
              <a:rPr lang="ru-RU" sz="1200" dirty="0" err="1">
                <a:solidFill>
                  <a:schemeClr val="tx1"/>
                </a:solidFill>
                <a:cs typeface="Arial" pitchFamily="34" charset="0"/>
              </a:rPr>
              <a:t>сайынғы</a:t>
            </a:r>
            <a:r>
              <a:rPr lang="ru-RU" sz="1200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cs typeface="Arial" pitchFamily="34" charset="0"/>
              </a:rPr>
              <a:t>негізде</a:t>
            </a:r>
            <a:r>
              <a:rPr lang="ru-RU" sz="1200" dirty="0">
                <a:solidFill>
                  <a:schemeClr val="tx1"/>
                </a:solidFill>
                <a:cs typeface="Arial" pitchFamily="34" charset="0"/>
              </a:rPr>
              <a:t> СМГ </a:t>
            </a:r>
            <a:r>
              <a:rPr lang="ru-RU" sz="1200" dirty="0" err="1">
                <a:solidFill>
                  <a:schemeClr val="tx1"/>
                </a:solidFill>
                <a:cs typeface="Arial" pitchFamily="34" charset="0"/>
              </a:rPr>
              <a:t>айналымын</a:t>
            </a:r>
            <a:r>
              <a:rPr lang="ru-RU" sz="1200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cs typeface="Arial" pitchFamily="34" charset="0"/>
              </a:rPr>
              <a:t>бақылауды</a:t>
            </a:r>
            <a:r>
              <a:rPr lang="ru-RU" sz="1200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cs typeface="Arial" pitchFamily="34" charset="0"/>
              </a:rPr>
              <a:t>жүзеге</a:t>
            </a:r>
            <a:r>
              <a:rPr lang="ru-RU" sz="1200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cs typeface="Arial" pitchFamily="34" charset="0"/>
              </a:rPr>
              <a:t>асыруға</a:t>
            </a:r>
            <a:r>
              <a:rPr lang="ru-RU" sz="1200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cs typeface="Arial" pitchFamily="34" charset="0"/>
              </a:rPr>
              <a:t>мүмкіндік</a:t>
            </a:r>
            <a:r>
              <a:rPr lang="ru-RU" sz="1200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cs typeface="Arial" pitchFamily="34" charset="0"/>
              </a:rPr>
              <a:t>береді</a:t>
            </a:r>
            <a:endParaRPr lang="ru-RU" sz="12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584822" y="5262491"/>
            <a:ext cx="2821050" cy="10287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err="1">
                <a:solidFill>
                  <a:schemeClr val="tx1"/>
                </a:solidFill>
                <a:cs typeface="Arial" pitchFamily="34" charset="0"/>
              </a:rPr>
              <a:t>Жеткізу</a:t>
            </a:r>
            <a:r>
              <a:rPr lang="ru-RU" sz="1200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cs typeface="Arial" pitchFamily="34" charset="0"/>
              </a:rPr>
              <a:t>жоспары</a:t>
            </a:r>
            <a:r>
              <a:rPr lang="ru-RU" sz="1200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cs typeface="Arial" pitchFamily="34" charset="0"/>
              </a:rPr>
              <a:t>шеңберінде</a:t>
            </a:r>
            <a:r>
              <a:rPr lang="ru-RU" sz="1200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cs typeface="Arial" pitchFamily="34" charset="0"/>
              </a:rPr>
              <a:t>бөлу</a:t>
            </a:r>
            <a:r>
              <a:rPr lang="ru-RU" sz="1200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cs typeface="Arial" pitchFamily="34" charset="0"/>
              </a:rPr>
              <a:t>салалары</a:t>
            </a:r>
            <a:r>
              <a:rPr lang="ru-RU" sz="1200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cs typeface="Arial" pitchFamily="34" charset="0"/>
              </a:rPr>
              <a:t>бөлінісінде</a:t>
            </a:r>
            <a:r>
              <a:rPr lang="ru-RU" sz="1200" dirty="0">
                <a:solidFill>
                  <a:schemeClr val="tx1"/>
                </a:solidFill>
                <a:cs typeface="Arial" pitchFamily="34" charset="0"/>
              </a:rPr>
              <a:t> СМГ-</a:t>
            </a:r>
            <a:r>
              <a:rPr lang="ru-RU" sz="1200" dirty="0" err="1">
                <a:solidFill>
                  <a:schemeClr val="tx1"/>
                </a:solidFill>
                <a:cs typeface="Arial" pitchFamily="34" charset="0"/>
              </a:rPr>
              <a:t>ны</a:t>
            </a:r>
            <a:r>
              <a:rPr lang="ru-RU" sz="1200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cs typeface="Arial" pitchFamily="34" charset="0"/>
              </a:rPr>
              <a:t>өткізу</a:t>
            </a:r>
            <a:r>
              <a:rPr lang="ru-RU" sz="1200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cs typeface="Arial" pitchFamily="34" charset="0"/>
              </a:rPr>
              <a:t>көлемі</a:t>
            </a:r>
            <a:r>
              <a:rPr lang="ru-RU" sz="1200" dirty="0">
                <a:solidFill>
                  <a:schemeClr val="tx1"/>
                </a:solidFill>
                <a:cs typeface="Arial" pitchFamily="34" charset="0"/>
              </a:rPr>
              <a:t> мен </a:t>
            </a:r>
            <a:r>
              <a:rPr lang="ru-RU" sz="1200" dirty="0" err="1">
                <a:solidFill>
                  <a:schemeClr val="tx1"/>
                </a:solidFill>
                <a:cs typeface="Arial" pitchFamily="34" charset="0"/>
              </a:rPr>
              <a:t>бағаларын</a:t>
            </a:r>
            <a:r>
              <a:rPr lang="ru-RU" sz="1200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cs typeface="Arial" pitchFamily="34" charset="0"/>
              </a:rPr>
              <a:t>мониторингілеуге</a:t>
            </a:r>
            <a:r>
              <a:rPr lang="ru-RU" sz="1200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cs typeface="Arial" pitchFamily="34" charset="0"/>
              </a:rPr>
              <a:t>мүмкіндік</a:t>
            </a:r>
            <a:r>
              <a:rPr lang="ru-RU" sz="1200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cs typeface="Arial" pitchFamily="34" charset="0"/>
              </a:rPr>
              <a:t>береді</a:t>
            </a:r>
            <a:endParaRPr lang="ru-RU" sz="1200" dirty="0">
              <a:solidFill>
                <a:schemeClr val="tx1"/>
              </a:solidFill>
              <a:cs typeface="Arial" pitchFamily="34" charset="0"/>
            </a:endParaRPr>
          </a:p>
        </p:txBody>
      </p:sp>
      <p:pic>
        <p:nvPicPr>
          <p:cNvPr id="16" name="Рисунок 1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7952" y="3029831"/>
            <a:ext cx="1445420" cy="1445877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Рисунок 17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8637" y="3334631"/>
            <a:ext cx="1857375" cy="1120140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Стрелка вниз 25"/>
          <p:cNvSpPr/>
          <p:nvPr/>
        </p:nvSpPr>
        <p:spPr>
          <a:xfrm>
            <a:off x="3514073" y="4340661"/>
            <a:ext cx="170959" cy="85324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трелка вниз 27"/>
          <p:cNvSpPr/>
          <p:nvPr/>
        </p:nvSpPr>
        <p:spPr>
          <a:xfrm rot="16200000">
            <a:off x="3511799" y="3439320"/>
            <a:ext cx="205532" cy="111629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Стрелка вниз 30"/>
          <p:cNvSpPr/>
          <p:nvPr/>
        </p:nvSpPr>
        <p:spPr>
          <a:xfrm>
            <a:off x="8887799" y="4348281"/>
            <a:ext cx="192193" cy="85324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Стрелка вниз 35"/>
          <p:cNvSpPr/>
          <p:nvPr/>
        </p:nvSpPr>
        <p:spPr>
          <a:xfrm>
            <a:off x="6194392" y="4333041"/>
            <a:ext cx="195740" cy="85324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 15"/>
          <p:cNvSpPr>
            <a:spLocks noChangeArrowheads="1"/>
          </p:cNvSpPr>
          <p:nvPr/>
        </p:nvSpPr>
        <p:spPr bwMode="auto">
          <a:xfrm>
            <a:off x="1017963" y="4456259"/>
            <a:ext cx="1406980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14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ЗАУЫТ</a:t>
            </a:r>
          </a:p>
        </p:txBody>
      </p:sp>
      <p:sp>
        <p:nvSpPr>
          <p:cNvPr id="39" name="Прямоугольник 15"/>
          <p:cNvSpPr>
            <a:spLocks noChangeArrowheads="1"/>
          </p:cNvSpPr>
          <p:nvPr/>
        </p:nvSpPr>
        <p:spPr bwMode="auto">
          <a:xfrm>
            <a:off x="6974352" y="4447151"/>
            <a:ext cx="1406980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14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АГТС</a:t>
            </a:r>
          </a:p>
        </p:txBody>
      </p:sp>
      <p:sp>
        <p:nvSpPr>
          <p:cNvPr id="40" name="Прямоугольник 15"/>
          <p:cNvSpPr>
            <a:spLocks noChangeArrowheads="1"/>
          </p:cNvSpPr>
          <p:nvPr/>
        </p:nvSpPr>
        <p:spPr bwMode="auto">
          <a:xfrm>
            <a:off x="3222063" y="3502111"/>
            <a:ext cx="599260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1400" b="1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снт</a:t>
            </a:r>
            <a:endParaRPr lang="ru-RU" altLang="ru-RU" sz="14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41" name="Прямоугольник 15"/>
          <p:cNvSpPr>
            <a:spLocks noChangeArrowheads="1"/>
          </p:cNvSpPr>
          <p:nvPr/>
        </p:nvSpPr>
        <p:spPr bwMode="auto">
          <a:xfrm>
            <a:off x="4236392" y="4471499"/>
            <a:ext cx="1406980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14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ГТС/ГТП</a:t>
            </a:r>
          </a:p>
        </p:txBody>
      </p:sp>
      <p:sp>
        <p:nvSpPr>
          <p:cNvPr id="42" name="Прямоугольник 15"/>
          <p:cNvSpPr>
            <a:spLocks noChangeArrowheads="1"/>
          </p:cNvSpPr>
          <p:nvPr/>
        </p:nvSpPr>
        <p:spPr bwMode="auto">
          <a:xfrm>
            <a:off x="9972928" y="4422802"/>
            <a:ext cx="1406980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/>
            <a:r>
              <a:rPr lang="kk-KZ" altLang="ru-RU" sz="14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ТҰТЫНУШЫ</a:t>
            </a:r>
            <a:endParaRPr lang="ru-RU" altLang="ru-RU" sz="14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43" name="Прямоугольник 15"/>
          <p:cNvSpPr>
            <a:spLocks noChangeArrowheads="1"/>
          </p:cNvSpPr>
          <p:nvPr/>
        </p:nvSpPr>
        <p:spPr bwMode="auto">
          <a:xfrm>
            <a:off x="5919442" y="3498334"/>
            <a:ext cx="656580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1400" b="1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снт</a:t>
            </a:r>
            <a:endParaRPr lang="ru-RU" altLang="ru-RU" sz="14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44" name="Прямоугольник 15"/>
          <p:cNvSpPr>
            <a:spLocks noChangeArrowheads="1"/>
          </p:cNvSpPr>
          <p:nvPr/>
        </p:nvSpPr>
        <p:spPr bwMode="auto">
          <a:xfrm>
            <a:off x="8535585" y="3521195"/>
            <a:ext cx="780628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1400" b="1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ккм</a:t>
            </a:r>
            <a:endParaRPr lang="ru-RU" altLang="ru-RU" sz="14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45" name="Стрелка вниз 44"/>
          <p:cNvSpPr/>
          <p:nvPr/>
        </p:nvSpPr>
        <p:spPr>
          <a:xfrm rot="16200000">
            <a:off x="6207847" y="3466093"/>
            <a:ext cx="205532" cy="111629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трелка вниз 45"/>
          <p:cNvSpPr/>
          <p:nvPr/>
        </p:nvSpPr>
        <p:spPr>
          <a:xfrm rot="16200000">
            <a:off x="8874847" y="3496468"/>
            <a:ext cx="205532" cy="111629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77AC08D8-A2CF-4813-BCB9-ECFCFFCE433C}"/>
              </a:ext>
            </a:extLst>
          </p:cNvPr>
          <p:cNvSpPr txBox="1"/>
          <p:nvPr/>
        </p:nvSpPr>
        <p:spPr>
          <a:xfrm>
            <a:off x="138896" y="43150"/>
            <a:ext cx="102260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1A4164"/>
                </a:solidFill>
                <a:ea typeface="Barlow Condensed"/>
                <a:cs typeface="Arial" panose="020B0604020202020204" pitchFamily="34" charset="0"/>
              </a:rPr>
              <a:t>СҰЙЫТЫЛҒАН МҰНАЙ ГАЗЫНЫҢ АЙНАЛЫМЫН БАҚЫЛАУ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38896" y="772737"/>
            <a:ext cx="11914207" cy="22529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5731" indent="-135731" algn="just">
              <a:lnSpc>
                <a:spcPct val="130000"/>
              </a:lnSpc>
              <a:buFont typeface="Arial" pitchFamily="34" charset="0"/>
              <a:buChar char="•"/>
            </a:pPr>
            <a:r>
              <a:rPr lang="kk-KZ" dirty="0" smtClean="0">
                <a:cs typeface="Arial" panose="020B0604020202020204" pitchFamily="34" charset="0"/>
              </a:rPr>
              <a:t>СМГ</a:t>
            </a:r>
            <a:r>
              <a:rPr lang="ru-RU" dirty="0" smtClean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бағасының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күрт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өсу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себептерінің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бірі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оның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ішкі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нарықтағы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тапшылығы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болып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табылады</a:t>
            </a:r>
            <a:endParaRPr lang="ru-RU" dirty="0">
              <a:cs typeface="Arial" panose="020B0604020202020204" pitchFamily="34" charset="0"/>
            </a:endParaRPr>
          </a:p>
          <a:p>
            <a:pPr marL="135731" indent="-135731" algn="just">
              <a:lnSpc>
                <a:spcPct val="130000"/>
              </a:lnSpc>
              <a:buFont typeface="Arial" pitchFamily="34" charset="0"/>
              <a:buChar char="•"/>
            </a:pPr>
            <a:r>
              <a:rPr lang="ru-RU" dirty="0" err="1">
                <a:cs typeface="Arial" panose="020B0604020202020204" pitchFamily="34" charset="0"/>
              </a:rPr>
              <a:t>Ішкі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нарықтағы</a:t>
            </a:r>
            <a:r>
              <a:rPr lang="ru-RU" dirty="0">
                <a:cs typeface="Arial" panose="020B0604020202020204" pitchFamily="34" charset="0"/>
              </a:rPr>
              <a:t> СМГ-</a:t>
            </a:r>
            <a:r>
              <a:rPr lang="ru-RU" dirty="0" err="1">
                <a:cs typeface="Arial" panose="020B0604020202020204" pitchFamily="34" charset="0"/>
              </a:rPr>
              <a:t>ның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төмен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бағасы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оның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көлеңкелі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экспортына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әкеледі</a:t>
            </a:r>
            <a:endParaRPr lang="ru-RU" dirty="0">
              <a:cs typeface="Arial" panose="020B0604020202020204" pitchFamily="34" charset="0"/>
            </a:endParaRPr>
          </a:p>
          <a:p>
            <a:pPr marL="135731" indent="-135731" algn="just">
              <a:lnSpc>
                <a:spcPct val="130000"/>
              </a:lnSpc>
              <a:buFont typeface="Arial" pitchFamily="34" charset="0"/>
              <a:buChar char="•"/>
            </a:pPr>
            <a:r>
              <a:rPr lang="ru-RU" dirty="0">
                <a:cs typeface="Arial" panose="020B0604020202020204" pitchFamily="34" charset="0"/>
              </a:rPr>
              <a:t>Шот-</a:t>
            </a:r>
            <a:r>
              <a:rPr lang="ru-RU" dirty="0" err="1">
                <a:cs typeface="Arial" panose="020B0604020202020204" pitchFamily="34" charset="0"/>
              </a:rPr>
              <a:t>фактуралар</a:t>
            </a:r>
            <a:r>
              <a:rPr lang="ru-RU" dirty="0">
                <a:cs typeface="Arial" panose="020B0604020202020204" pitchFamily="34" charset="0"/>
              </a:rPr>
              <a:t> СМГ </a:t>
            </a:r>
            <a:r>
              <a:rPr lang="ru-RU" dirty="0" err="1">
                <a:cs typeface="Arial" panose="020B0604020202020204" pitchFamily="34" charset="0"/>
              </a:rPr>
              <a:t>айналымын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жедел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бақылауға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мүмкіндік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бермейді</a:t>
            </a:r>
            <a:endParaRPr lang="ru-RU" dirty="0">
              <a:cs typeface="Arial" panose="020B0604020202020204" pitchFamily="34" charset="0"/>
            </a:endParaRPr>
          </a:p>
          <a:p>
            <a:pPr marL="135731" indent="-135731" algn="just">
              <a:lnSpc>
                <a:spcPct val="130000"/>
              </a:lnSpc>
              <a:buFont typeface="Arial" pitchFamily="34" charset="0"/>
              <a:buChar char="•"/>
            </a:pPr>
            <a:r>
              <a:rPr lang="ru-RU" dirty="0" err="1">
                <a:cs typeface="Arial" panose="020B0604020202020204" pitchFamily="34" charset="0"/>
              </a:rPr>
              <a:t>Қазіргі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уақытта</a:t>
            </a:r>
            <a:r>
              <a:rPr lang="ru-RU" dirty="0">
                <a:cs typeface="Arial" panose="020B0604020202020204" pitchFamily="34" charset="0"/>
              </a:rPr>
              <a:t> СМГ-</a:t>
            </a:r>
            <a:r>
              <a:rPr lang="ru-RU" dirty="0" err="1">
                <a:cs typeface="Arial" panose="020B0604020202020204" pitchFamily="34" charset="0"/>
              </a:rPr>
              <a:t>ны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көлікке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ілеспе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жүкқұжаттарды</a:t>
            </a:r>
            <a:r>
              <a:rPr lang="ru-RU" dirty="0">
                <a:cs typeface="Arial" panose="020B0604020202020204" pitchFamily="34" charset="0"/>
              </a:rPr>
              <a:t> (ТІЖ) </a:t>
            </a:r>
            <a:r>
              <a:rPr lang="ru-RU" dirty="0" err="1">
                <a:cs typeface="Arial" panose="020B0604020202020204" pitchFamily="34" charset="0"/>
              </a:rPr>
              <a:t>ресімдеуге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міндетті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тауарлар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тізбесіне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енгізу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бойынша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жұмыстар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жүргізілуде</a:t>
            </a:r>
            <a:endParaRPr lang="ru-RU" dirty="0">
              <a:cs typeface="Arial" panose="020B0604020202020204" pitchFamily="34" charset="0"/>
            </a:endParaRPr>
          </a:p>
          <a:p>
            <a:pPr marL="135731" indent="-135731" algn="just">
              <a:lnSpc>
                <a:spcPct val="130000"/>
              </a:lnSpc>
              <a:buFont typeface="Arial" pitchFamily="34" charset="0"/>
              <a:buChar char="•"/>
            </a:pPr>
            <a:r>
              <a:rPr lang="ru-RU" dirty="0">
                <a:cs typeface="Arial" panose="020B0604020202020204" pitchFamily="34" charset="0"/>
              </a:rPr>
              <a:t>АГҚС-да </a:t>
            </a:r>
            <a:r>
              <a:rPr lang="ru-RU" dirty="0" err="1">
                <a:cs typeface="Arial" panose="020B0604020202020204" pitchFamily="34" charset="0"/>
              </a:rPr>
              <a:t>бақылау</a:t>
            </a:r>
            <a:r>
              <a:rPr lang="ru-RU" dirty="0">
                <a:cs typeface="Arial" panose="020B0604020202020204" pitchFamily="34" charset="0"/>
              </a:rPr>
              <a:t>-касса </a:t>
            </a:r>
            <a:r>
              <a:rPr lang="ru-RU" dirty="0" err="1">
                <a:cs typeface="Arial" panose="020B0604020202020204" pitchFamily="34" charset="0"/>
              </a:rPr>
              <a:t>машиналарының</a:t>
            </a:r>
            <a:r>
              <a:rPr lang="ru-RU" dirty="0">
                <a:cs typeface="Arial" panose="020B0604020202020204" pitchFamily="34" charset="0"/>
              </a:rPr>
              <a:t> (БКМ) </a:t>
            </a:r>
            <a:r>
              <a:rPr lang="ru-RU" dirty="0" err="1">
                <a:cs typeface="Arial" panose="020B0604020202020204" pitchFamily="34" charset="0"/>
              </a:rPr>
              <a:t>болуына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қойылатын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талаптарды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күшейту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бойынша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жұмыс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ru-RU" dirty="0" err="1">
                <a:cs typeface="Arial" panose="020B0604020202020204" pitchFamily="34" charset="0"/>
              </a:rPr>
              <a:t>жүргізілуде</a:t>
            </a:r>
            <a:endParaRPr lang="en-US" dirty="0">
              <a:cs typeface="Arial" panose="020B0604020202020204" pitchFamily="34" charset="0"/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2863" y="3380820"/>
            <a:ext cx="1009650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5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Рисунок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0033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Номер слайда 3"/>
          <p:cNvSpPr txBox="1">
            <a:spLocks/>
          </p:cNvSpPr>
          <p:nvPr/>
        </p:nvSpPr>
        <p:spPr>
          <a:xfrm>
            <a:off x="11324784" y="113073"/>
            <a:ext cx="8912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</a:t>
            </a: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8305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extBox 33"/>
          <p:cNvSpPr txBox="1"/>
          <p:nvPr/>
        </p:nvSpPr>
        <p:spPr>
          <a:xfrm>
            <a:off x="204964" y="165977"/>
            <a:ext cx="8838970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2000" b="1">
                <a:solidFill>
                  <a:srgbClr val="002060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</a:lstStyle>
          <a:p>
            <a:r>
              <a:rPr lang="ru-RU" dirty="0">
                <a:latin typeface="Arial Narrow" panose="020B0606020202030204" pitchFamily="34" charset="0"/>
              </a:rPr>
              <a:t>МҰНАЙ-ГАЗ ХИМИЯСЫ ӨНДІРІСІ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xmlns="" id="{64A9CD3F-C220-46E6-B90E-6627E6FB1B72}"/>
              </a:ext>
            </a:extLst>
          </p:cNvPr>
          <p:cNvSpPr txBox="1">
            <a:spLocks/>
          </p:cNvSpPr>
          <p:nvPr/>
        </p:nvSpPr>
        <p:spPr bwMode="auto">
          <a:xfrm>
            <a:off x="1195238" y="921975"/>
            <a:ext cx="1896560" cy="50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62" tIns="45730" rIns="91462" bIns="45730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20000"/>
              </a:spcBef>
            </a:pPr>
            <a:r>
              <a:rPr lang="ru-RU" altLang="ru-RU" sz="3600" b="1" dirty="0" smtClean="0">
                <a:solidFill>
                  <a:srgbClr val="00B0F0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190</a:t>
            </a:r>
            <a:r>
              <a:rPr lang="ru-RU" altLang="ru-RU" sz="4000" b="1" dirty="0" smtClean="0">
                <a:solidFill>
                  <a:srgbClr val="00B0F0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1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мы</a:t>
            </a:r>
            <a:r>
              <a:rPr lang="kk-KZ" altLang="ru-RU" sz="11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ң</a:t>
            </a:r>
            <a:r>
              <a:rPr lang="ru-RU" altLang="ru-RU" sz="11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 тонна</a:t>
            </a:r>
            <a:endParaRPr lang="en-US" altLang="ru-RU" sz="1100" b="1" dirty="0">
              <a:solidFill>
                <a:srgbClr val="00B0F0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xmlns="" id="{5E07F703-4781-4118-937A-3371E5357C47}"/>
              </a:ext>
            </a:extLst>
          </p:cNvPr>
          <p:cNvSpPr txBox="1">
            <a:spLocks/>
          </p:cNvSpPr>
          <p:nvPr/>
        </p:nvSpPr>
        <p:spPr bwMode="auto">
          <a:xfrm>
            <a:off x="1047775" y="1469160"/>
            <a:ext cx="2105025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62" tIns="45730" rIns="91462" bIns="45730"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0" hangingPunct="0">
              <a:spcBef>
                <a:spcPts val="0"/>
              </a:spcBef>
              <a:defRPr/>
            </a:pPr>
            <a:r>
              <a:rPr lang="ru-RU" sz="1200" b="1" dirty="0" err="1">
                <a:solidFill>
                  <a:prstClr val="black"/>
                </a:solidFill>
                <a:latin typeface="Arial Narrow" panose="020B0606020202030204" pitchFamily="34" charset="0"/>
              </a:rPr>
              <a:t>мұнай</a:t>
            </a:r>
            <a:r>
              <a:rPr lang="ru-RU" sz="1200" b="1" dirty="0">
                <a:solidFill>
                  <a:prstClr val="black"/>
                </a:solidFill>
                <a:latin typeface="Arial Narrow" panose="020B0606020202030204" pitchFamily="34" charset="0"/>
              </a:rPr>
              <a:t>-химия </a:t>
            </a:r>
            <a:r>
              <a:rPr lang="ru-RU" sz="1200" b="1" dirty="0" err="1">
                <a:solidFill>
                  <a:prstClr val="black"/>
                </a:solidFill>
                <a:latin typeface="Arial Narrow" panose="020B0606020202030204" pitchFamily="34" charset="0"/>
              </a:rPr>
              <a:t>өнімдерін</a:t>
            </a:r>
            <a:r>
              <a:rPr lang="ru-RU" sz="1200" b="1" dirty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  <a:r>
              <a:rPr lang="ru-RU" sz="1200" b="1" dirty="0" err="1">
                <a:solidFill>
                  <a:prstClr val="black"/>
                </a:solidFill>
                <a:latin typeface="Arial Narrow" panose="020B0606020202030204" pitchFamily="34" charset="0"/>
              </a:rPr>
              <a:t>өндіру</a:t>
            </a:r>
            <a:endParaRPr lang="en-US" sz="900" i="1" dirty="0">
              <a:solidFill>
                <a:prstClr val="black"/>
              </a:solidFill>
              <a:latin typeface="Arial Narrow" panose="020B0606020202030204" pitchFamily="34" charset="0"/>
              <a:ea typeface="MS PGothic" pitchFamily="34" charset="-128"/>
            </a:endParaRPr>
          </a:p>
        </p:txBody>
      </p:sp>
      <p:sp>
        <p:nvSpPr>
          <p:cNvPr id="24" name="Шеврон 4"/>
          <p:cNvSpPr/>
          <p:nvPr/>
        </p:nvSpPr>
        <p:spPr>
          <a:xfrm>
            <a:off x="3242351" y="1196986"/>
            <a:ext cx="319753" cy="588732"/>
          </a:xfrm>
          <a:prstGeom prst="chevr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25" name="Шеврон 4"/>
          <p:cNvSpPr/>
          <p:nvPr/>
        </p:nvSpPr>
        <p:spPr>
          <a:xfrm>
            <a:off x="3437676" y="1156211"/>
            <a:ext cx="360040" cy="665208"/>
          </a:xfrm>
          <a:prstGeom prst="chevron">
            <a:avLst/>
          </a:prstGeom>
          <a:solidFill>
            <a:srgbClr val="538A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pic>
        <p:nvPicPr>
          <p:cNvPr id="28" name="Picture 2" descr="C:\Users\A.Khamitzhan\Downloads\free-icon-factory-plant-2411929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872" y="1112659"/>
            <a:ext cx="808063" cy="655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A4D69BC8-0C62-444E-84BE-782EFB8C1E47}"/>
              </a:ext>
            </a:extLst>
          </p:cNvPr>
          <p:cNvSpPr txBox="1"/>
          <p:nvPr/>
        </p:nvSpPr>
        <p:spPr>
          <a:xfrm>
            <a:off x="3427717" y="1003952"/>
            <a:ext cx="2393465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k-KZ" sz="2800" b="1" dirty="0" smtClean="0">
                <a:solidFill>
                  <a:srgbClr val="00B050"/>
                </a:solidFill>
                <a:latin typeface="Arial Narrow" panose="020B0606020202030204" pitchFamily="34" charset="0"/>
              </a:rPr>
              <a:t>53%</a:t>
            </a:r>
            <a:endParaRPr lang="kk-KZ" sz="28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  <a:p>
            <a:pPr algn="ctr" eaLnBrk="0">
              <a:defRPr/>
            </a:pPr>
            <a:r>
              <a:rPr lang="kk-KZ" sz="1200" b="1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rPr>
              <a:t>2021 жылғы </a:t>
            </a:r>
            <a:endParaRPr lang="kk-KZ" sz="1200" b="1" dirty="0" smtClean="0">
              <a:solidFill>
                <a:prstClr val="black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algn="ctr" eaLnBrk="0">
              <a:defRPr/>
            </a:pPr>
            <a:r>
              <a:rPr lang="kk-KZ" sz="12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rPr>
              <a:t>НКИ</a:t>
            </a:r>
            <a:endParaRPr lang="ru-RU" sz="1200" b="1" dirty="0">
              <a:solidFill>
                <a:prstClr val="black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5350640" y="1099060"/>
            <a:ext cx="0" cy="5495467"/>
          </a:xfrm>
          <a:prstGeom prst="line">
            <a:avLst/>
          </a:prstGeom>
          <a:noFill/>
          <a:ln w="15875" cap="flat">
            <a:solidFill>
              <a:schemeClr val="accent1"/>
            </a:solidFill>
            <a:prstDash val="dash"/>
            <a:round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Прямоугольник 1"/>
          <p:cNvSpPr/>
          <p:nvPr/>
        </p:nvSpPr>
        <p:spPr>
          <a:xfrm>
            <a:off x="406650" y="2141160"/>
            <a:ext cx="108555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Метил-трет-</a:t>
            </a:r>
          </a:p>
          <a:p>
            <a:pPr lvl="0" algn="ctr"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бутил </a:t>
            </a:r>
            <a:r>
              <a:rPr lang="ru-RU" sz="1400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эфирі</a:t>
            </a:r>
            <a:endParaRPr lang="ru-RU" sz="1400" b="1" dirty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47257" y="3017370"/>
            <a:ext cx="127150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1">
              <a:defRPr/>
            </a:pPr>
            <a:r>
              <a:rPr lang="ru-RU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Полипропилен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6637" y="5185804"/>
            <a:ext cx="7168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1">
              <a:defRPr/>
            </a:pPr>
            <a:r>
              <a:rPr lang="ru-RU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Бензол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21979" y="4389672"/>
            <a:ext cx="106471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1">
              <a:defRPr/>
            </a:pPr>
            <a:r>
              <a:rPr lang="ru-RU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Параксилол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48497" y="3592603"/>
            <a:ext cx="132119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400" b="1" dirty="0" err="1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Майлау</a:t>
            </a:r>
            <a:endParaRPr lang="ru-RU" sz="1400" b="1" dirty="0" smtClean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материалдары</a:t>
            </a:r>
            <a:endParaRPr lang="ru-RU" sz="1400" b="1" dirty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A4D69BC8-0C62-444E-84BE-782EFB8C1E47}"/>
              </a:ext>
            </a:extLst>
          </p:cNvPr>
          <p:cNvSpPr txBox="1"/>
          <p:nvPr/>
        </p:nvSpPr>
        <p:spPr>
          <a:xfrm>
            <a:off x="2133706" y="1808325"/>
            <a:ext cx="89221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k-KZ" sz="2800" b="1" dirty="0" smtClean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8,1</a:t>
            </a:r>
            <a:r>
              <a:rPr lang="kk-KZ" sz="54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endParaRPr lang="ru-RU" sz="3600" dirty="0">
              <a:solidFill>
                <a:srgbClr val="00B0F0"/>
              </a:solidFill>
              <a:latin typeface="Arial Narrow" panose="020B060602020203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A4D69BC8-0C62-444E-84BE-782EFB8C1E47}"/>
              </a:ext>
            </a:extLst>
          </p:cNvPr>
          <p:cNvSpPr txBox="1"/>
          <p:nvPr/>
        </p:nvSpPr>
        <p:spPr>
          <a:xfrm>
            <a:off x="2937551" y="2192319"/>
            <a:ext cx="239346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k-KZ" sz="2800" b="1" dirty="0" smtClean="0">
                <a:solidFill>
                  <a:srgbClr val="00B050"/>
                </a:solidFill>
                <a:latin typeface="Arial Narrow" panose="020B0606020202030204" pitchFamily="34" charset="0"/>
              </a:rPr>
              <a:t>154 %</a:t>
            </a:r>
            <a:endParaRPr lang="ru-RU" sz="28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38" name="Группа 99">
            <a:extLst>
              <a:ext uri="{FF2B5EF4-FFF2-40B4-BE49-F238E27FC236}">
                <a16:creationId xmlns:a16="http://schemas.microsoft.com/office/drawing/2014/main" xmlns="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1796998" y="2269383"/>
            <a:ext cx="244346" cy="276179"/>
            <a:chOff x="5048874" y="1509126"/>
            <a:chExt cx="459230" cy="630576"/>
          </a:xfrm>
        </p:grpSpPr>
        <p:sp>
          <p:nvSpPr>
            <p:cNvPr id="39" name="Chevron2">
              <a:extLst>
                <a:ext uri="{FF2B5EF4-FFF2-40B4-BE49-F238E27FC236}">
                  <a16:creationId xmlns:a16="http://schemas.microsoft.com/office/drawing/2014/main" xmlns="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40" name="Chevron2">
              <a:extLst>
                <a:ext uri="{FF2B5EF4-FFF2-40B4-BE49-F238E27FC236}">
                  <a16:creationId xmlns:a16="http://schemas.microsoft.com/office/drawing/2014/main" xmlns="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grpSp>
        <p:nvGrpSpPr>
          <p:cNvPr id="41" name="Группа 99">
            <a:extLst>
              <a:ext uri="{FF2B5EF4-FFF2-40B4-BE49-F238E27FC236}">
                <a16:creationId xmlns:a16="http://schemas.microsoft.com/office/drawing/2014/main" xmlns="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3241338" y="2303324"/>
            <a:ext cx="244346" cy="276179"/>
            <a:chOff x="5048874" y="1509126"/>
            <a:chExt cx="459230" cy="630576"/>
          </a:xfrm>
        </p:grpSpPr>
        <p:sp>
          <p:nvSpPr>
            <p:cNvPr id="42" name="Chevron2">
              <a:extLst>
                <a:ext uri="{FF2B5EF4-FFF2-40B4-BE49-F238E27FC236}">
                  <a16:creationId xmlns:a16="http://schemas.microsoft.com/office/drawing/2014/main" xmlns="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43" name="Chevron2">
              <a:extLst>
                <a:ext uri="{FF2B5EF4-FFF2-40B4-BE49-F238E27FC236}">
                  <a16:creationId xmlns:a16="http://schemas.microsoft.com/office/drawing/2014/main" xmlns="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A4D69BC8-0C62-444E-84BE-782EFB8C1E47}"/>
              </a:ext>
            </a:extLst>
          </p:cNvPr>
          <p:cNvSpPr txBox="1"/>
          <p:nvPr/>
        </p:nvSpPr>
        <p:spPr>
          <a:xfrm>
            <a:off x="2111481" y="2511205"/>
            <a:ext cx="89221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k-KZ" sz="2800" b="1" dirty="0" smtClean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8,3</a:t>
            </a:r>
            <a:r>
              <a:rPr lang="kk-KZ" sz="54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endParaRPr lang="ru-RU" sz="3600" dirty="0">
              <a:solidFill>
                <a:srgbClr val="00B0F0"/>
              </a:solidFill>
              <a:latin typeface="Arial Narrow" panose="020B060602020203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A4D69BC8-0C62-444E-84BE-782EFB8C1E47}"/>
              </a:ext>
            </a:extLst>
          </p:cNvPr>
          <p:cNvSpPr txBox="1"/>
          <p:nvPr/>
        </p:nvSpPr>
        <p:spPr>
          <a:xfrm>
            <a:off x="2937551" y="2926949"/>
            <a:ext cx="239346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k-KZ" sz="2800" b="1" dirty="0" smtClean="0">
                <a:solidFill>
                  <a:srgbClr val="00B050"/>
                </a:solidFill>
                <a:latin typeface="Arial Narrow" panose="020B0606020202030204" pitchFamily="34" charset="0"/>
              </a:rPr>
              <a:t>119 %</a:t>
            </a:r>
            <a:endParaRPr lang="ru-RU" sz="28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46" name="Группа 99">
            <a:extLst>
              <a:ext uri="{FF2B5EF4-FFF2-40B4-BE49-F238E27FC236}">
                <a16:creationId xmlns:a16="http://schemas.microsoft.com/office/drawing/2014/main" xmlns="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1731096" y="3033169"/>
            <a:ext cx="244346" cy="276179"/>
            <a:chOff x="5048874" y="1509126"/>
            <a:chExt cx="459230" cy="630576"/>
          </a:xfrm>
        </p:grpSpPr>
        <p:sp>
          <p:nvSpPr>
            <p:cNvPr id="47" name="Chevron2">
              <a:extLst>
                <a:ext uri="{FF2B5EF4-FFF2-40B4-BE49-F238E27FC236}">
                  <a16:creationId xmlns:a16="http://schemas.microsoft.com/office/drawing/2014/main" xmlns="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48" name="Chevron2">
              <a:extLst>
                <a:ext uri="{FF2B5EF4-FFF2-40B4-BE49-F238E27FC236}">
                  <a16:creationId xmlns:a16="http://schemas.microsoft.com/office/drawing/2014/main" xmlns="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grpSp>
        <p:nvGrpSpPr>
          <p:cNvPr id="49" name="Группа 99">
            <a:extLst>
              <a:ext uri="{FF2B5EF4-FFF2-40B4-BE49-F238E27FC236}">
                <a16:creationId xmlns:a16="http://schemas.microsoft.com/office/drawing/2014/main" xmlns="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3241338" y="3037954"/>
            <a:ext cx="244346" cy="276179"/>
            <a:chOff x="5048874" y="1509126"/>
            <a:chExt cx="459230" cy="630576"/>
          </a:xfrm>
        </p:grpSpPr>
        <p:sp>
          <p:nvSpPr>
            <p:cNvPr id="50" name="Chevron2">
              <a:extLst>
                <a:ext uri="{FF2B5EF4-FFF2-40B4-BE49-F238E27FC236}">
                  <a16:creationId xmlns:a16="http://schemas.microsoft.com/office/drawing/2014/main" xmlns="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51" name="Chevron2">
              <a:extLst>
                <a:ext uri="{FF2B5EF4-FFF2-40B4-BE49-F238E27FC236}">
                  <a16:creationId xmlns:a16="http://schemas.microsoft.com/office/drawing/2014/main" xmlns="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A4D69BC8-0C62-444E-84BE-782EFB8C1E47}"/>
              </a:ext>
            </a:extLst>
          </p:cNvPr>
          <p:cNvSpPr txBox="1"/>
          <p:nvPr/>
        </p:nvSpPr>
        <p:spPr>
          <a:xfrm>
            <a:off x="2140507" y="4627229"/>
            <a:ext cx="89221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k-KZ" sz="2800" b="1" dirty="0" smtClean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6,2</a:t>
            </a:r>
            <a:r>
              <a:rPr lang="kk-KZ" sz="54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endParaRPr lang="ru-RU" sz="3600" dirty="0">
              <a:solidFill>
                <a:srgbClr val="00B0F0"/>
              </a:solidFill>
              <a:latin typeface="Arial Narrow" panose="020B060602020203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A4D69BC8-0C62-444E-84BE-782EFB8C1E47}"/>
              </a:ext>
            </a:extLst>
          </p:cNvPr>
          <p:cNvSpPr txBox="1"/>
          <p:nvPr/>
        </p:nvSpPr>
        <p:spPr>
          <a:xfrm>
            <a:off x="2966577" y="5081073"/>
            <a:ext cx="239346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k-KZ" sz="2800" b="1" dirty="0" smtClean="0">
                <a:solidFill>
                  <a:srgbClr val="00B050"/>
                </a:solidFill>
                <a:latin typeface="Arial Narrow" panose="020B0606020202030204" pitchFamily="34" charset="0"/>
              </a:rPr>
              <a:t>14 %</a:t>
            </a:r>
            <a:endParaRPr lang="ru-RU" sz="28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54" name="Группа 99">
            <a:extLst>
              <a:ext uri="{FF2B5EF4-FFF2-40B4-BE49-F238E27FC236}">
                <a16:creationId xmlns:a16="http://schemas.microsoft.com/office/drawing/2014/main" xmlns="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1760122" y="5196818"/>
            <a:ext cx="244346" cy="276179"/>
            <a:chOff x="5048874" y="1509126"/>
            <a:chExt cx="459230" cy="630576"/>
          </a:xfrm>
        </p:grpSpPr>
        <p:sp>
          <p:nvSpPr>
            <p:cNvPr id="55" name="Chevron2">
              <a:extLst>
                <a:ext uri="{FF2B5EF4-FFF2-40B4-BE49-F238E27FC236}">
                  <a16:creationId xmlns:a16="http://schemas.microsoft.com/office/drawing/2014/main" xmlns="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56" name="Chevron2">
              <a:extLst>
                <a:ext uri="{FF2B5EF4-FFF2-40B4-BE49-F238E27FC236}">
                  <a16:creationId xmlns:a16="http://schemas.microsoft.com/office/drawing/2014/main" xmlns="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grpSp>
        <p:nvGrpSpPr>
          <p:cNvPr id="57" name="Группа 99">
            <a:extLst>
              <a:ext uri="{FF2B5EF4-FFF2-40B4-BE49-F238E27FC236}">
                <a16:creationId xmlns:a16="http://schemas.microsoft.com/office/drawing/2014/main" xmlns="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3270364" y="5201603"/>
            <a:ext cx="244346" cy="276179"/>
            <a:chOff x="5048874" y="1509126"/>
            <a:chExt cx="459230" cy="630576"/>
          </a:xfrm>
        </p:grpSpPr>
        <p:sp>
          <p:nvSpPr>
            <p:cNvPr id="58" name="Chevron2">
              <a:extLst>
                <a:ext uri="{FF2B5EF4-FFF2-40B4-BE49-F238E27FC236}">
                  <a16:creationId xmlns:a16="http://schemas.microsoft.com/office/drawing/2014/main" xmlns="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59" name="Chevron2">
              <a:extLst>
                <a:ext uri="{FF2B5EF4-FFF2-40B4-BE49-F238E27FC236}">
                  <a16:creationId xmlns:a16="http://schemas.microsoft.com/office/drawing/2014/main" xmlns="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A4D69BC8-0C62-444E-84BE-782EFB8C1E47}"/>
              </a:ext>
            </a:extLst>
          </p:cNvPr>
          <p:cNvSpPr txBox="1"/>
          <p:nvPr/>
        </p:nvSpPr>
        <p:spPr>
          <a:xfrm>
            <a:off x="2127807" y="3846185"/>
            <a:ext cx="89221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k-KZ" sz="2800" b="1" dirty="0" smtClean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6,4</a:t>
            </a:r>
            <a:r>
              <a:rPr lang="kk-KZ" sz="54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endParaRPr lang="ru-RU" sz="3600" dirty="0">
              <a:solidFill>
                <a:srgbClr val="00B0F0"/>
              </a:solidFill>
              <a:latin typeface="Arial Narrow" panose="020B060602020203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A4D69BC8-0C62-444E-84BE-782EFB8C1E47}"/>
              </a:ext>
            </a:extLst>
          </p:cNvPr>
          <p:cNvSpPr txBox="1"/>
          <p:nvPr/>
        </p:nvSpPr>
        <p:spPr>
          <a:xfrm>
            <a:off x="2966577" y="4300029"/>
            <a:ext cx="239346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k-KZ" sz="2800" b="1" dirty="0" smtClean="0">
                <a:solidFill>
                  <a:srgbClr val="00B050"/>
                </a:solidFill>
                <a:latin typeface="Arial Narrow" panose="020B0606020202030204" pitchFamily="34" charset="0"/>
              </a:rPr>
              <a:t>22 %</a:t>
            </a:r>
            <a:endParaRPr lang="ru-RU" sz="28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62" name="Группа 99">
            <a:extLst>
              <a:ext uri="{FF2B5EF4-FFF2-40B4-BE49-F238E27FC236}">
                <a16:creationId xmlns:a16="http://schemas.microsoft.com/office/drawing/2014/main" xmlns="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1760122" y="4415774"/>
            <a:ext cx="244346" cy="276179"/>
            <a:chOff x="5048874" y="1509126"/>
            <a:chExt cx="459230" cy="630576"/>
          </a:xfrm>
        </p:grpSpPr>
        <p:sp>
          <p:nvSpPr>
            <p:cNvPr id="63" name="Chevron2">
              <a:extLst>
                <a:ext uri="{FF2B5EF4-FFF2-40B4-BE49-F238E27FC236}">
                  <a16:creationId xmlns:a16="http://schemas.microsoft.com/office/drawing/2014/main" xmlns="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69" name="Chevron2">
              <a:extLst>
                <a:ext uri="{FF2B5EF4-FFF2-40B4-BE49-F238E27FC236}">
                  <a16:creationId xmlns:a16="http://schemas.microsoft.com/office/drawing/2014/main" xmlns="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grpSp>
        <p:nvGrpSpPr>
          <p:cNvPr id="70" name="Группа 99">
            <a:extLst>
              <a:ext uri="{FF2B5EF4-FFF2-40B4-BE49-F238E27FC236}">
                <a16:creationId xmlns:a16="http://schemas.microsoft.com/office/drawing/2014/main" xmlns="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3270364" y="4420559"/>
            <a:ext cx="244346" cy="276179"/>
            <a:chOff x="5048874" y="1509126"/>
            <a:chExt cx="459230" cy="630576"/>
          </a:xfrm>
        </p:grpSpPr>
        <p:sp>
          <p:nvSpPr>
            <p:cNvPr id="71" name="Chevron2">
              <a:extLst>
                <a:ext uri="{FF2B5EF4-FFF2-40B4-BE49-F238E27FC236}">
                  <a16:creationId xmlns:a16="http://schemas.microsoft.com/office/drawing/2014/main" xmlns="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72" name="Chevron2">
              <a:extLst>
                <a:ext uri="{FF2B5EF4-FFF2-40B4-BE49-F238E27FC236}">
                  <a16:creationId xmlns:a16="http://schemas.microsoft.com/office/drawing/2014/main" xmlns="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A4D69BC8-0C62-444E-84BE-782EFB8C1E47}"/>
              </a:ext>
            </a:extLst>
          </p:cNvPr>
          <p:cNvSpPr txBox="1"/>
          <p:nvPr/>
        </p:nvSpPr>
        <p:spPr>
          <a:xfrm>
            <a:off x="2127528" y="3207063"/>
            <a:ext cx="89221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k-KZ" sz="2800" b="1" dirty="0" smtClean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61,1</a:t>
            </a:r>
            <a:r>
              <a:rPr lang="kk-KZ" sz="54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endParaRPr lang="ru-RU" sz="3600" dirty="0">
              <a:solidFill>
                <a:srgbClr val="00B0F0"/>
              </a:solidFill>
              <a:latin typeface="Arial Narrow" panose="020B0606020202030204" pitchFamily="34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A4D69BC8-0C62-444E-84BE-782EFB8C1E47}"/>
              </a:ext>
            </a:extLst>
          </p:cNvPr>
          <p:cNvSpPr txBox="1"/>
          <p:nvPr/>
        </p:nvSpPr>
        <p:spPr>
          <a:xfrm>
            <a:off x="2937551" y="3575886"/>
            <a:ext cx="239346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k-KZ" sz="2800" b="1" dirty="0" smtClean="0">
                <a:solidFill>
                  <a:srgbClr val="00B050"/>
                </a:solidFill>
                <a:latin typeface="Arial Narrow" panose="020B0606020202030204" pitchFamily="34" charset="0"/>
              </a:rPr>
              <a:t>123 %</a:t>
            </a:r>
            <a:endParaRPr lang="ru-RU" sz="28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75" name="Группа 99">
            <a:extLst>
              <a:ext uri="{FF2B5EF4-FFF2-40B4-BE49-F238E27FC236}">
                <a16:creationId xmlns:a16="http://schemas.microsoft.com/office/drawing/2014/main" xmlns="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1747143" y="3729027"/>
            <a:ext cx="244346" cy="276179"/>
            <a:chOff x="5048874" y="1509126"/>
            <a:chExt cx="459230" cy="630576"/>
          </a:xfrm>
        </p:grpSpPr>
        <p:sp>
          <p:nvSpPr>
            <p:cNvPr id="76" name="Chevron2">
              <a:extLst>
                <a:ext uri="{FF2B5EF4-FFF2-40B4-BE49-F238E27FC236}">
                  <a16:creationId xmlns:a16="http://schemas.microsoft.com/office/drawing/2014/main" xmlns="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77" name="Chevron2">
              <a:extLst>
                <a:ext uri="{FF2B5EF4-FFF2-40B4-BE49-F238E27FC236}">
                  <a16:creationId xmlns:a16="http://schemas.microsoft.com/office/drawing/2014/main" xmlns="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grpSp>
        <p:nvGrpSpPr>
          <p:cNvPr id="78" name="Группа 99">
            <a:extLst>
              <a:ext uri="{FF2B5EF4-FFF2-40B4-BE49-F238E27FC236}">
                <a16:creationId xmlns:a16="http://schemas.microsoft.com/office/drawing/2014/main" xmlns="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3257385" y="3733812"/>
            <a:ext cx="244346" cy="276179"/>
            <a:chOff x="5048874" y="1509126"/>
            <a:chExt cx="459230" cy="630576"/>
          </a:xfrm>
        </p:grpSpPr>
        <p:sp>
          <p:nvSpPr>
            <p:cNvPr id="79" name="Chevron2">
              <a:extLst>
                <a:ext uri="{FF2B5EF4-FFF2-40B4-BE49-F238E27FC236}">
                  <a16:creationId xmlns:a16="http://schemas.microsoft.com/office/drawing/2014/main" xmlns="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80" name="Chevron2">
              <a:extLst>
                <a:ext uri="{FF2B5EF4-FFF2-40B4-BE49-F238E27FC236}">
                  <a16:creationId xmlns:a16="http://schemas.microsoft.com/office/drawing/2014/main" xmlns="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sp>
        <p:nvSpPr>
          <p:cNvPr id="81" name="Прямоугольник 80"/>
          <p:cNvSpPr/>
          <p:nvPr/>
        </p:nvSpPr>
        <p:spPr>
          <a:xfrm>
            <a:off x="2140507" y="3916408"/>
            <a:ext cx="86492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</a:pPr>
            <a:r>
              <a:rPr lang="ru-RU" sz="1100" b="1" dirty="0" err="1" smtClean="0">
                <a:solidFill>
                  <a:srgbClr val="00B0F0"/>
                </a:solidFill>
                <a:latin typeface="Arial Narrow" panose="020B0606020202030204" pitchFamily="34" charset="0"/>
              </a:rPr>
              <a:t>мың</a:t>
            </a:r>
            <a:r>
              <a:rPr lang="ru-RU" sz="1100" b="1" dirty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r>
              <a:rPr lang="ru-RU" sz="11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тонна</a:t>
            </a:r>
            <a:r>
              <a:rPr lang="en-US" sz="11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endParaRPr lang="en-US" altLang="ru-RU" sz="1100" b="1" dirty="0">
              <a:solidFill>
                <a:srgbClr val="00B0F0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2154408" y="4536480"/>
            <a:ext cx="86400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</a:pPr>
            <a:r>
              <a:rPr lang="ru-RU" sz="1100" b="1" dirty="0" err="1" smtClean="0">
                <a:solidFill>
                  <a:srgbClr val="00B0F0"/>
                </a:solidFill>
                <a:latin typeface="Arial Narrow" panose="020B0606020202030204" pitchFamily="34" charset="0"/>
              </a:rPr>
              <a:t>мың</a:t>
            </a:r>
            <a:r>
              <a:rPr lang="ru-RU" sz="11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 тонна</a:t>
            </a:r>
            <a:endParaRPr lang="en-US" altLang="ru-RU" sz="1100" b="1" dirty="0">
              <a:solidFill>
                <a:srgbClr val="00B0F0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2173509" y="5332072"/>
            <a:ext cx="84490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</a:pPr>
            <a:r>
              <a:rPr lang="ru-RU" sz="1100" b="1" dirty="0" err="1" smtClean="0">
                <a:solidFill>
                  <a:srgbClr val="00B0F0"/>
                </a:solidFill>
                <a:latin typeface="Arial Narrow" panose="020B0606020202030204" pitchFamily="34" charset="0"/>
              </a:rPr>
              <a:t>мың</a:t>
            </a:r>
            <a:r>
              <a:rPr lang="ru-RU" sz="11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 тонна</a:t>
            </a:r>
            <a:r>
              <a:rPr lang="en-US" sz="11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endParaRPr lang="en-US" altLang="ru-RU" sz="1100" b="1" dirty="0">
              <a:solidFill>
                <a:srgbClr val="00B0F0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2133706" y="3205857"/>
            <a:ext cx="85567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</a:pPr>
            <a:r>
              <a:rPr lang="ru-RU" sz="1100" b="1" dirty="0" err="1">
                <a:solidFill>
                  <a:srgbClr val="00B0F0"/>
                </a:solidFill>
                <a:latin typeface="Arial Narrow" panose="020B0606020202030204" pitchFamily="34" charset="0"/>
              </a:rPr>
              <a:t>м</a:t>
            </a:r>
            <a:r>
              <a:rPr lang="ru-RU" sz="1100" b="1" dirty="0" err="1" smtClean="0">
                <a:solidFill>
                  <a:srgbClr val="00B0F0"/>
                </a:solidFill>
                <a:latin typeface="Arial Narrow" panose="020B0606020202030204" pitchFamily="34" charset="0"/>
              </a:rPr>
              <a:t>ың</a:t>
            </a:r>
            <a:r>
              <a:rPr lang="ru-RU" sz="11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 тонна</a:t>
            </a:r>
            <a:r>
              <a:rPr lang="en-US" sz="11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endParaRPr lang="en-US" altLang="ru-RU" sz="1100" b="1" dirty="0">
              <a:solidFill>
                <a:srgbClr val="00B0F0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5" name="Прямоугольник 84"/>
          <p:cNvSpPr/>
          <p:nvPr/>
        </p:nvSpPr>
        <p:spPr>
          <a:xfrm>
            <a:off x="2124305" y="2557562"/>
            <a:ext cx="84733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</a:pPr>
            <a:r>
              <a:rPr lang="ru-RU" sz="1100" b="1" dirty="0" err="1" smtClean="0">
                <a:solidFill>
                  <a:srgbClr val="00B0F0"/>
                </a:solidFill>
                <a:latin typeface="Arial Narrow" panose="020B0606020202030204" pitchFamily="34" charset="0"/>
              </a:rPr>
              <a:t>мың</a:t>
            </a:r>
            <a:r>
              <a:rPr lang="ru-RU" sz="11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 тонна</a:t>
            </a:r>
            <a:r>
              <a:rPr lang="en-US" sz="11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endParaRPr lang="en-US" altLang="ru-RU" sz="1100" b="1" dirty="0">
              <a:solidFill>
                <a:srgbClr val="00B0F0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6" name="Rectangle 2">
            <a:extLst>
              <a:ext uri="{FF2B5EF4-FFF2-40B4-BE49-F238E27FC236}">
                <a16:creationId xmlns:a16="http://schemas.microsoft.com/office/drawing/2014/main" xmlns="" id="{9637A19F-6EF0-0244-BBC3-F8B2F781E76C}"/>
              </a:ext>
            </a:extLst>
          </p:cNvPr>
          <p:cNvSpPr/>
          <p:nvPr/>
        </p:nvSpPr>
        <p:spPr>
          <a:xfrm>
            <a:off x="371967" y="5791200"/>
            <a:ext cx="480963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altLang="ru-RU" sz="1400" b="1" dirty="0" err="1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Ескертпе</a:t>
            </a:r>
            <a:r>
              <a:rPr lang="ru-RU" altLang="ru-RU" sz="1400" b="1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: </a:t>
            </a:r>
            <a:r>
              <a:rPr lang="ru-RU" altLang="ru-RU" sz="1400" dirty="0" err="1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электр</a:t>
            </a:r>
            <a:r>
              <a:rPr lang="ru-RU" altLang="ru-RU" sz="1400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энергиясын</a:t>
            </a:r>
            <a:r>
              <a:rPr lang="ru-RU" altLang="ru-RU" sz="1400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жеткізудегі</a:t>
            </a:r>
            <a:r>
              <a:rPr lang="ru-RU" altLang="ru-RU" sz="1400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іркілістер</a:t>
            </a:r>
            <a:r>
              <a:rPr lang="ru-RU" altLang="ru-RU" sz="1400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бензол мен параксилол </a:t>
            </a:r>
            <a:r>
              <a:rPr lang="ru-RU" altLang="ru-RU" sz="1400" dirty="0" err="1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өндіру</a:t>
            </a:r>
            <a:r>
              <a:rPr lang="ru-RU" altLang="ru-RU" sz="1400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sz="1400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АМӨЗ-де </a:t>
            </a:r>
            <a:r>
              <a:rPr lang="ru-RU" altLang="ru-RU" sz="1400" dirty="0" err="1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ехнологиялық</a:t>
            </a:r>
            <a:r>
              <a:rPr lang="ru-RU" altLang="ru-RU" sz="1400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қондырғылардың</a:t>
            </a:r>
            <a:r>
              <a:rPr lang="ru-RU" altLang="ru-RU" sz="1400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вариялық</a:t>
            </a:r>
            <a:r>
              <a:rPr lang="ru-RU" altLang="ru-RU" sz="1400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оқтауына</a:t>
            </a:r>
            <a:r>
              <a:rPr lang="ru-RU" altLang="ru-RU" sz="1400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әкелді</a:t>
            </a:r>
            <a:r>
              <a:rPr lang="ru-RU" altLang="ru-RU" sz="1400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.</a:t>
            </a:r>
            <a:endParaRPr lang="ru-RU" altLang="ru-RU" sz="1200" dirty="0">
              <a:solidFill>
                <a:srgbClr val="00B0F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87" name="Rectangle 2">
            <a:extLst>
              <a:ext uri="{FF2B5EF4-FFF2-40B4-BE49-F238E27FC236}">
                <a16:creationId xmlns:a16="http://schemas.microsoft.com/office/drawing/2014/main" xmlns="" id="{9637A19F-6EF0-0244-BBC3-F8B2F781E76C}"/>
              </a:ext>
            </a:extLst>
          </p:cNvPr>
          <p:cNvSpPr/>
          <p:nvPr/>
        </p:nvSpPr>
        <p:spPr>
          <a:xfrm>
            <a:off x="5564489" y="1140365"/>
            <a:ext cx="6363009" cy="272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altLang="ru-RU" sz="2000" b="1" dirty="0" err="1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ұнай</a:t>
            </a:r>
            <a:r>
              <a:rPr lang="ru-RU" altLang="ru-RU" sz="2000" b="1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-газ-химия </a:t>
            </a:r>
            <a:r>
              <a:rPr lang="ru-RU" altLang="ru-RU" sz="2000" b="1" dirty="0" err="1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өнімдері</a:t>
            </a:r>
            <a:r>
              <a:rPr lang="ru-RU" altLang="ru-RU" sz="2000" b="1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b="1" dirty="0" err="1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өндірісін</a:t>
            </a:r>
            <a:r>
              <a:rPr lang="ru-RU" altLang="ru-RU" sz="2000" b="1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b="1" dirty="0" err="1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ұлғайту</a:t>
            </a:r>
            <a:r>
              <a:rPr lang="ru-RU" altLang="ru-RU" sz="2000" b="1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b="1" dirty="0" err="1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жөніндегі</a:t>
            </a:r>
            <a:r>
              <a:rPr lang="ru-RU" altLang="ru-RU" sz="2000" b="1" dirty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2021 </a:t>
            </a:r>
            <a:r>
              <a:rPr lang="ru-RU" altLang="ru-RU" sz="2000" b="1" dirty="0" err="1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жылдың</a:t>
            </a:r>
            <a:r>
              <a:rPr lang="ru-RU" altLang="ru-RU" sz="2000" b="1" dirty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b="1" dirty="0" err="1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әтижелері</a:t>
            </a:r>
            <a:r>
              <a:rPr lang="ru-RU" altLang="ru-RU" sz="2000" b="1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:</a:t>
            </a:r>
            <a:endParaRPr lang="ru-RU" altLang="ru-RU" sz="1100" dirty="0" smtClean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  <a:defRPr/>
            </a:pPr>
            <a:r>
              <a:rPr lang="ru-RU" altLang="ru-RU" dirty="0" err="1">
                <a:latin typeface="Arial Narrow" panose="020B0606020202030204" pitchFamily="34" charset="0"/>
                <a:cs typeface="Arial" panose="020B0604020202020204" pitchFamily="34" charset="0"/>
              </a:rPr>
              <a:t>қуаты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57 </a:t>
            </a:r>
            <a:r>
              <a:rPr lang="ru-RU" altLang="ru-RU" b="1" dirty="0" err="1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ың</a:t>
            </a:r>
            <a:r>
              <a:rPr lang="ru-RU" altLang="ru-RU" b="1" dirty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тонна </a:t>
            </a:r>
            <a:r>
              <a:rPr lang="ru-RU" altLang="ru-RU" b="1" dirty="0">
                <a:latin typeface="Arial Narrow" panose="020B0606020202030204" pitchFamily="34" charset="0"/>
                <a:cs typeface="Arial" panose="020B0604020202020204" pitchFamily="34" charset="0"/>
              </a:rPr>
              <a:t>октан </a:t>
            </a:r>
            <a:r>
              <a:rPr lang="ru-RU" altLang="ru-RU" b="1" dirty="0" err="1">
                <a:latin typeface="Arial Narrow" panose="020B0606020202030204" pitchFamily="34" charset="0"/>
                <a:cs typeface="Arial" panose="020B0604020202020204" pitchFamily="34" charset="0"/>
              </a:rPr>
              <a:t>көтеретін</a:t>
            </a:r>
            <a:r>
              <a:rPr lang="ru-RU" altLang="ru-RU" b="1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err="1">
                <a:latin typeface="Arial Narrow" panose="020B0606020202030204" pitchFamily="34" charset="0"/>
                <a:cs typeface="Arial" panose="020B0604020202020204" pitchFamily="34" charset="0"/>
              </a:rPr>
              <a:t>қоспа</a:t>
            </a:r>
            <a:r>
              <a:rPr lang="ru-RU" altLang="ru-RU" b="1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dirty="0" err="1">
                <a:latin typeface="Arial Narrow" panose="020B0606020202030204" pitchFamily="34" charset="0"/>
                <a:cs typeface="Arial" panose="020B0604020202020204" pitchFamily="34" charset="0"/>
              </a:rPr>
              <a:t>шығаратын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dirty="0" err="1">
                <a:latin typeface="Arial Narrow" panose="020B0606020202030204" pitchFamily="34" charset="0"/>
                <a:cs typeface="Arial" panose="020B0604020202020204" pitchFamily="34" charset="0"/>
              </a:rPr>
              <a:t>зауыт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dirty="0" err="1">
                <a:latin typeface="Arial Narrow" panose="020B0606020202030204" pitchFamily="34" charset="0"/>
                <a:cs typeface="Arial" panose="020B0604020202020204" pitchFamily="34" charset="0"/>
              </a:rPr>
              <a:t>пайдалануға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dirty="0" err="1">
                <a:latin typeface="Arial Narrow" panose="020B0606020202030204" pitchFamily="34" charset="0"/>
                <a:cs typeface="Arial" panose="020B0604020202020204" pitchFamily="34" charset="0"/>
              </a:rPr>
              <a:t>берілді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;</a:t>
            </a:r>
            <a:endParaRPr lang="ru-RU" altLang="ru-RU" sz="500" b="1" dirty="0" smtClean="0">
              <a:solidFill>
                <a:srgbClr val="00B0F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85750" indent="-285750" algn="just" eaLnBrk="1" hangingPunct="1">
              <a:buFont typeface="Wingdings" panose="05000000000000000000" pitchFamily="2" charset="2"/>
              <a:buChar char="§"/>
              <a:defRPr/>
            </a:pPr>
            <a:endParaRPr lang="ru-RU" altLang="ru-RU" sz="500" b="1" dirty="0">
              <a:solidFill>
                <a:srgbClr val="00B0F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  <a:defRPr/>
            </a:pPr>
            <a:r>
              <a:rPr lang="ru-RU" altLang="ru-RU" dirty="0" err="1">
                <a:latin typeface="Arial Narrow" panose="020B0606020202030204" pitchFamily="34" charset="0"/>
                <a:cs typeface="Arial" panose="020B0604020202020204" pitchFamily="34" charset="0"/>
              </a:rPr>
              <a:t>қуаты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500 </a:t>
            </a:r>
            <a:r>
              <a:rPr lang="ru-RU" altLang="ru-RU" b="1" dirty="0" err="1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ың</a:t>
            </a:r>
            <a:r>
              <a:rPr lang="ru-RU" altLang="ru-RU" b="1" dirty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тонна </a:t>
            </a:r>
            <a:r>
              <a:rPr lang="ru-RU" altLang="ru-RU" b="1" dirty="0">
                <a:latin typeface="Arial Narrow" panose="020B0606020202030204" pitchFamily="34" charset="0"/>
                <a:cs typeface="Arial" panose="020B0604020202020204" pitchFamily="34" charset="0"/>
              </a:rPr>
              <a:t>полипропилен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dirty="0" err="1">
                <a:latin typeface="Arial Narrow" panose="020B0606020202030204" pitchFamily="34" charset="0"/>
                <a:cs typeface="Arial" panose="020B0604020202020204" pitchFamily="34" charset="0"/>
              </a:rPr>
              <a:t>өндіру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dirty="0" err="1">
                <a:latin typeface="Arial Narrow" panose="020B0606020202030204" pitchFamily="34" charset="0"/>
                <a:cs typeface="Arial" panose="020B0604020202020204" pitchFamily="34" charset="0"/>
              </a:rPr>
              <a:t>зауытының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dirty="0" err="1">
                <a:latin typeface="Arial Narrow" panose="020B0606020202030204" pitchFamily="34" charset="0"/>
                <a:cs typeface="Arial" panose="020B0604020202020204" pitchFamily="34" charset="0"/>
              </a:rPr>
              <a:t>құрылысы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dirty="0" err="1">
                <a:latin typeface="Arial Narrow" panose="020B0606020202030204" pitchFamily="34" charset="0"/>
                <a:cs typeface="Arial" panose="020B0604020202020204" pitchFamily="34" charset="0"/>
              </a:rPr>
              <a:t>аяқталды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dirty="0" smtClean="0">
                <a:latin typeface="Arial Narrow" panose="020B0606020202030204" pitchFamily="34" charset="0"/>
                <a:cs typeface="Arial" panose="020B0604020202020204" pitchFamily="34" charset="0"/>
              </a:rPr>
              <a:t>(</a:t>
            </a:r>
            <a:r>
              <a:rPr lang="kk-KZ" altLang="ru-RU" dirty="0" smtClean="0">
                <a:latin typeface="Arial Narrow" panose="020B0606020202030204" pitchFamily="34" charset="0"/>
                <a:cs typeface="Arial" panose="020B0604020202020204" pitchFamily="34" charset="0"/>
              </a:rPr>
              <a:t>ҚМЖ</a:t>
            </a:r>
            <a:r>
              <a:rPr lang="ru-RU" altLang="ru-RU" dirty="0" smtClean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dirty="0" err="1">
                <a:latin typeface="Arial Narrow" panose="020B0606020202030204" pitchFamily="34" charset="0"/>
                <a:cs typeface="Arial" panose="020B0604020202020204" pitchFamily="34" charset="0"/>
              </a:rPr>
              <a:t>аяқталды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);</a:t>
            </a:r>
            <a:endParaRPr lang="ru-RU" altLang="ru-RU" sz="500" dirty="0" smtClean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  <a:defRPr/>
            </a:pP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Атырау </a:t>
            </a:r>
            <a:r>
              <a:rPr lang="ru-RU" altLang="ru-RU" dirty="0" err="1">
                <a:latin typeface="Arial Narrow" panose="020B0606020202030204" pitchFamily="34" charset="0"/>
                <a:cs typeface="Arial" panose="020B0604020202020204" pitchFamily="34" charset="0"/>
              </a:rPr>
              <a:t>облысында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dirty="0" err="1">
                <a:latin typeface="Arial Narrow" panose="020B0606020202030204" pitchFamily="34" charset="0"/>
                <a:cs typeface="Arial" panose="020B0604020202020204" pitchFamily="34" charset="0"/>
              </a:rPr>
              <a:t>арнайы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dirty="0" err="1">
                <a:latin typeface="Arial Narrow" panose="020B0606020202030204" pitchFamily="34" charset="0"/>
                <a:cs typeface="Arial" panose="020B0604020202020204" pitchFamily="34" charset="0"/>
              </a:rPr>
              <a:t>экономикалық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dirty="0" err="1">
                <a:latin typeface="Arial Narrow" panose="020B0606020202030204" pitchFamily="34" charset="0"/>
                <a:cs typeface="Arial" panose="020B0604020202020204" pitchFamily="34" charset="0"/>
              </a:rPr>
              <a:t>аймақтың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dirty="0" err="1">
                <a:latin typeface="Arial Narrow" panose="020B0606020202030204" pitchFamily="34" charset="0"/>
                <a:cs typeface="Arial" panose="020B0604020202020204" pitchFamily="34" charset="0"/>
              </a:rPr>
              <a:t>өндірістік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dirty="0" err="1">
                <a:latin typeface="Arial Narrow" panose="020B0606020202030204" pitchFamily="34" charset="0"/>
                <a:cs typeface="Arial" panose="020B0604020202020204" pitchFamily="34" charset="0"/>
              </a:rPr>
              <a:t>инфрақұрылымдық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dirty="0" err="1">
                <a:latin typeface="Arial Narrow" panose="020B0606020202030204" pitchFamily="34" charset="0"/>
                <a:cs typeface="Arial" panose="020B0604020202020204" pitchFamily="34" charset="0"/>
              </a:rPr>
              <a:t>объектілері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>
                <a:latin typeface="Arial Narrow" panose="020B0606020202030204" pitchFamily="34" charset="0"/>
                <a:cs typeface="Arial" panose="020B0604020202020204" pitchFamily="34" charset="0"/>
              </a:rPr>
              <a:t>(</a:t>
            </a:r>
            <a:r>
              <a:rPr lang="ru-RU" altLang="ru-RU" sz="1600" i="1" dirty="0" err="1">
                <a:latin typeface="Arial Narrow" panose="020B0606020202030204" pitchFamily="34" charset="0"/>
                <a:cs typeface="Arial" panose="020B0604020202020204" pitchFamily="34" charset="0"/>
              </a:rPr>
              <a:t>техникалық</a:t>
            </a:r>
            <a:r>
              <a:rPr lang="ru-RU" altLang="ru-RU" sz="1600" i="1" dirty="0">
                <a:latin typeface="Arial Narrow" panose="020B0606020202030204" pitchFamily="34" charset="0"/>
                <a:cs typeface="Arial" panose="020B0604020202020204" pitchFamily="34" charset="0"/>
              </a:rPr>
              <a:t> газ </a:t>
            </a:r>
            <a:r>
              <a:rPr lang="ru-RU" altLang="ru-RU" sz="1600" i="1" dirty="0" err="1">
                <a:latin typeface="Arial Narrow" panose="020B0606020202030204" pitchFamily="34" charset="0"/>
                <a:cs typeface="Arial" panose="020B0604020202020204" pitchFamily="34" charset="0"/>
              </a:rPr>
              <a:t>және</a:t>
            </a:r>
            <a:r>
              <a:rPr lang="ru-RU" altLang="ru-RU" sz="1600" i="1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n-US" altLang="ru-RU" sz="1600" i="1" dirty="0" smtClean="0">
                <a:latin typeface="Arial Narrow" panose="020B0606020202030204" pitchFamily="34" charset="0"/>
                <a:cs typeface="Arial" panose="020B0604020202020204" pitchFamily="34" charset="0"/>
              </a:rPr>
              <a:t>c</a:t>
            </a:r>
            <a:r>
              <a:rPr lang="ru-RU" altLang="ru-RU" sz="1600" i="1" dirty="0" smtClean="0">
                <a:latin typeface="Arial Narrow" panose="020B0606020202030204" pitchFamily="34" charset="0"/>
                <a:cs typeface="Arial" panose="020B0604020202020204" pitchFamily="34" charset="0"/>
              </a:rPr>
              <a:t>у </a:t>
            </a:r>
            <a:r>
              <a:rPr lang="ru-RU" altLang="ru-RU" sz="1600" i="1" dirty="0" err="1">
                <a:latin typeface="Arial Narrow" panose="020B0606020202030204" pitchFamily="34" charset="0"/>
                <a:cs typeface="Arial" panose="020B0604020202020204" pitchFamily="34" charset="0"/>
              </a:rPr>
              <a:t>дайындау</a:t>
            </a:r>
            <a:r>
              <a:rPr lang="ru-RU" altLang="ru-RU" sz="1600" i="1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 err="1">
                <a:latin typeface="Arial Narrow" panose="020B0606020202030204" pitchFamily="34" charset="0"/>
                <a:cs typeface="Arial" panose="020B0604020202020204" pitchFamily="34" charset="0"/>
              </a:rPr>
              <a:t>қондырғылары</a:t>
            </a:r>
            <a:r>
              <a:rPr lang="ru-RU" altLang="ru-RU" sz="1600" i="1" dirty="0">
                <a:latin typeface="Arial Narrow" panose="020B0606020202030204" pitchFamily="34" charset="0"/>
                <a:cs typeface="Arial" panose="020B0604020202020204" pitchFamily="34" charset="0"/>
              </a:rPr>
              <a:t>, </a:t>
            </a:r>
            <a:r>
              <a:rPr lang="ru-RU" altLang="ru-RU" sz="1600" i="1" dirty="0" err="1">
                <a:latin typeface="Arial Narrow" panose="020B0606020202030204" pitchFamily="34" charset="0"/>
                <a:cs typeface="Arial" panose="020B0604020202020204" pitchFamily="34" charset="0"/>
              </a:rPr>
              <a:t>қуаты</a:t>
            </a:r>
            <a:r>
              <a:rPr lang="ru-RU" altLang="ru-RU" sz="1600" i="1" dirty="0">
                <a:latin typeface="Arial Narrow" panose="020B0606020202030204" pitchFamily="34" charset="0"/>
                <a:cs typeface="Arial" panose="020B0604020202020204" pitchFamily="34" charset="0"/>
              </a:rPr>
              <a:t> 310 мВт ГТЭС) </a:t>
            </a:r>
            <a:r>
              <a:rPr lang="en-US" altLang="ru-RU" sz="1600" i="1" dirty="0" smtClean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dirty="0" err="1" smtClean="0">
                <a:latin typeface="Arial Narrow" panose="020B0606020202030204" pitchFamily="34" charset="0"/>
                <a:cs typeface="Arial" panose="020B0604020202020204" pitchFamily="34" charset="0"/>
              </a:rPr>
              <a:t>пайдалануға</a:t>
            </a:r>
            <a:r>
              <a:rPr lang="ru-RU" altLang="ru-RU" dirty="0" smtClean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dirty="0" err="1">
                <a:latin typeface="Arial Narrow" panose="020B0606020202030204" pitchFamily="34" charset="0"/>
                <a:cs typeface="Arial" panose="020B0604020202020204" pitchFamily="34" charset="0"/>
              </a:rPr>
              <a:t>берілді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.</a:t>
            </a:r>
            <a:endParaRPr lang="ru-RU" altLang="ru-RU" sz="500" b="1" dirty="0">
              <a:solidFill>
                <a:srgbClr val="00B0F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102" name="Группа 101"/>
          <p:cNvGrpSpPr/>
          <p:nvPr/>
        </p:nvGrpSpPr>
        <p:grpSpPr>
          <a:xfrm>
            <a:off x="5623537" y="5734177"/>
            <a:ext cx="1241648" cy="923363"/>
            <a:chOff x="5983508" y="4770040"/>
            <a:chExt cx="1472608" cy="1103581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xmlns="" id="{A4D69BC8-0C62-444E-84BE-782EFB8C1E47}"/>
                </a:ext>
              </a:extLst>
            </p:cNvPr>
            <p:cNvSpPr txBox="1"/>
            <p:nvPr/>
          </p:nvSpPr>
          <p:spPr>
            <a:xfrm>
              <a:off x="5983508" y="4770040"/>
              <a:ext cx="1472608" cy="8460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kk-KZ" sz="40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2025</a:t>
              </a:r>
            </a:p>
          </p:txBody>
        </p:sp>
        <p:sp>
          <p:nvSpPr>
            <p:cNvPr id="105" name="Прямоугольник 104"/>
            <p:cNvSpPr/>
            <p:nvPr/>
          </p:nvSpPr>
          <p:spPr>
            <a:xfrm>
              <a:off x="6283300" y="5248281"/>
              <a:ext cx="873021" cy="62534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kk-KZ" sz="28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 </a:t>
              </a:r>
              <a:r>
                <a:rPr lang="kk-KZ" sz="20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жыл</a:t>
              </a:r>
              <a:endParaRPr lang="ru-RU" sz="2000" b="1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5464156" y="3981683"/>
            <a:ext cx="6443438" cy="1208653"/>
            <a:chOff x="5367563" y="172548"/>
            <a:chExt cx="6443438" cy="1384875"/>
          </a:xfrm>
        </p:grpSpPr>
        <p:grpSp>
          <p:nvGrpSpPr>
            <p:cNvPr id="97" name="Группа 99">
              <a:extLst>
                <a:ext uri="{FF2B5EF4-FFF2-40B4-BE49-F238E27FC236}">
                  <a16:creationId xmlns:a16="http://schemas.microsoft.com/office/drawing/2014/main" xmlns="" id="{5A6E5B14-42E7-49CD-8BD8-68D3E398C3C7}"/>
                </a:ext>
              </a:extLst>
            </p:cNvPr>
            <p:cNvGrpSpPr>
              <a:grpSpLocks/>
            </p:cNvGrpSpPr>
            <p:nvPr/>
          </p:nvGrpSpPr>
          <p:grpSpPr bwMode="auto">
            <a:xfrm rot="10800000" flipH="1">
              <a:off x="9597321" y="909237"/>
              <a:ext cx="243332" cy="276179"/>
              <a:chOff x="5050780" y="1141110"/>
              <a:chExt cx="457324" cy="630576"/>
            </a:xfrm>
          </p:grpSpPr>
          <p:sp>
            <p:nvSpPr>
              <p:cNvPr id="99" name="Chevron2">
                <a:extLst>
                  <a:ext uri="{FF2B5EF4-FFF2-40B4-BE49-F238E27FC236}">
                    <a16:creationId xmlns:a16="http://schemas.microsoft.com/office/drawing/2014/main" xmlns="" id="{A774A691-1701-4FF3-8CE6-C8E3CE32FFB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050780" y="1180284"/>
                <a:ext cx="243906" cy="552231"/>
              </a:xfrm>
              <a:custGeom>
                <a:avLst/>
                <a:gdLst/>
                <a:ahLst/>
                <a:cxnLst/>
                <a:rect l="0" t="0" r="0" b="0"/>
                <a:pathLst>
                  <a:path w="2984501" h="5080001">
                    <a:moveTo>
                      <a:pt x="0" y="0"/>
                    </a:moveTo>
                    <a:lnTo>
                      <a:pt x="1524000" y="0"/>
                    </a:lnTo>
                    <a:lnTo>
                      <a:pt x="2984500" y="2540000"/>
                    </a:lnTo>
                    <a:lnTo>
                      <a:pt x="1524000" y="5080000"/>
                    </a:lnTo>
                    <a:lnTo>
                      <a:pt x="0" y="5080000"/>
                    </a:lnTo>
                    <a:lnTo>
                      <a:pt x="1460500" y="254000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ＭＳ Ｐゴシック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100" name="Chevron2">
                <a:extLst>
                  <a:ext uri="{FF2B5EF4-FFF2-40B4-BE49-F238E27FC236}">
                    <a16:creationId xmlns:a16="http://schemas.microsoft.com/office/drawing/2014/main" xmlns="" id="{E487CAA0-057E-43E5-968C-B4F7D3FFFBA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229899" y="1141110"/>
                <a:ext cx="278205" cy="630576"/>
              </a:xfrm>
              <a:custGeom>
                <a:avLst/>
                <a:gdLst/>
                <a:ahLst/>
                <a:cxnLst/>
                <a:rect l="0" t="0" r="0" b="0"/>
                <a:pathLst>
                  <a:path w="2984501" h="5080001">
                    <a:moveTo>
                      <a:pt x="0" y="0"/>
                    </a:moveTo>
                    <a:lnTo>
                      <a:pt x="1524000" y="0"/>
                    </a:lnTo>
                    <a:lnTo>
                      <a:pt x="2984500" y="2540000"/>
                    </a:lnTo>
                    <a:lnTo>
                      <a:pt x="1524000" y="5080000"/>
                    </a:lnTo>
                    <a:lnTo>
                      <a:pt x="0" y="5080000"/>
                    </a:lnTo>
                    <a:lnTo>
                      <a:pt x="1460500" y="2540000"/>
                    </a:lnTo>
                    <a:close/>
                  </a:path>
                </a:pathLst>
              </a:custGeom>
              <a:solidFill>
                <a:srgbClr val="0065BD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ＭＳ Ｐゴシック"/>
                  <a:cs typeface="Arial" panose="020B0604020202020204" pitchFamily="34" charset="0"/>
                  <a:sym typeface="Arial"/>
                </a:endParaRPr>
              </a:p>
            </p:txBody>
          </p:sp>
        </p:grpSp>
        <p:grpSp>
          <p:nvGrpSpPr>
            <p:cNvPr id="7" name="Группа 6"/>
            <p:cNvGrpSpPr/>
            <p:nvPr/>
          </p:nvGrpSpPr>
          <p:grpSpPr>
            <a:xfrm>
              <a:off x="5367563" y="172548"/>
              <a:ext cx="6443438" cy="1384875"/>
              <a:chOff x="5367563" y="172548"/>
              <a:chExt cx="6443438" cy="1384875"/>
            </a:xfrm>
          </p:grpSpPr>
          <p:grpSp>
            <p:nvGrpSpPr>
              <p:cNvPr id="90" name="Группа 99">
                <a:extLst>
                  <a:ext uri="{FF2B5EF4-FFF2-40B4-BE49-F238E27FC236}">
                    <a16:creationId xmlns:a16="http://schemas.microsoft.com/office/drawing/2014/main" xmlns="" id="{5A6E5B14-42E7-49CD-8BD8-68D3E398C3C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0800000" flipH="1">
                <a:off x="7859136" y="926394"/>
                <a:ext cx="243337" cy="276179"/>
                <a:chOff x="5050779" y="1141116"/>
                <a:chExt cx="457334" cy="630578"/>
              </a:xfrm>
            </p:grpSpPr>
            <p:sp>
              <p:nvSpPr>
                <p:cNvPr id="91" name="Chevron2">
                  <a:extLst>
                    <a:ext uri="{FF2B5EF4-FFF2-40B4-BE49-F238E27FC236}">
                      <a16:creationId xmlns:a16="http://schemas.microsoft.com/office/drawing/2014/main" xmlns="" id="{A774A691-1701-4FF3-8CE6-C8E3CE32FFB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50779" y="1180282"/>
                  <a:ext cx="243906" cy="55223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984501" h="5080001">
                      <a:moveTo>
                        <a:pt x="0" y="0"/>
                      </a:moveTo>
                      <a:lnTo>
                        <a:pt x="1524000" y="0"/>
                      </a:lnTo>
                      <a:lnTo>
                        <a:pt x="2984500" y="2540000"/>
                      </a:lnTo>
                      <a:lnTo>
                        <a:pt x="1524000" y="5080000"/>
                      </a:lnTo>
                      <a:lnTo>
                        <a:pt x="0" y="5080000"/>
                      </a:lnTo>
                      <a:lnTo>
                        <a:pt x="1460500" y="2540000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/>
                    <a:buNone/>
                    <a:tabLst/>
                    <a:defRPr/>
                  </a:pPr>
                  <a:endParaRPr kumimoji="0" lang="en-US" sz="2133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ＭＳ Ｐゴシック"/>
                    <a:cs typeface="Arial" panose="020B0604020202020204" pitchFamily="34" charset="0"/>
                    <a:sym typeface="Arial"/>
                  </a:endParaRPr>
                </a:p>
              </p:txBody>
            </p:sp>
            <p:sp>
              <p:nvSpPr>
                <p:cNvPr id="92" name="Chevron2">
                  <a:extLst>
                    <a:ext uri="{FF2B5EF4-FFF2-40B4-BE49-F238E27FC236}">
                      <a16:creationId xmlns:a16="http://schemas.microsoft.com/office/drawing/2014/main" xmlns="" id="{E487CAA0-057E-43E5-968C-B4F7D3FFFBA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229907" y="1141116"/>
                  <a:ext cx="278206" cy="63057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984501" h="5080001">
                      <a:moveTo>
                        <a:pt x="0" y="0"/>
                      </a:moveTo>
                      <a:lnTo>
                        <a:pt x="1524000" y="0"/>
                      </a:lnTo>
                      <a:lnTo>
                        <a:pt x="2984500" y="2540000"/>
                      </a:lnTo>
                      <a:lnTo>
                        <a:pt x="1524000" y="5080000"/>
                      </a:lnTo>
                      <a:lnTo>
                        <a:pt x="0" y="5080000"/>
                      </a:lnTo>
                      <a:lnTo>
                        <a:pt x="1460500" y="2540000"/>
                      </a:lnTo>
                      <a:close/>
                    </a:path>
                  </a:pathLst>
                </a:custGeom>
                <a:solidFill>
                  <a:srgbClr val="0065BD"/>
                </a:solidFill>
                <a:ln w="9525" cap="flat" cmpd="sng" algn="ctr">
                  <a:noFill/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/>
                    <a:buNone/>
                    <a:tabLst/>
                    <a:defRPr/>
                  </a:pPr>
                  <a:endParaRPr kumimoji="0" lang="en-US" sz="2133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ＭＳ Ｐゴシック"/>
                    <a:cs typeface="Arial" panose="020B0604020202020204" pitchFamily="34" charset="0"/>
                    <a:sym typeface="Arial"/>
                  </a:endParaRPr>
                </a:p>
              </p:txBody>
            </p:sp>
          </p:grp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xmlns="" id="{A4D69BC8-0C62-444E-84BE-782EFB8C1E47}"/>
                  </a:ext>
                </a:extLst>
              </p:cNvPr>
              <p:cNvSpPr txBox="1"/>
              <p:nvPr/>
            </p:nvSpPr>
            <p:spPr>
              <a:xfrm>
                <a:off x="8148007" y="172548"/>
                <a:ext cx="1354584" cy="126954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kk-KZ" sz="3600" b="1" dirty="0" smtClean="0">
                    <a:solidFill>
                      <a:srgbClr val="00B0F0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560</a:t>
                </a:r>
                <a:r>
                  <a:rPr lang="kk-KZ" sz="6600" b="1" dirty="0" smtClean="0">
                    <a:solidFill>
                      <a:srgbClr val="00B0F0"/>
                    </a:solidFill>
                    <a:latin typeface="Arial Narrow" panose="020B0606020202030204" pitchFamily="34" charset="0"/>
                  </a:rPr>
                  <a:t> </a:t>
                </a:r>
                <a:endParaRPr lang="ru-RU" sz="4400" dirty="0">
                  <a:solidFill>
                    <a:srgbClr val="00B0F0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xmlns="" id="{A4D69BC8-0C62-444E-84BE-782EFB8C1E47}"/>
                  </a:ext>
                </a:extLst>
              </p:cNvPr>
              <p:cNvSpPr txBox="1"/>
              <p:nvPr/>
            </p:nvSpPr>
            <p:spPr>
              <a:xfrm>
                <a:off x="9886531" y="608050"/>
                <a:ext cx="1924470" cy="74056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ru-RU" sz="3600" b="1" dirty="0" smtClean="0">
                    <a:solidFill>
                      <a:srgbClr val="00B050"/>
                    </a:solidFill>
                    <a:latin typeface="Arial Narrow" panose="020B0606020202030204" pitchFamily="34" charset="0"/>
                  </a:rPr>
                  <a:t>3 раза</a:t>
                </a:r>
                <a:endParaRPr lang="ru-RU" sz="3600" b="1" dirty="0">
                  <a:solidFill>
                    <a:srgbClr val="00B050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109" name="Прямоугольник 108"/>
              <p:cNvSpPr/>
              <p:nvPr/>
            </p:nvSpPr>
            <p:spPr>
              <a:xfrm>
                <a:off x="8167924" y="887387"/>
                <a:ext cx="1311578" cy="6700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3200" b="1" dirty="0">
                    <a:solidFill>
                      <a:srgbClr val="00B0F0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 </a:t>
                </a:r>
                <a:r>
                  <a:rPr lang="kk-KZ" b="1" dirty="0" smtClean="0">
                    <a:solidFill>
                      <a:srgbClr val="00B0F0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мың тонна</a:t>
                </a:r>
                <a:endParaRPr lang="en-US" b="1" dirty="0">
                  <a:solidFill>
                    <a:srgbClr val="00B0F0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Прямоугольник 109"/>
              <p:cNvSpPr/>
              <p:nvPr/>
            </p:nvSpPr>
            <p:spPr>
              <a:xfrm>
                <a:off x="5367563" y="554419"/>
                <a:ext cx="2430165" cy="95215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2800" b="1" dirty="0">
                    <a:latin typeface="Arial Narrow" panose="020B0606020202030204" pitchFamily="34" charset="0"/>
                  </a:rPr>
                  <a:t>2022</a:t>
                </a:r>
                <a:r>
                  <a:rPr lang="ru-RU" sz="2000" b="1" dirty="0">
                    <a:latin typeface="Arial Narrow" panose="020B0606020202030204" pitchFamily="34" charset="0"/>
                  </a:rPr>
                  <a:t> </a:t>
                </a:r>
                <a:r>
                  <a:rPr lang="ru-RU" sz="2000" b="1" dirty="0" err="1" smtClean="0">
                    <a:latin typeface="Arial Narrow" panose="020B0606020202030204" pitchFamily="34" charset="0"/>
                  </a:rPr>
                  <a:t>жылға</a:t>
                </a:r>
                <a:endParaRPr lang="en-US" sz="2000" b="1" dirty="0" smtClean="0">
                  <a:latin typeface="Arial Narrow" panose="020B0606020202030204" pitchFamily="34" charset="0"/>
                </a:endParaRPr>
              </a:p>
              <a:p>
                <a:pPr algn="ctr"/>
                <a:r>
                  <a:rPr lang="ru-RU" sz="2000" b="1" dirty="0" smtClean="0">
                    <a:latin typeface="Arial Narrow" panose="020B0606020202030204" pitchFamily="34" charset="0"/>
                  </a:rPr>
                  <a:t> </a:t>
                </a:r>
                <a:r>
                  <a:rPr lang="ru-RU" sz="2000" b="1" dirty="0" err="1">
                    <a:latin typeface="Arial Narrow" panose="020B0606020202030204" pitchFamily="34" charset="0"/>
                  </a:rPr>
                  <a:t>арналған</a:t>
                </a:r>
                <a:r>
                  <a:rPr lang="ru-RU" sz="2000" b="1" dirty="0">
                    <a:latin typeface="Arial Narrow" panose="020B0606020202030204" pitchFamily="34" charset="0"/>
                  </a:rPr>
                  <a:t> </a:t>
                </a:r>
                <a:r>
                  <a:rPr lang="ru-RU" sz="2000" b="1" dirty="0" err="1">
                    <a:latin typeface="Arial Narrow" panose="020B0606020202030204" pitchFamily="34" charset="0"/>
                  </a:rPr>
                  <a:t>жоспар</a:t>
                </a:r>
                <a:endParaRPr lang="ru-RU" sz="20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</p:grpSp>
      </p:grpSp>
      <p:grpSp>
        <p:nvGrpSpPr>
          <p:cNvPr id="8" name="Группа 7"/>
          <p:cNvGrpSpPr/>
          <p:nvPr/>
        </p:nvGrpSpPr>
        <p:grpSpPr>
          <a:xfrm>
            <a:off x="7011165" y="5627633"/>
            <a:ext cx="4869928" cy="1172022"/>
            <a:chOff x="6883401" y="5362576"/>
            <a:chExt cx="4869928" cy="1317003"/>
          </a:xfrm>
        </p:grpSpPr>
        <p:cxnSp>
          <p:nvCxnSpPr>
            <p:cNvPr id="111" name="Straight Connector 52">
              <a:extLst>
                <a:ext uri="{FF2B5EF4-FFF2-40B4-BE49-F238E27FC236}">
                  <a16:creationId xmlns:a16="http://schemas.microsoft.com/office/drawing/2014/main" xmlns="" id="{48622CB2-0F3E-4CEA-BFC9-7BE178CD3D9A}"/>
                </a:ext>
              </a:extLst>
            </p:cNvPr>
            <p:cNvCxnSpPr/>
            <p:nvPr/>
          </p:nvCxnSpPr>
          <p:spPr>
            <a:xfrm>
              <a:off x="6883401" y="5443510"/>
              <a:ext cx="0" cy="1141599"/>
            </a:xfrm>
            <a:prstGeom prst="line">
              <a:avLst/>
            </a:prstGeom>
            <a:ln>
              <a:solidFill>
                <a:srgbClr val="30353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3" name="Группа 112"/>
            <p:cNvGrpSpPr/>
            <p:nvPr/>
          </p:nvGrpSpPr>
          <p:grpSpPr>
            <a:xfrm>
              <a:off x="7954426" y="5419978"/>
              <a:ext cx="1608100" cy="1259601"/>
              <a:chOff x="7431424" y="5051150"/>
              <a:chExt cx="1680243" cy="898566"/>
            </a:xfrm>
          </p:grpSpPr>
          <p:sp>
            <p:nvSpPr>
              <p:cNvPr id="115" name="Прямоугольник 114"/>
              <p:cNvSpPr/>
              <p:nvPr/>
            </p:nvSpPr>
            <p:spPr>
              <a:xfrm>
                <a:off x="7663865" y="5051150"/>
                <a:ext cx="1447802" cy="6167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4400" b="1" dirty="0" smtClean="0">
                    <a:solidFill>
                      <a:schemeClr val="tx1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2,0</a:t>
                </a:r>
                <a:endParaRPr lang="ru-RU" sz="4400" b="1" dirty="0">
                  <a:solidFill>
                    <a:schemeClr val="tx1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6" name="Прямоугольник 115"/>
              <p:cNvSpPr/>
              <p:nvPr/>
            </p:nvSpPr>
            <p:spPr>
              <a:xfrm>
                <a:off x="7431424" y="5332917"/>
                <a:ext cx="1509435" cy="6167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4400" b="1" dirty="0">
                    <a:solidFill>
                      <a:schemeClr val="tx1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2000" b="1" dirty="0">
                    <a:solidFill>
                      <a:schemeClr val="tx1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млн. </a:t>
                </a:r>
                <a:r>
                  <a:rPr lang="ru-RU" sz="2000" b="1" dirty="0" smtClean="0">
                    <a:solidFill>
                      <a:schemeClr val="tx1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тонна</a:t>
                </a:r>
                <a:endParaRPr lang="en-US" sz="2000" b="1" dirty="0">
                  <a:solidFill>
                    <a:schemeClr val="tx1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118" name="Picture 5" descr="C:\Users\kissanova_m\Desktop\2451468.png">
              <a:extLst>
                <a:ext uri="{FF2B5EF4-FFF2-40B4-BE49-F238E27FC236}">
                  <a16:creationId xmlns:a16="http://schemas.microsoft.com/office/drawing/2014/main" xmlns="" id="{B07D3EC3-8484-4742-A971-F450017013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3331" y="5570327"/>
              <a:ext cx="760314" cy="862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9" name="Рисунок 118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46520" y="5570327"/>
              <a:ext cx="699826" cy="843332"/>
            </a:xfrm>
            <a:prstGeom prst="rect">
              <a:avLst/>
            </a:prstGeom>
            <a:noFill/>
          </p:spPr>
        </p:pic>
        <p:grpSp>
          <p:nvGrpSpPr>
            <p:cNvPr id="120" name="Группа 119"/>
            <p:cNvGrpSpPr/>
            <p:nvPr/>
          </p:nvGrpSpPr>
          <p:grpSpPr>
            <a:xfrm>
              <a:off x="10276468" y="5362576"/>
              <a:ext cx="1476861" cy="1202516"/>
              <a:chOff x="7446910" y="5051149"/>
              <a:chExt cx="1543113" cy="857843"/>
            </a:xfrm>
          </p:grpSpPr>
          <p:sp>
            <p:nvSpPr>
              <p:cNvPr id="121" name="Прямоугольник 120"/>
              <p:cNvSpPr/>
              <p:nvPr/>
            </p:nvSpPr>
            <p:spPr>
              <a:xfrm>
                <a:off x="7542222" y="5051149"/>
                <a:ext cx="1447801" cy="6167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4400" b="1" dirty="0" smtClean="0">
                    <a:solidFill>
                      <a:schemeClr val="tx1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1 358</a:t>
                </a:r>
                <a:endParaRPr lang="ru-RU" sz="4400" b="1" dirty="0">
                  <a:solidFill>
                    <a:schemeClr val="tx1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Прямоугольник 121"/>
              <p:cNvSpPr/>
              <p:nvPr/>
            </p:nvSpPr>
            <p:spPr>
              <a:xfrm>
                <a:off x="7446910" y="5292193"/>
                <a:ext cx="1492683" cy="6167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4400" b="1" dirty="0" smtClean="0">
                    <a:solidFill>
                      <a:schemeClr val="tx1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2000" b="1" dirty="0" smtClean="0">
                    <a:solidFill>
                      <a:schemeClr val="tx1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млн. </a:t>
                </a:r>
                <a:r>
                  <a:rPr lang="ru-RU" sz="2000" b="1" dirty="0" smtClean="0">
                    <a:latin typeface="Arial Narrow" panose="020B0606020202030204" pitchFamily="34" charset="0"/>
                    <a:cs typeface="Arial" panose="020B0604020202020204" pitchFamily="34" charset="0"/>
                  </a:rPr>
                  <a:t>долл.</a:t>
                </a:r>
                <a:endParaRPr lang="en-US" sz="2000" b="1" dirty="0">
                  <a:solidFill>
                    <a:schemeClr val="tx1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23" name="Straight Connector 52">
              <a:extLst>
                <a:ext uri="{FF2B5EF4-FFF2-40B4-BE49-F238E27FC236}">
                  <a16:creationId xmlns:a16="http://schemas.microsoft.com/office/drawing/2014/main" xmlns="" id="{48622CB2-0F3E-4CEA-BFC9-7BE178CD3D9A}"/>
                </a:ext>
              </a:extLst>
            </p:cNvPr>
            <p:cNvCxnSpPr/>
            <p:nvPr/>
          </p:nvCxnSpPr>
          <p:spPr>
            <a:xfrm>
              <a:off x="9320150" y="5456850"/>
              <a:ext cx="0" cy="1141599"/>
            </a:xfrm>
            <a:prstGeom prst="line">
              <a:avLst/>
            </a:prstGeom>
            <a:ln>
              <a:solidFill>
                <a:srgbClr val="30353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Прямоугольник 9"/>
          <p:cNvSpPr/>
          <p:nvPr/>
        </p:nvSpPr>
        <p:spPr>
          <a:xfrm>
            <a:off x="10226565" y="5070886"/>
            <a:ext cx="16545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>
              <a:defRPr/>
            </a:pPr>
            <a:r>
              <a:rPr lang="kk-KZ" sz="14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rPr>
              <a:t>2022 жылғы</a:t>
            </a:r>
          </a:p>
          <a:p>
            <a:pPr algn="ctr" eaLnBrk="0">
              <a:defRPr/>
            </a:pPr>
            <a:r>
              <a:rPr lang="kk-KZ" sz="14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rPr>
              <a:t>НКИ</a:t>
            </a:r>
            <a:endParaRPr lang="ru-RU" sz="1400" b="1" dirty="0">
              <a:solidFill>
                <a:prstClr val="black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cxnSp>
        <p:nvCxnSpPr>
          <p:cNvPr id="93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5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0033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11324784" y="113073"/>
            <a:ext cx="891251" cy="365125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ru-RU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</a:t>
            </a:r>
          </a:p>
        </p:txBody>
      </p:sp>
    </p:spTree>
    <p:extLst>
      <p:ext uri="{BB962C8B-B14F-4D97-AF65-F5344CB8AC3E}">
        <p14:creationId xmlns:p14="http://schemas.microsoft.com/office/powerpoint/2010/main" val="2492843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-116680" y="1133706"/>
            <a:ext cx="355728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384761"/>
            <a:r>
              <a:rPr lang="kk-KZ" altLang="ru-RU" sz="2000" b="1" dirty="0" smtClean="0"/>
              <a:t>ПОЛИПРОПИЛЕН </a:t>
            </a:r>
            <a:endParaRPr lang="kk-KZ" altLang="ru-RU" sz="2000" b="1" dirty="0"/>
          </a:p>
          <a:p>
            <a:pPr algn="ctr" defTabSz="1384761"/>
            <a:r>
              <a:rPr lang="kk-KZ" altLang="ru-RU" sz="2000" b="1" dirty="0"/>
              <a:t>ӨНДІРІСІ</a:t>
            </a:r>
          </a:p>
        </p:txBody>
      </p:sp>
      <p:sp>
        <p:nvSpPr>
          <p:cNvPr id="11" name="Скругленный прямоугольник 69">
            <a:extLst>
              <a:ext uri="{FF2B5EF4-FFF2-40B4-BE49-F238E27FC236}">
                <a16:creationId xmlns:a16="http://schemas.microsoft.com/office/drawing/2014/main" xmlns="" id="{8F7A2FAB-5DAD-449F-B79B-F168675BE123}"/>
              </a:ext>
            </a:extLst>
          </p:cNvPr>
          <p:cNvSpPr/>
          <p:nvPr/>
        </p:nvSpPr>
        <p:spPr>
          <a:xfrm>
            <a:off x="3654581" y="2394948"/>
            <a:ext cx="2100672" cy="518640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899" tIns="38949" rIns="77899" bIns="38949" rtlCol="0" anchor="ctr"/>
          <a:lstStyle/>
          <a:p>
            <a:pPr defTabSz="914377">
              <a:defRPr/>
            </a:pPr>
            <a:r>
              <a:rPr lang="ru-RU" sz="3200" b="1" dirty="0">
                <a:solidFill>
                  <a:srgbClr val="00B050"/>
                </a:solidFill>
                <a:cs typeface="Arial" panose="020B0604020202020204" pitchFamily="34" charset="0"/>
              </a:rPr>
              <a:t>5</a:t>
            </a:r>
            <a:r>
              <a:rPr lang="en-US" sz="3200" b="1" dirty="0" smtClean="0">
                <a:solidFill>
                  <a:srgbClr val="00B050"/>
                </a:solidFill>
                <a:cs typeface="Arial" panose="020B0604020202020204" pitchFamily="34" charset="0"/>
              </a:rPr>
              <a:t>00</a:t>
            </a:r>
            <a:r>
              <a:rPr lang="ru-RU" sz="3200" b="1" dirty="0" smtClean="0">
                <a:solidFill>
                  <a:srgbClr val="00B050"/>
                </a:solidFill>
                <a:cs typeface="Arial" panose="020B0604020202020204" pitchFamily="34" charset="0"/>
              </a:rPr>
              <a:t> </a:t>
            </a:r>
            <a:r>
              <a:rPr lang="kk-KZ" sz="1050" b="1" dirty="0">
                <a:solidFill>
                  <a:schemeClr val="tx1"/>
                </a:solidFill>
                <a:cs typeface="Arial" panose="020B0604020202020204" pitchFamily="34" charset="0"/>
              </a:rPr>
              <a:t>мың </a:t>
            </a:r>
            <a:r>
              <a:rPr lang="kk-KZ" sz="900" b="1" dirty="0">
                <a:solidFill>
                  <a:schemeClr val="tx1"/>
                </a:solidFill>
                <a:cs typeface="Arial" panose="020B0604020202020204" pitchFamily="34" charset="0"/>
              </a:rPr>
              <a:t>тонна/жыл</a:t>
            </a:r>
            <a:r>
              <a:rPr lang="kk-KZ" sz="1050" b="1" dirty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r>
              <a:rPr lang="en-US" sz="1050" b="1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endParaRPr lang="ru-RU" sz="28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632060" y="1806864"/>
            <a:ext cx="255298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384795"/>
            <a:r>
              <a:rPr lang="en-US" altLang="ru-RU" sz="3200" b="1" dirty="0">
                <a:solidFill>
                  <a:srgbClr val="00B050"/>
                </a:solidFill>
              </a:rPr>
              <a:t>$</a:t>
            </a:r>
            <a:r>
              <a:rPr lang="ru-RU" altLang="ru-RU" sz="3200" b="1" dirty="0">
                <a:solidFill>
                  <a:srgbClr val="00B050"/>
                </a:solidFill>
              </a:rPr>
              <a:t>2,6 </a:t>
            </a:r>
            <a:r>
              <a:rPr lang="ru-RU" altLang="ru-RU" sz="1050" b="1" dirty="0"/>
              <a:t>млрд.</a:t>
            </a:r>
            <a:endParaRPr lang="ru-RU" altLang="ru-RU" sz="1600" b="1" dirty="0"/>
          </a:p>
        </p:txBody>
      </p:sp>
      <p:pic>
        <p:nvPicPr>
          <p:cNvPr id="18" name="Picture 8" descr="Компьютер Иконки Галочка Галочка, метка круга, угол, текст png | PNGEgg">
            <a:extLst>
              <a:ext uri="{FF2B5EF4-FFF2-40B4-BE49-F238E27FC236}">
                <a16:creationId xmlns:a16="http://schemas.microsoft.com/office/drawing/2014/main" xmlns="" id="{DAE88FD1-6E93-4E40-AEA9-59EE5777E6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10000" r="90000">
                        <a14:foregroundMark x1="59667" y1="44922" x2="59667" y2="4492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824" r="17365"/>
          <a:stretch/>
        </p:blipFill>
        <p:spPr bwMode="auto">
          <a:xfrm>
            <a:off x="3189554" y="2985912"/>
            <a:ext cx="429789" cy="383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145" y="1814692"/>
            <a:ext cx="2722456" cy="1814939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sp>
        <p:nvSpPr>
          <p:cNvPr id="20" name="Прямоугольник 19"/>
          <p:cNvSpPr/>
          <p:nvPr/>
        </p:nvSpPr>
        <p:spPr>
          <a:xfrm>
            <a:off x="3654581" y="2963700"/>
            <a:ext cx="210532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84761"/>
            <a:r>
              <a:rPr lang="kk-KZ" sz="2000" b="1" dirty="0">
                <a:solidFill>
                  <a:srgbClr val="00B050"/>
                </a:solidFill>
              </a:rPr>
              <a:t>ҚМЖ АЯҚТАЛДЫ</a:t>
            </a:r>
            <a:endParaRPr lang="ru-RU" sz="2000" b="1" dirty="0">
              <a:solidFill>
                <a:srgbClr val="00B050"/>
              </a:solidFill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9889" y="2391639"/>
            <a:ext cx="444692" cy="425308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3728954" y="3428145"/>
            <a:ext cx="163217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84761"/>
            <a:r>
              <a:rPr lang="kk-KZ" sz="1000" b="1" dirty="0"/>
              <a:t>ІСКЕ ҚОСУ-ЖӨНДЕУ </a:t>
            </a:r>
            <a:endParaRPr lang="kk-KZ" sz="1000" b="1" dirty="0" smtClean="0"/>
          </a:p>
          <a:p>
            <a:pPr defTabSz="1384761"/>
            <a:r>
              <a:rPr lang="kk-KZ" sz="900" b="1" dirty="0" smtClean="0"/>
              <a:t>ЖҰМЫСТАРЫ</a:t>
            </a:r>
            <a:r>
              <a:rPr lang="kk-KZ" sz="1000" b="1" dirty="0" smtClean="0"/>
              <a:t> </a:t>
            </a:r>
            <a:r>
              <a:rPr lang="kk-KZ" sz="1000" b="1" dirty="0"/>
              <a:t>ЖҮРГІЗІЛУДЕ</a:t>
            </a:r>
            <a:endParaRPr lang="ru-RU" sz="200" i="1" dirty="0"/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287446" y="3926409"/>
            <a:ext cx="11843558" cy="5526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6472346" y="1042744"/>
            <a:ext cx="2454726" cy="779638"/>
          </a:xfrm>
          <a:prstGeom prst="rect">
            <a:avLst/>
          </a:prstGeom>
        </p:spPr>
        <p:txBody>
          <a:bodyPr wrap="square" lIns="162500" tIns="81249" rIns="162500" bIns="81249">
            <a:spAutoFit/>
          </a:bodyPr>
          <a:lstStyle/>
          <a:p>
            <a:pPr defTabSz="1384345">
              <a:spcBef>
                <a:spcPct val="0"/>
              </a:spcBef>
            </a:pPr>
            <a:r>
              <a:rPr lang="kk-KZ" altLang="ru-RU" sz="2000" b="1" dirty="0"/>
              <a:t>ПОЛИЭТИЛЕН ЖОБАСЫ 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9261754" y="1642806"/>
            <a:ext cx="3447623" cy="441084"/>
          </a:xfrm>
          <a:prstGeom prst="rect">
            <a:avLst/>
          </a:prstGeom>
        </p:spPr>
        <p:txBody>
          <a:bodyPr wrap="square" lIns="162500" tIns="81249" rIns="162500" bIns="81249">
            <a:spAutoFit/>
          </a:bodyPr>
          <a:lstStyle/>
          <a:p>
            <a:pPr algn="just" defTabSz="1384345">
              <a:spcBef>
                <a:spcPct val="0"/>
              </a:spcBef>
            </a:pPr>
            <a:r>
              <a:rPr lang="ru-RU" altLang="ru-RU" b="1" dirty="0"/>
              <a:t>«</a:t>
            </a:r>
            <a:r>
              <a:rPr lang="en-US" altLang="ru-RU" b="1" dirty="0"/>
              <a:t>KLPE</a:t>
            </a:r>
            <a:r>
              <a:rPr lang="ru-RU" altLang="ru-RU" b="1" dirty="0"/>
              <a:t>» ЖШС</a:t>
            </a: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192" y="1777234"/>
            <a:ext cx="2762610" cy="1855729"/>
          </a:xfrm>
          <a:prstGeom prst="rect">
            <a:avLst/>
          </a:prstGeom>
          <a:ln w="12700">
            <a:solidFill>
              <a:schemeClr val="tx1"/>
            </a:solidFill>
          </a:ln>
          <a:effectLst/>
        </p:spPr>
      </p:pic>
      <p:sp>
        <p:nvSpPr>
          <p:cNvPr id="27" name="Прямоугольник 26"/>
          <p:cNvSpPr/>
          <p:nvPr/>
        </p:nvSpPr>
        <p:spPr>
          <a:xfrm>
            <a:off x="5742197" y="4146743"/>
            <a:ext cx="4142599" cy="471861"/>
          </a:xfrm>
          <a:prstGeom prst="rect">
            <a:avLst/>
          </a:prstGeom>
        </p:spPr>
        <p:txBody>
          <a:bodyPr wrap="square" lIns="162500" tIns="81249" rIns="162500" bIns="81249">
            <a:spAutoFit/>
          </a:bodyPr>
          <a:lstStyle/>
          <a:p>
            <a:pPr algn="ctr" defTabSz="1384345">
              <a:spcBef>
                <a:spcPct val="0"/>
              </a:spcBef>
            </a:pPr>
            <a:r>
              <a:rPr lang="kk-KZ" altLang="ru-RU" sz="2000" b="1" dirty="0" smtClean="0"/>
              <a:t>БУТАДИЕН ЖОБАСЫ</a:t>
            </a:r>
            <a:endParaRPr lang="kk-KZ" altLang="ru-RU" sz="2000" b="1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9194801" y="4478006"/>
            <a:ext cx="3419799" cy="441084"/>
          </a:xfrm>
          <a:prstGeom prst="rect">
            <a:avLst/>
          </a:prstGeom>
        </p:spPr>
        <p:txBody>
          <a:bodyPr wrap="square" lIns="162500" tIns="81249" rIns="162500" bIns="81249">
            <a:spAutoFit/>
          </a:bodyPr>
          <a:lstStyle/>
          <a:p>
            <a:pPr algn="just" defTabSz="1384345">
              <a:spcBef>
                <a:spcPct val="0"/>
              </a:spcBef>
            </a:pPr>
            <a:r>
              <a:rPr lang="ru-RU" altLang="ru-RU" b="1" dirty="0"/>
              <a:t>«Бутадиен» ЖШС</a:t>
            </a:r>
          </a:p>
        </p:txBody>
      </p:sp>
      <p:pic>
        <p:nvPicPr>
          <p:cNvPr id="29" name="Picture 14" descr="C:\Users\koshen_g\Desktop\ТРЕНИНГ\img_140115_042628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2345" y="4578722"/>
            <a:ext cx="2722456" cy="1939941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Прямоугольник 29"/>
          <p:cNvSpPr/>
          <p:nvPr/>
        </p:nvSpPr>
        <p:spPr>
          <a:xfrm>
            <a:off x="9909912" y="1956731"/>
            <a:ext cx="141006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defTabSz="1384795"/>
            <a:r>
              <a:rPr lang="en-US" altLang="ru-RU" sz="3200" b="1" dirty="0">
                <a:solidFill>
                  <a:srgbClr val="00B050"/>
                </a:solidFill>
              </a:rPr>
              <a:t>$</a:t>
            </a:r>
            <a:r>
              <a:rPr lang="ru-RU" altLang="ru-RU" sz="3200" b="1" dirty="0">
                <a:solidFill>
                  <a:srgbClr val="00B050"/>
                </a:solidFill>
              </a:rPr>
              <a:t>7,6 </a:t>
            </a:r>
            <a:r>
              <a:rPr lang="ru-RU" altLang="ru-RU" sz="1200" b="1" dirty="0"/>
              <a:t>млрд.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0048924" y="2483917"/>
            <a:ext cx="3837348" cy="502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84795"/>
            <a:r>
              <a:rPr lang="ru-RU" altLang="ru-RU" sz="2667" b="1" dirty="0">
                <a:solidFill>
                  <a:srgbClr val="00B050"/>
                </a:solidFill>
              </a:rPr>
              <a:t>1250</a:t>
            </a:r>
            <a:r>
              <a:rPr lang="ru-RU" altLang="ru-RU" sz="1867" b="1" dirty="0"/>
              <a:t> </a:t>
            </a:r>
            <a:r>
              <a:rPr lang="ru-RU" altLang="ru-RU" sz="1000" b="1" dirty="0" err="1"/>
              <a:t>мың</a:t>
            </a:r>
            <a:r>
              <a:rPr lang="ru-RU" altLang="ru-RU" sz="1000" b="1" dirty="0"/>
              <a:t> тонна/</a:t>
            </a:r>
            <a:r>
              <a:rPr lang="ru-RU" altLang="ru-RU" sz="1000" b="1" dirty="0" err="1"/>
              <a:t>жыл</a:t>
            </a:r>
            <a:endParaRPr lang="ru-RU" sz="1000" b="1" dirty="0"/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337" y="2502967"/>
            <a:ext cx="444692" cy="404261"/>
          </a:xfrm>
          <a:prstGeom prst="rect">
            <a:avLst/>
          </a:prstGeom>
        </p:spPr>
      </p:pic>
      <p:pic>
        <p:nvPicPr>
          <p:cNvPr id="33" name="Google Shape;403;g8dd1064e09_1_0"/>
          <p:cNvPicPr preferRelativeResize="0"/>
          <p:nvPr/>
        </p:nvPicPr>
        <p:blipFill rotWithShape="1">
          <a:blip r:embed="rId9">
            <a:biLevel thresh="75000"/>
          </a:blip>
          <a:srcRect/>
          <a:stretch/>
        </p:blipFill>
        <p:spPr>
          <a:xfrm>
            <a:off x="9379015" y="3067096"/>
            <a:ext cx="567599" cy="536449"/>
          </a:xfrm>
          <a:prstGeom prst="rect">
            <a:avLst/>
          </a:prstGeom>
        </p:spPr>
      </p:pic>
      <p:sp>
        <p:nvSpPr>
          <p:cNvPr id="34" name="Прямоугольник 33"/>
          <p:cNvSpPr/>
          <p:nvPr/>
        </p:nvSpPr>
        <p:spPr>
          <a:xfrm>
            <a:off x="10054762" y="3085130"/>
            <a:ext cx="3837348" cy="502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84795"/>
            <a:r>
              <a:rPr lang="ru-RU" altLang="ru-RU" sz="2667" b="1" dirty="0">
                <a:solidFill>
                  <a:srgbClr val="00B050"/>
                </a:solidFill>
              </a:rPr>
              <a:t>2023-2027</a:t>
            </a:r>
            <a:r>
              <a:rPr lang="ru-RU" altLang="ru-RU" sz="1867" b="1" dirty="0"/>
              <a:t> </a:t>
            </a:r>
            <a:r>
              <a:rPr lang="ru-RU" altLang="ru-RU" sz="1200" b="1" dirty="0" err="1"/>
              <a:t>жж</a:t>
            </a:r>
            <a:r>
              <a:rPr lang="ru-RU" altLang="ru-RU" sz="1067" b="1" dirty="0"/>
              <a:t>.</a:t>
            </a:r>
            <a:endParaRPr lang="ru-RU" sz="1067" b="1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9698988" y="4838039"/>
            <a:ext cx="141006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defTabSz="1384795"/>
            <a:r>
              <a:rPr lang="en-US" altLang="ru-RU" sz="3200" b="1" dirty="0">
                <a:solidFill>
                  <a:srgbClr val="00B050"/>
                </a:solidFill>
              </a:rPr>
              <a:t>$</a:t>
            </a:r>
            <a:r>
              <a:rPr lang="ru-RU" altLang="ru-RU" sz="3200" b="1" dirty="0">
                <a:solidFill>
                  <a:srgbClr val="00B050"/>
                </a:solidFill>
              </a:rPr>
              <a:t>1,0 </a:t>
            </a:r>
            <a:r>
              <a:rPr lang="ru-RU" altLang="ru-RU" sz="1200" b="1" dirty="0"/>
              <a:t>млрд.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9865559" y="5324848"/>
            <a:ext cx="3837348" cy="502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84795"/>
            <a:r>
              <a:rPr lang="ru-RU" altLang="ru-RU" sz="2667" b="1" dirty="0">
                <a:solidFill>
                  <a:srgbClr val="00B050"/>
                </a:solidFill>
              </a:rPr>
              <a:t>186</a:t>
            </a:r>
            <a:r>
              <a:rPr lang="ru-RU" altLang="ru-RU" sz="1867" b="1" dirty="0"/>
              <a:t> </a:t>
            </a:r>
            <a:r>
              <a:rPr lang="ru-RU" altLang="ru-RU" sz="933" b="1" dirty="0"/>
              <a:t> </a:t>
            </a:r>
            <a:r>
              <a:rPr lang="ru-RU" altLang="ru-RU" sz="933" b="1" dirty="0" err="1"/>
              <a:t>мың</a:t>
            </a:r>
            <a:r>
              <a:rPr lang="ru-RU" altLang="ru-RU" sz="933" b="1" dirty="0"/>
              <a:t> тонна/</a:t>
            </a:r>
            <a:r>
              <a:rPr lang="ru-RU" altLang="ru-RU" sz="933" b="1" dirty="0" err="1"/>
              <a:t>жыл</a:t>
            </a:r>
            <a:endParaRPr lang="ru-RU" sz="933" b="1" dirty="0"/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1465" y="5370915"/>
            <a:ext cx="444692" cy="404261"/>
          </a:xfrm>
          <a:prstGeom prst="rect">
            <a:avLst/>
          </a:prstGeom>
        </p:spPr>
      </p:pic>
      <p:pic>
        <p:nvPicPr>
          <p:cNvPr id="38" name="Google Shape;403;g8dd1064e09_1_0"/>
          <p:cNvPicPr preferRelativeResize="0"/>
          <p:nvPr/>
        </p:nvPicPr>
        <p:blipFill rotWithShape="1">
          <a:blip r:embed="rId9">
            <a:biLevel thresh="75000"/>
          </a:blip>
          <a:srcRect/>
          <a:stretch/>
        </p:blipFill>
        <p:spPr>
          <a:xfrm>
            <a:off x="9290010" y="5905410"/>
            <a:ext cx="567599" cy="536449"/>
          </a:xfrm>
          <a:prstGeom prst="rect">
            <a:avLst/>
          </a:prstGeom>
        </p:spPr>
      </p:pic>
      <p:sp>
        <p:nvSpPr>
          <p:cNvPr id="39" name="Прямоугольник 38"/>
          <p:cNvSpPr/>
          <p:nvPr/>
        </p:nvSpPr>
        <p:spPr>
          <a:xfrm>
            <a:off x="9865559" y="5896428"/>
            <a:ext cx="3837348" cy="502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84795"/>
            <a:r>
              <a:rPr lang="ru-RU" altLang="ru-RU" sz="2667" b="1" dirty="0">
                <a:solidFill>
                  <a:srgbClr val="00B050"/>
                </a:solidFill>
              </a:rPr>
              <a:t>2023-2026</a:t>
            </a:r>
            <a:r>
              <a:rPr lang="ru-RU" altLang="ru-RU" sz="1867" b="1" dirty="0"/>
              <a:t> </a:t>
            </a:r>
            <a:r>
              <a:rPr lang="ru-RU" altLang="ru-RU" sz="1067" b="1" dirty="0" err="1"/>
              <a:t>жж</a:t>
            </a:r>
            <a:r>
              <a:rPr lang="ru-RU" altLang="ru-RU" sz="1067" b="1" dirty="0"/>
              <a:t>.</a:t>
            </a:r>
            <a:endParaRPr lang="ru-RU" sz="1067" b="1" dirty="0"/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 flipV="1">
            <a:off x="5827771" y="1079664"/>
            <a:ext cx="0" cy="554018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Рисунок 40"/>
          <p:cNvPicPr>
            <a:picLocks noChangeAspect="1"/>
          </p:cNvPicPr>
          <p:nvPr/>
        </p:nvPicPr>
        <p:blipFill>
          <a:blip r:embed="rId10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6857" y="1902732"/>
            <a:ext cx="392515" cy="305313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10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1668" y="2099265"/>
            <a:ext cx="392515" cy="305313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10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671" y="4943510"/>
            <a:ext cx="392515" cy="305313"/>
          </a:xfrm>
          <a:prstGeom prst="rect">
            <a:avLst/>
          </a:prstGeom>
        </p:spPr>
      </p:pic>
      <p:pic>
        <p:nvPicPr>
          <p:cNvPr id="44" name="Picture 2" descr="http://rupec.ru/upload/cache_files_resize/e5eeb6f9d4ff27ce5c84196e5f1716fdc73c9bff/3db548575d7c874aaad2b69be5c040e3_580_388_5_80.jpe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297" y="4618604"/>
            <a:ext cx="2720057" cy="183986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</p:pic>
      <p:sp>
        <p:nvSpPr>
          <p:cNvPr id="45" name="Прямоугольник 44"/>
          <p:cNvSpPr/>
          <p:nvPr/>
        </p:nvSpPr>
        <p:spPr>
          <a:xfrm>
            <a:off x="-316877" y="3923590"/>
            <a:ext cx="4105233" cy="553951"/>
          </a:xfrm>
          <a:prstGeom prst="rect">
            <a:avLst/>
          </a:prstGeom>
        </p:spPr>
        <p:txBody>
          <a:bodyPr wrap="square" lIns="121875" tIns="60937" rIns="121875" bIns="60937">
            <a:spAutoFit/>
          </a:bodyPr>
          <a:lstStyle/>
          <a:p>
            <a:pPr algn="ctr" defTabSz="1038285">
              <a:spcBef>
                <a:spcPct val="0"/>
              </a:spcBef>
            </a:pPr>
            <a:r>
              <a:rPr lang="kk-KZ" altLang="ru-RU" sz="1400" b="1" dirty="0"/>
              <a:t>ТЕРЕФТАЛЬ ҚЫШҚЫЛЫ (</a:t>
            </a:r>
            <a:r>
              <a:rPr lang="kk-KZ" altLang="ru-RU" sz="1400" b="1" dirty="0" smtClean="0"/>
              <a:t>ТФҚ) </a:t>
            </a:r>
            <a:r>
              <a:rPr lang="kk-KZ" altLang="ru-RU" sz="1400" b="1" dirty="0"/>
              <a:t>ЖӘНЕ ПОЛИЭТИЛЕНТЕРЕФТАЛАТ (</a:t>
            </a:r>
            <a:r>
              <a:rPr lang="kk-KZ" altLang="ru-RU" sz="1400" b="1"/>
              <a:t>ПЭТФ</a:t>
            </a:r>
            <a:r>
              <a:rPr lang="kk-KZ" altLang="ru-RU" sz="1400" b="1" smtClean="0"/>
              <a:t>) ЖОБАСЫ</a:t>
            </a:r>
            <a:endParaRPr lang="kk-KZ" altLang="ru-RU" sz="1400" b="1" dirty="0"/>
          </a:p>
        </p:txBody>
      </p:sp>
      <p:sp>
        <p:nvSpPr>
          <p:cNvPr id="46" name="Прямоугольник 45"/>
          <p:cNvSpPr/>
          <p:nvPr/>
        </p:nvSpPr>
        <p:spPr>
          <a:xfrm>
            <a:off x="3082941" y="4509977"/>
            <a:ext cx="3035953" cy="338508"/>
          </a:xfrm>
          <a:prstGeom prst="rect">
            <a:avLst/>
          </a:prstGeom>
        </p:spPr>
        <p:txBody>
          <a:bodyPr wrap="square" lIns="121875" tIns="60937" rIns="121875" bIns="60937">
            <a:spAutoFit/>
          </a:bodyPr>
          <a:lstStyle/>
          <a:p>
            <a:pPr algn="just" defTabSz="1038285">
              <a:spcBef>
                <a:spcPct val="0"/>
              </a:spcBef>
            </a:pPr>
            <a:r>
              <a:rPr lang="ru-RU" altLang="ru-RU" sz="1400" b="1" dirty="0"/>
              <a:t>«</a:t>
            </a:r>
            <a:r>
              <a:rPr lang="en-US" altLang="ru-RU" sz="1400" b="1" dirty="0" err="1"/>
              <a:t>Almex</a:t>
            </a:r>
            <a:r>
              <a:rPr lang="en-US" altLang="ru-RU" sz="1400" b="1" dirty="0"/>
              <a:t> Petrochemical</a:t>
            </a:r>
            <a:r>
              <a:rPr lang="ru-RU" altLang="ru-RU" sz="1400" b="1" dirty="0"/>
              <a:t>» ЖШС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3586220" y="4785795"/>
            <a:ext cx="136127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defTabSz="1038622"/>
            <a:r>
              <a:rPr lang="en-US" altLang="ru-RU" sz="3200" b="1" dirty="0">
                <a:solidFill>
                  <a:srgbClr val="00B050"/>
                </a:solidFill>
              </a:rPr>
              <a:t>$</a:t>
            </a:r>
            <a:r>
              <a:rPr lang="ru-RU" altLang="ru-RU" sz="3200" b="1" dirty="0">
                <a:solidFill>
                  <a:srgbClr val="00B050"/>
                </a:solidFill>
              </a:rPr>
              <a:t>1,0 </a:t>
            </a:r>
            <a:r>
              <a:rPr lang="ru-RU" altLang="ru-RU" sz="1050" b="1" dirty="0"/>
              <a:t>млрд.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687561" y="5183546"/>
            <a:ext cx="287801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38622"/>
            <a:r>
              <a:rPr lang="ru-RU" altLang="ru-RU" sz="3200" b="1" dirty="0">
                <a:solidFill>
                  <a:srgbClr val="00B050"/>
                </a:solidFill>
                <a:cs typeface="Arial" panose="020B0604020202020204" pitchFamily="34" charset="0"/>
              </a:rPr>
              <a:t>600</a:t>
            </a:r>
            <a:r>
              <a:rPr lang="ru-RU" altLang="ru-RU" b="1" dirty="0"/>
              <a:t> </a:t>
            </a:r>
            <a:r>
              <a:rPr lang="ru-RU" altLang="ru-RU" sz="900" b="1" dirty="0" err="1">
                <a:cs typeface="Arial" panose="020B0604020202020204" pitchFamily="34" charset="0"/>
              </a:rPr>
              <a:t>мың</a:t>
            </a:r>
            <a:r>
              <a:rPr lang="ru-RU" altLang="ru-RU" sz="900" b="1" dirty="0">
                <a:cs typeface="Arial" panose="020B0604020202020204" pitchFamily="34" charset="0"/>
              </a:rPr>
              <a:t> тонна/</a:t>
            </a:r>
            <a:r>
              <a:rPr lang="ru-RU" altLang="ru-RU" sz="900" b="1" dirty="0" err="1">
                <a:cs typeface="Arial" panose="020B0604020202020204" pitchFamily="34" charset="0"/>
              </a:rPr>
              <a:t>жыл</a:t>
            </a:r>
            <a:r>
              <a:rPr lang="ru-RU" altLang="ru-RU" sz="900" b="1" dirty="0">
                <a:cs typeface="Arial" panose="020B0604020202020204" pitchFamily="34" charset="0"/>
              </a:rPr>
              <a:t> ТФК</a:t>
            </a:r>
            <a:endParaRPr lang="ru-RU" sz="1050" b="1" dirty="0">
              <a:cs typeface="Arial" panose="020B0604020202020204" pitchFamily="34" charset="0"/>
            </a:endParaRP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1554" y="5239764"/>
            <a:ext cx="333519" cy="361795"/>
          </a:xfrm>
          <a:prstGeom prst="rect">
            <a:avLst/>
          </a:prstGeom>
        </p:spPr>
      </p:pic>
      <p:pic>
        <p:nvPicPr>
          <p:cNvPr id="50" name="Google Shape;403;g8dd1064e09_1_0"/>
          <p:cNvPicPr preferRelativeResize="0"/>
          <p:nvPr/>
        </p:nvPicPr>
        <p:blipFill rotWithShape="1">
          <a:blip r:embed="rId9">
            <a:biLevel thresh="75000"/>
          </a:blip>
          <a:srcRect/>
          <a:stretch/>
        </p:blipFill>
        <p:spPr>
          <a:xfrm>
            <a:off x="3206361" y="6134622"/>
            <a:ext cx="425699" cy="402337"/>
          </a:xfrm>
          <a:prstGeom prst="rect">
            <a:avLst/>
          </a:prstGeom>
        </p:spPr>
      </p:pic>
      <p:sp>
        <p:nvSpPr>
          <p:cNvPr id="51" name="Прямоугольник 50"/>
          <p:cNvSpPr/>
          <p:nvPr/>
        </p:nvSpPr>
        <p:spPr>
          <a:xfrm>
            <a:off x="3704735" y="6082158"/>
            <a:ext cx="225622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38622"/>
            <a:r>
              <a:rPr lang="ru-RU" altLang="ru-RU" sz="2800" b="1" dirty="0">
                <a:solidFill>
                  <a:srgbClr val="00B050"/>
                </a:solidFill>
              </a:rPr>
              <a:t>2023-2025</a:t>
            </a:r>
            <a:r>
              <a:rPr lang="ru-RU" altLang="ru-RU" sz="1600" b="1" dirty="0"/>
              <a:t> </a:t>
            </a:r>
            <a:r>
              <a:rPr lang="ru-RU" altLang="ru-RU" sz="1100" b="1" dirty="0" err="1"/>
              <a:t>жж</a:t>
            </a:r>
            <a:r>
              <a:rPr lang="ru-RU" altLang="ru-RU" sz="1100" b="1" dirty="0"/>
              <a:t>.</a:t>
            </a:r>
            <a:endParaRPr lang="ru-RU" sz="1100" b="1" dirty="0"/>
          </a:p>
        </p:txBody>
      </p:sp>
      <p:pic>
        <p:nvPicPr>
          <p:cNvPr id="52" name="Рисунок 51"/>
          <p:cNvPicPr>
            <a:picLocks noChangeAspect="1"/>
          </p:cNvPicPr>
          <p:nvPr/>
        </p:nvPicPr>
        <p:blipFill>
          <a:blip r:embed="rId10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6430" y="4878960"/>
            <a:ext cx="387900" cy="301724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3165" y="5640108"/>
            <a:ext cx="333519" cy="381945"/>
          </a:xfrm>
          <a:prstGeom prst="rect">
            <a:avLst/>
          </a:prstGeom>
        </p:spPr>
      </p:pic>
      <p:sp>
        <p:nvSpPr>
          <p:cNvPr id="54" name="Прямоугольник 53"/>
          <p:cNvSpPr/>
          <p:nvPr/>
        </p:nvSpPr>
        <p:spPr>
          <a:xfrm>
            <a:off x="3690960" y="5586723"/>
            <a:ext cx="28780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38622"/>
            <a:r>
              <a:rPr lang="ru-RU" altLang="ru-RU" sz="2800" b="1" dirty="0">
                <a:solidFill>
                  <a:srgbClr val="00B050"/>
                </a:solidFill>
                <a:cs typeface="Arial" panose="020B0604020202020204" pitchFamily="34" charset="0"/>
              </a:rPr>
              <a:t>430</a:t>
            </a:r>
            <a:r>
              <a:rPr lang="ru-RU" altLang="ru-RU" sz="1600" b="1" dirty="0"/>
              <a:t> </a:t>
            </a:r>
            <a:r>
              <a:rPr lang="ru-RU" altLang="ru-RU" sz="900" b="1" dirty="0" err="1">
                <a:cs typeface="Arial" panose="020B0604020202020204" pitchFamily="34" charset="0"/>
              </a:rPr>
              <a:t>мың</a:t>
            </a:r>
            <a:r>
              <a:rPr lang="ru-RU" altLang="ru-RU" sz="900" b="1" dirty="0">
                <a:cs typeface="Arial" panose="020B0604020202020204" pitchFamily="34" charset="0"/>
              </a:rPr>
              <a:t> тонна/</a:t>
            </a:r>
            <a:r>
              <a:rPr lang="ru-RU" altLang="ru-RU" sz="900" b="1" dirty="0" err="1">
                <a:cs typeface="Arial" panose="020B0604020202020204" pitchFamily="34" charset="0"/>
              </a:rPr>
              <a:t>жыл</a:t>
            </a:r>
            <a:r>
              <a:rPr lang="ru-RU" altLang="ru-RU" sz="900" b="1" dirty="0">
                <a:cs typeface="Arial" panose="020B0604020202020204" pitchFamily="34" charset="0"/>
              </a:rPr>
              <a:t> ПЭТФ</a:t>
            </a:r>
            <a:endParaRPr lang="ru-RU" sz="1000" b="1" dirty="0">
              <a:cs typeface="Arial" panose="020B0604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77AC08D8-A2CF-4813-BCB9-ECFCFFCE433C}"/>
              </a:ext>
            </a:extLst>
          </p:cNvPr>
          <p:cNvSpPr txBox="1"/>
          <p:nvPr/>
        </p:nvSpPr>
        <p:spPr>
          <a:xfrm>
            <a:off x="-5026" y="136927"/>
            <a:ext cx="10226040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>
              <a:lnSpc>
                <a:spcPct val="90000"/>
              </a:lnSpc>
              <a:buSzPts val="2800"/>
            </a:pPr>
            <a:r>
              <a:rPr lang="ru-RU" sz="2800" b="1" dirty="0">
                <a:solidFill>
                  <a:srgbClr val="1A4164"/>
                </a:solidFill>
                <a:ea typeface="Barlow Condensed"/>
                <a:cs typeface="Arial" panose="020B0604020202020204" pitchFamily="34" charset="0"/>
              </a:rPr>
              <a:t>МҰНАЙ-ГАЗ ХИМИЯСЫ ӨНЕРКӘСІБІН ДАМЫТУ</a:t>
            </a:r>
          </a:p>
        </p:txBody>
      </p:sp>
      <p:cxnSp>
        <p:nvCxnSpPr>
          <p:cNvPr id="65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Рисунок 1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0033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11324784" y="102559"/>
            <a:ext cx="891251" cy="365125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</a:t>
            </a:r>
          </a:p>
        </p:txBody>
      </p:sp>
    </p:spTree>
    <p:extLst>
      <p:ext uri="{BB962C8B-B14F-4D97-AF65-F5344CB8AC3E}">
        <p14:creationId xmlns:p14="http://schemas.microsoft.com/office/powerpoint/2010/main" val="2042687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5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3103685" y="2904486"/>
            <a:ext cx="684041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5400" dirty="0" smtClean="0">
                <a:latin typeface="Bahnschrift Condensed" panose="020B0502040204020203" pitchFamily="34" charset="0"/>
                <a:cs typeface="Arial" panose="020B0604020202020204" pitchFamily="34" charset="0"/>
              </a:rPr>
              <a:t>НАЗАРЛАРЫҢЫЗҒА РАҚМЕТ!</a:t>
            </a:r>
            <a:endParaRPr lang="ru-RU" sz="5400" dirty="0">
              <a:latin typeface="Bahnschrif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279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Диаграмма 40"/>
          <p:cNvGraphicFramePr>
            <a:graphicFrameLocks/>
          </p:cNvGraphicFramePr>
          <p:nvPr>
            <p:extLst/>
          </p:nvPr>
        </p:nvGraphicFramePr>
        <p:xfrm>
          <a:off x="8716361" y="2295521"/>
          <a:ext cx="3532908" cy="3742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6A394F2B-E8B0-4223-867C-FA73D40D4966}"/>
              </a:ext>
            </a:extLst>
          </p:cNvPr>
          <p:cNvSpPr/>
          <p:nvPr/>
        </p:nvSpPr>
        <p:spPr bwMode="auto">
          <a:xfrm>
            <a:off x="67271" y="131091"/>
            <a:ext cx="8447762" cy="43571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685783">
              <a:lnSpc>
                <a:spcPct val="90000"/>
              </a:lnSpc>
              <a:buSzPts val="2800"/>
              <a:defRPr/>
            </a:pPr>
            <a:r>
              <a:rPr lang="ru-RU" altLang="ru-RU" sz="2800" b="1" dirty="0">
                <a:solidFill>
                  <a:srgbClr val="1A4164"/>
                </a:solidFill>
                <a:ea typeface="Barlow Condensed"/>
                <a:cs typeface="Arial" panose="020B0604020202020204" pitchFamily="34" charset="0"/>
                <a:sym typeface="Barlow Condensed"/>
              </a:rPr>
              <a:t>ТАУАРЛЫҚ ГАЗДЫҢ СЫН-ҚАТЕРЛЕРІ</a:t>
            </a:r>
          </a:p>
        </p:txBody>
      </p:sp>
      <p:cxnSp>
        <p:nvCxnSpPr>
          <p:cNvPr id="4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0033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TextBox 60"/>
          <p:cNvSpPr txBox="1"/>
          <p:nvPr/>
        </p:nvSpPr>
        <p:spPr>
          <a:xfrm>
            <a:off x="145103" y="5708947"/>
            <a:ext cx="49307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200" b="1" dirty="0">
                <a:solidFill>
                  <a:srgbClr val="C00000"/>
                </a:solidFill>
                <a:cs typeface="Arial" panose="020B0604020202020204" pitchFamily="34" charset="0"/>
              </a:rPr>
              <a:t>!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305558" y="1137000"/>
            <a:ext cx="119234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kk-KZ" dirty="0"/>
              <a:t>Өңдеу қуаттарына инвестиция тартудың қажеттілігі</a:t>
            </a:r>
            <a:r>
              <a:rPr lang="ru-RU" dirty="0"/>
              <a:t>;</a:t>
            </a:r>
          </a:p>
          <a:p>
            <a:pPr marL="285750" indent="-285750">
              <a:buFontTx/>
              <a:buChar char="-"/>
            </a:pPr>
            <a:r>
              <a:rPr lang="kk-KZ" dirty="0"/>
              <a:t>Газдың жер қойнауын пайдаланушылардан сатып алатын, сондай-ақ көтерме сауда бағасын ұстап тұру саясаты </a:t>
            </a:r>
            <a:r>
              <a:rPr lang="ru-RU" dirty="0"/>
              <a:t>(</a:t>
            </a:r>
            <a:r>
              <a:rPr lang="en-US" dirty="0"/>
              <a:t>QazaqGaz</a:t>
            </a:r>
            <a:r>
              <a:rPr lang="ru-RU" dirty="0"/>
              <a:t>)</a:t>
            </a:r>
          </a:p>
        </p:txBody>
      </p:sp>
      <p:pic>
        <p:nvPicPr>
          <p:cNvPr id="70" name="Picture 14" descr="C:\Users\koshen_g\Desktop\ТРЕНИНГ\img_140115_042628.jp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716" y="635172"/>
            <a:ext cx="664827" cy="481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1000106" y="566906"/>
            <a:ext cx="68745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ru-RU" sz="2400" b="1" dirty="0" err="1">
                <a:solidFill>
                  <a:schemeClr val="tx2"/>
                </a:solidFill>
              </a:rPr>
              <a:t>Тауарлық</a:t>
            </a:r>
            <a:r>
              <a:rPr lang="ru-RU" sz="2400" b="1" dirty="0">
                <a:solidFill>
                  <a:schemeClr val="tx2"/>
                </a:solidFill>
              </a:rPr>
              <a:t> газ </a:t>
            </a:r>
            <a:r>
              <a:rPr lang="ru-RU" sz="2400" b="1" dirty="0" err="1">
                <a:solidFill>
                  <a:schemeClr val="tx2"/>
                </a:solidFill>
              </a:rPr>
              <a:t>нарығының</a:t>
            </a:r>
            <a:r>
              <a:rPr lang="ru-RU" sz="2400" b="1" dirty="0">
                <a:solidFill>
                  <a:schemeClr val="tx2"/>
                </a:solidFill>
              </a:rPr>
              <a:t> </a:t>
            </a:r>
            <a:r>
              <a:rPr lang="ru-RU" sz="2400" b="1" dirty="0" err="1">
                <a:solidFill>
                  <a:schemeClr val="tx2"/>
                </a:solidFill>
              </a:rPr>
              <a:t>тежеуші</a:t>
            </a:r>
            <a:r>
              <a:rPr lang="ru-RU" sz="2400" b="1" dirty="0">
                <a:solidFill>
                  <a:schemeClr val="tx2"/>
                </a:solidFill>
              </a:rPr>
              <a:t> </a:t>
            </a:r>
            <a:r>
              <a:rPr lang="ru-RU" sz="2400" b="1" dirty="0" err="1">
                <a:solidFill>
                  <a:schemeClr val="tx2"/>
                </a:solidFill>
              </a:rPr>
              <a:t>факторлары</a:t>
            </a:r>
            <a:r>
              <a:rPr lang="ru-RU" sz="2400" b="1" dirty="0">
                <a:solidFill>
                  <a:schemeClr val="tx2"/>
                </a:solidFill>
              </a:rPr>
              <a:t>: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16816" y="5899097"/>
            <a:ext cx="116591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>
              <a:buFontTx/>
              <a:buChar char="-"/>
            </a:pPr>
            <a:r>
              <a:rPr lang="ru-RU" sz="1600" dirty="0"/>
              <a:t> </a:t>
            </a:r>
            <a:r>
              <a:rPr lang="ru-RU" sz="1600" dirty="0" err="1"/>
              <a:t>Тауарлық</a:t>
            </a:r>
            <a:r>
              <a:rPr lang="ru-RU" sz="1600" dirty="0"/>
              <a:t> </a:t>
            </a:r>
            <a:r>
              <a:rPr lang="ru-RU" sz="1600" dirty="0" err="1"/>
              <a:t>газды</a:t>
            </a:r>
            <a:r>
              <a:rPr lang="ru-RU" sz="1600" dirty="0"/>
              <a:t> </a:t>
            </a:r>
            <a:r>
              <a:rPr lang="ru-RU" sz="1600" dirty="0" err="1"/>
              <a:t>тұтыну</a:t>
            </a:r>
            <a:r>
              <a:rPr lang="ru-RU" sz="1600" dirty="0"/>
              <a:t> </a:t>
            </a:r>
            <a:r>
              <a:rPr lang="ru-RU" sz="1600" dirty="0" err="1"/>
              <a:t>тұрақты</a:t>
            </a:r>
            <a:r>
              <a:rPr lang="ru-RU" sz="1600" dirty="0"/>
              <a:t> </a:t>
            </a:r>
            <a:r>
              <a:rPr lang="ru-RU" sz="1600" dirty="0" err="1"/>
              <a:t>түрде</a:t>
            </a:r>
            <a:r>
              <a:rPr lang="ru-RU" sz="1600" dirty="0"/>
              <a:t> </a:t>
            </a:r>
            <a:r>
              <a:rPr lang="ru-RU" sz="1600" dirty="0" err="1"/>
              <a:t>өсуде</a:t>
            </a:r>
            <a:endParaRPr lang="ru-RU" sz="1600" dirty="0"/>
          </a:p>
          <a:p>
            <a:pPr marL="85725">
              <a:buFontTx/>
              <a:buChar char="-"/>
            </a:pPr>
            <a:r>
              <a:rPr lang="ru-RU" sz="1600" dirty="0"/>
              <a:t> </a:t>
            </a:r>
            <a:r>
              <a:rPr lang="ru-RU" sz="1600" dirty="0" err="1"/>
              <a:t>Тауарлық</a:t>
            </a:r>
            <a:r>
              <a:rPr lang="ru-RU" sz="1600" dirty="0"/>
              <a:t> газ </a:t>
            </a:r>
            <a:r>
              <a:rPr lang="ru-RU" sz="1600" dirty="0" err="1"/>
              <a:t>ресурстары</a:t>
            </a:r>
            <a:r>
              <a:rPr lang="ru-RU" sz="1600" dirty="0"/>
              <a:t> </a:t>
            </a:r>
            <a:r>
              <a:rPr lang="ru-RU" sz="1600" dirty="0" err="1"/>
              <a:t>төмен</a:t>
            </a:r>
            <a:r>
              <a:rPr lang="ru-RU" sz="1600" dirty="0"/>
              <a:t> </a:t>
            </a:r>
            <a:r>
              <a:rPr lang="ru-RU" sz="1600" dirty="0" err="1"/>
              <a:t>бағаларды</a:t>
            </a:r>
            <a:r>
              <a:rPr lang="ru-RU" sz="1600" dirty="0"/>
              <a:t> </a:t>
            </a:r>
            <a:r>
              <a:rPr lang="ru-RU" sz="1600" dirty="0" err="1"/>
              <a:t>және</a:t>
            </a:r>
            <a:r>
              <a:rPr lang="ru-RU" sz="1600" dirty="0"/>
              <a:t> </a:t>
            </a:r>
            <a:r>
              <a:rPr lang="ru-RU" sz="1600" dirty="0" err="1"/>
              <a:t>өңдеуге</a:t>
            </a:r>
            <a:r>
              <a:rPr lang="ru-RU" sz="1600" dirty="0"/>
              <a:t> инвестиция </a:t>
            </a:r>
            <a:r>
              <a:rPr lang="ru-RU" sz="1600" dirty="0" err="1"/>
              <a:t>тарту</a:t>
            </a:r>
            <a:r>
              <a:rPr lang="ru-RU" sz="1600" dirty="0"/>
              <a:t> </a:t>
            </a:r>
            <a:r>
              <a:rPr lang="ru-RU" sz="1600" dirty="0" err="1"/>
              <a:t>қажеттілігін</a:t>
            </a:r>
            <a:r>
              <a:rPr lang="ru-RU" sz="1600" dirty="0"/>
              <a:t> </a:t>
            </a:r>
            <a:r>
              <a:rPr lang="ru-RU" sz="1600" dirty="0" err="1"/>
              <a:t>ескере</a:t>
            </a:r>
            <a:r>
              <a:rPr lang="ru-RU" sz="1600" dirty="0"/>
              <a:t> </a:t>
            </a:r>
            <a:r>
              <a:rPr lang="ru-RU" sz="1600" dirty="0" err="1"/>
              <a:t>отырып</a:t>
            </a:r>
            <a:r>
              <a:rPr lang="ru-RU" sz="1600" dirty="0"/>
              <a:t>, </a:t>
            </a:r>
            <a:r>
              <a:rPr lang="ru-RU" sz="1600" dirty="0" err="1"/>
              <a:t>сол</a:t>
            </a:r>
            <a:r>
              <a:rPr lang="ru-RU" sz="1600" dirty="0"/>
              <a:t> </a:t>
            </a:r>
            <a:r>
              <a:rPr lang="ru-RU" sz="1600" dirty="0" err="1"/>
              <a:t>деңгейде</a:t>
            </a:r>
            <a:r>
              <a:rPr lang="ru-RU" sz="1600" dirty="0"/>
              <a:t> </a:t>
            </a:r>
            <a:r>
              <a:rPr lang="ru-RU" sz="1600" dirty="0" err="1"/>
              <a:t>қалуда</a:t>
            </a:r>
            <a:endParaRPr lang="ru-RU" sz="1600" dirty="0"/>
          </a:p>
          <a:p>
            <a:pPr marL="85725">
              <a:buFontTx/>
              <a:buChar char="-"/>
            </a:pPr>
            <a:r>
              <a:rPr lang="ru-RU" sz="1600" dirty="0"/>
              <a:t> </a:t>
            </a:r>
            <a:r>
              <a:rPr lang="ru-RU" sz="1600" dirty="0" err="1"/>
              <a:t>Қосымша</a:t>
            </a:r>
            <a:r>
              <a:rPr lang="ru-RU" sz="1600" dirty="0"/>
              <a:t> </a:t>
            </a:r>
            <a:r>
              <a:rPr lang="ru-RU" sz="1600" dirty="0" err="1"/>
              <a:t>жобалардың</a:t>
            </a:r>
            <a:r>
              <a:rPr lang="ru-RU" sz="1600" dirty="0"/>
              <a:t> </a:t>
            </a:r>
            <a:r>
              <a:rPr lang="ru-RU" sz="1600" dirty="0" err="1"/>
              <a:t>іске</a:t>
            </a:r>
            <a:r>
              <a:rPr lang="ru-RU" sz="1600" dirty="0"/>
              <a:t> </a:t>
            </a:r>
            <a:r>
              <a:rPr lang="ru-RU" sz="1600" dirty="0" err="1"/>
              <a:t>қосылуын</a:t>
            </a:r>
            <a:r>
              <a:rPr lang="ru-RU" sz="1600" dirty="0"/>
              <a:t> </a:t>
            </a:r>
            <a:r>
              <a:rPr lang="ru-RU" sz="1600" dirty="0" err="1"/>
              <a:t>ескере</a:t>
            </a:r>
            <a:r>
              <a:rPr lang="ru-RU" sz="1600" dirty="0"/>
              <a:t> </a:t>
            </a:r>
            <a:r>
              <a:rPr lang="ru-RU" sz="1600" dirty="0" err="1"/>
              <a:t>отырып</a:t>
            </a:r>
            <a:r>
              <a:rPr lang="ru-RU" sz="1600" dirty="0"/>
              <a:t>, </a:t>
            </a:r>
            <a:r>
              <a:rPr lang="ru-RU" sz="1600" dirty="0" err="1"/>
              <a:t>жақын</a:t>
            </a:r>
            <a:r>
              <a:rPr lang="ru-RU" sz="1600" dirty="0"/>
              <a:t> </a:t>
            </a:r>
            <a:r>
              <a:rPr lang="ru-RU" sz="1600" dirty="0" err="1"/>
              <a:t>келешекте</a:t>
            </a:r>
            <a:r>
              <a:rPr lang="ru-RU" sz="1600" dirty="0"/>
              <a:t> </a:t>
            </a:r>
            <a:r>
              <a:rPr lang="ru-RU" sz="1600" dirty="0" err="1"/>
              <a:t>тапшылық</a:t>
            </a:r>
            <a:r>
              <a:rPr lang="ru-RU" sz="1600" dirty="0"/>
              <a:t> </a:t>
            </a:r>
            <a:r>
              <a:rPr lang="ru-RU" sz="1600" dirty="0" err="1"/>
              <a:t>күтілуде</a:t>
            </a:r>
            <a:endParaRPr lang="ru-RU" sz="1400" dirty="0"/>
          </a:p>
        </p:txBody>
      </p:sp>
      <p:sp>
        <p:nvSpPr>
          <p:cNvPr id="2" name="TextBox 1"/>
          <p:cNvSpPr txBox="1"/>
          <p:nvPr/>
        </p:nvSpPr>
        <p:spPr>
          <a:xfrm>
            <a:off x="6182713" y="2095539"/>
            <a:ext cx="6323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Тауарлық</a:t>
            </a:r>
            <a:r>
              <a:rPr lang="ru-RU" sz="1400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 газ </a:t>
            </a:r>
            <a:r>
              <a:rPr lang="ru-RU" sz="1400" b="1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ресурстарының</a:t>
            </a:r>
            <a:r>
              <a:rPr lang="ru-RU" sz="1400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 </a:t>
            </a:r>
            <a:r>
              <a:rPr lang="ru-RU" sz="1400" b="1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және</a:t>
            </a:r>
            <a:r>
              <a:rPr lang="ru-RU" sz="1400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 </a:t>
            </a:r>
            <a:r>
              <a:rPr lang="ru-RU" sz="1400" b="1" dirty="0" err="1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тұтынудың</a:t>
            </a:r>
            <a:r>
              <a:rPr lang="ru-RU" sz="1400" b="1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 2030 </a:t>
            </a:r>
            <a:r>
              <a:rPr lang="ru-RU" sz="1400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ж. </a:t>
            </a:r>
            <a:r>
              <a:rPr lang="ru-RU" sz="1400" b="1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қарай</a:t>
            </a:r>
            <a:r>
              <a:rPr lang="ru-RU" sz="1400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 </a:t>
            </a:r>
            <a:r>
              <a:rPr lang="ru-RU" sz="1400" b="1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құрылымы</a:t>
            </a:r>
            <a:endParaRPr lang="ru-RU" sz="1400" b="1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305453" y="2100184"/>
            <a:ext cx="5515935" cy="3364551"/>
            <a:chOff x="305453" y="2227509"/>
            <a:chExt cx="5515935" cy="3364551"/>
          </a:xfrm>
        </p:grpSpPr>
        <p:graphicFrame>
          <p:nvGraphicFramePr>
            <p:cNvPr id="28" name="Диаграмма 27"/>
            <p:cNvGraphicFramePr>
              <a:graphicFrameLocks/>
            </p:cNvGraphicFramePr>
            <p:nvPr>
              <p:extLst/>
            </p:nvPr>
          </p:nvGraphicFramePr>
          <p:xfrm>
            <a:off x="305453" y="2450284"/>
            <a:ext cx="5515935" cy="314177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6" name="Стрелка вверх 5"/>
            <p:cNvSpPr/>
            <p:nvPr/>
          </p:nvSpPr>
          <p:spPr>
            <a:xfrm>
              <a:off x="1509934" y="3661898"/>
              <a:ext cx="335493" cy="237683"/>
            </a:xfrm>
            <a:prstGeom prst="up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8" name="TextBox 6"/>
            <p:cNvSpPr txBox="1"/>
            <p:nvPr/>
          </p:nvSpPr>
          <p:spPr>
            <a:xfrm>
              <a:off x="2765522" y="3820803"/>
              <a:ext cx="62709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000" dirty="0">
                  <a:solidFill>
                    <a:schemeClr val="accent1"/>
                  </a:solidFill>
                </a:rPr>
                <a:t>61</a:t>
              </a:r>
              <a:r>
                <a:rPr lang="ru-RU" sz="2000" dirty="0">
                  <a:solidFill>
                    <a:schemeClr val="accent1"/>
                  </a:solidFill>
                </a:rPr>
                <a:t>%</a:t>
              </a:r>
            </a:p>
          </p:txBody>
        </p:sp>
        <p:sp>
          <p:nvSpPr>
            <p:cNvPr id="42" name="TextBox 1"/>
            <p:cNvSpPr txBox="1"/>
            <p:nvPr/>
          </p:nvSpPr>
          <p:spPr>
            <a:xfrm>
              <a:off x="3351414" y="5037374"/>
              <a:ext cx="1173112" cy="280822"/>
            </a:xfrm>
            <a:prstGeom prst="rect">
              <a:avLst/>
            </a:prstGeom>
          </p:spPr>
          <p:txBody>
            <a:bodyPr wrap="non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400" b="1" dirty="0"/>
                <a:t>2025</a:t>
              </a: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1124181" y="2227509"/>
              <a:ext cx="390978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 sz="1862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ru-RU" sz="1400" b="1" dirty="0"/>
                <a:t>2017-2030 </a:t>
              </a:r>
              <a:r>
                <a:rPr lang="ru-RU" sz="1400" b="1" dirty="0" err="1"/>
                <a:t>жж</a:t>
              </a:r>
              <a:r>
                <a:rPr lang="ru-RU" sz="1400" b="1" dirty="0"/>
                <a:t>. </a:t>
              </a:r>
              <a:r>
                <a:rPr lang="ru-RU" sz="1400" b="1" dirty="0" err="1"/>
                <a:t>Тауарлық</a:t>
              </a:r>
              <a:r>
                <a:rPr lang="ru-RU" sz="1400" b="1" dirty="0"/>
                <a:t> газ </a:t>
              </a:r>
              <a:r>
                <a:rPr lang="ru-RU" sz="1400" b="1" dirty="0" err="1"/>
                <a:t>теңгерімі</a:t>
              </a:r>
              <a:r>
                <a:rPr lang="ru-RU" sz="1400" b="1" dirty="0"/>
                <a:t>, </a:t>
              </a:r>
              <a:r>
                <a:rPr lang="ru-RU" sz="1400" b="1" i="1" dirty="0"/>
                <a:t>млрд м3</a:t>
              </a: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10178244" y="3534573"/>
            <a:ext cx="97001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b="1" dirty="0"/>
              <a:t>3</a:t>
            </a:r>
            <a:r>
              <a:rPr lang="en-US" sz="2800" b="1" dirty="0" smtClean="0"/>
              <a:t>3,</a:t>
            </a:r>
            <a:r>
              <a:rPr lang="ru-RU" sz="2800" b="1" dirty="0" smtClean="0"/>
              <a:t>2</a:t>
            </a:r>
            <a:endParaRPr lang="ru-RU" sz="2800" b="1" dirty="0"/>
          </a:p>
          <a:p>
            <a:pPr algn="ctr"/>
            <a:r>
              <a:rPr lang="ru-RU" sz="1600" b="1" dirty="0"/>
              <a:t>млрд.м3</a:t>
            </a:r>
          </a:p>
        </p:txBody>
      </p:sp>
      <p:graphicFrame>
        <p:nvGraphicFramePr>
          <p:cNvPr id="29" name="Диаграмма 28"/>
          <p:cNvGraphicFramePr>
            <a:graphicFrameLocks/>
          </p:cNvGraphicFramePr>
          <p:nvPr>
            <p:extLst/>
          </p:nvPr>
        </p:nvGraphicFramePr>
        <p:xfrm>
          <a:off x="5281410" y="2003181"/>
          <a:ext cx="3924939" cy="3879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7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1333330" y="121619"/>
            <a:ext cx="891251" cy="365125"/>
          </a:xfrm>
        </p:spPr>
        <p:txBody>
          <a:bodyPr/>
          <a:lstStyle/>
          <a:p>
            <a:pPr algn="ctr"/>
            <a:r>
              <a:rPr lang="en-US" sz="1200" dirty="0">
                <a:solidFill>
                  <a:prstClr val="black"/>
                </a:solidFill>
              </a:rPr>
              <a:t>2-</a:t>
            </a:r>
            <a:r>
              <a:rPr lang="ru-RU" sz="1200" dirty="0">
                <a:solidFill>
                  <a:prstClr val="black"/>
                </a:solidFill>
              </a:rPr>
              <a:t>Слайд</a:t>
            </a:r>
          </a:p>
        </p:txBody>
      </p:sp>
      <mc:AlternateContent xmlns:mc="http://schemas.openxmlformats.org/markup-compatibility/2006">
        <mc:Choice xmlns:cx="http://schemas.microsoft.com/office/drawing/2014/chartex" xmlns="" Requires="cx">
          <p:graphicFrame>
            <p:nvGraphicFramePr>
              <p:cNvPr id="22" name="Диаграмма 21"/>
              <p:cNvGraphicFramePr>
                <a:graphicFrameLocks/>
              </p:cNvGraphicFramePr>
              <p:nvPr>
                <p:extLst/>
              </p:nvPr>
            </p:nvGraphicFramePr>
            <p:xfrm>
              <a:off x="4591466" y="2553307"/>
              <a:ext cx="5099486" cy="3154860"/>
            </p:xfrm>
            <a:graphic>
              <a:graphicData uri="http://schemas.microsoft.com/office/drawing/2014/chartex">
                <c:chart xmlns:c="http://schemas.openxmlformats.org/drawingml/2006/chart" xmlns:r="http://schemas.openxmlformats.org/officeDocument/2006/relationships" r:id="rId7"/>
              </a:graphicData>
            </a:graphic>
          </p:graphicFrame>
        </mc:Choice>
        <mc:Fallback>
          <p:pic>
            <p:nvPicPr>
              <p:cNvPr id="22" name="Диаграмма 21"/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591466" y="2553307"/>
                <a:ext cx="5099486" cy="3154860"/>
              </a:xfrm>
              <a:prstGeom prst="rect">
                <a:avLst/>
              </a:prstGeom>
            </p:spPr>
          </p:pic>
        </mc:Fallback>
      </mc:AlternateContent>
      <p:sp>
        <p:nvSpPr>
          <p:cNvPr id="8" name="TextBox 7"/>
          <p:cNvSpPr txBox="1"/>
          <p:nvPr/>
        </p:nvSpPr>
        <p:spPr>
          <a:xfrm>
            <a:off x="6378943" y="2913947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17%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878819" y="3844621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19%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680584" y="4244960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64%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647705" y="3562152"/>
            <a:ext cx="97001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b="1" dirty="0" smtClean="0"/>
              <a:t>33,8</a:t>
            </a:r>
            <a:endParaRPr lang="ru-RU" sz="2800" b="1" dirty="0"/>
          </a:p>
          <a:p>
            <a:pPr algn="ctr"/>
            <a:r>
              <a:rPr lang="ru-RU" sz="1600" b="1" dirty="0"/>
              <a:t>млрд.м3</a:t>
            </a:r>
          </a:p>
        </p:txBody>
      </p:sp>
    </p:spTree>
    <p:extLst>
      <p:ext uri="{BB962C8B-B14F-4D97-AF65-F5344CB8AC3E}">
        <p14:creationId xmlns:p14="http://schemas.microsoft.com/office/powerpoint/2010/main" val="3147053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6A394F2B-E8B0-4223-867C-FA73D40D4966}"/>
              </a:ext>
            </a:extLst>
          </p:cNvPr>
          <p:cNvSpPr/>
          <p:nvPr/>
        </p:nvSpPr>
        <p:spPr bwMode="auto">
          <a:xfrm>
            <a:off x="67271" y="121947"/>
            <a:ext cx="8447762" cy="43571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sz="2800" b="1" dirty="0">
                <a:solidFill>
                  <a:srgbClr val="1A4164"/>
                </a:solidFill>
                <a:ea typeface="Barlow Condensed"/>
                <a:cs typeface="Arial" panose="020B0604020202020204" pitchFamily="34" charset="0"/>
              </a:rPr>
              <a:t>ҚАШАҒАН ГӨЗ ҚҰРЫЛЫСЫ ЖОБАСЫ</a:t>
            </a:r>
          </a:p>
        </p:txBody>
      </p:sp>
      <p:cxnSp>
        <p:nvCxnSpPr>
          <p:cNvPr id="4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4BA96F5A-F65D-4A03-AE1F-0834EA0C94B7}"/>
              </a:ext>
            </a:extLst>
          </p:cNvPr>
          <p:cNvSpPr/>
          <p:nvPr/>
        </p:nvSpPr>
        <p:spPr>
          <a:xfrm>
            <a:off x="3709345" y="1132110"/>
            <a:ext cx="2101423" cy="16466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b="1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Құны</a:t>
            </a:r>
            <a:endParaRPr lang="ru-RU" sz="1400" b="1" dirty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endParaRPr lang="ru-RU" sz="500" b="1" dirty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endParaRPr lang="ru-RU" sz="500" b="1" dirty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endParaRPr lang="ru-RU" sz="500" b="1" dirty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r>
              <a:rPr lang="ru-RU" sz="1400" b="1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Қуаттылығы</a:t>
            </a:r>
            <a:endParaRPr lang="ru-RU" sz="1400" b="1" dirty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endParaRPr lang="ru-RU" sz="500" b="1" dirty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endParaRPr lang="ru-RU" sz="500" b="1" dirty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endParaRPr lang="ru-RU" sz="500" b="1" dirty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r>
              <a:rPr lang="kk-KZ" sz="1400" b="1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Іске асыру мерзімі</a:t>
            </a:r>
            <a:endParaRPr lang="ru-RU" sz="1400" b="1" dirty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endParaRPr lang="ru-RU" sz="500" b="1" dirty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endParaRPr lang="ru-RU" sz="500" b="1" dirty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endParaRPr lang="ru-RU" sz="500" b="1" dirty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r>
              <a:rPr lang="ru-RU" sz="1400" b="1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Жұмыс</a:t>
            </a:r>
            <a:r>
              <a:rPr lang="ru-RU" sz="1400" b="1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рындары</a:t>
            </a:r>
            <a:endParaRPr lang="x-none" sz="1400" b="1" dirty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xmlns="" id="{CC28AEC7-BBF3-4F2D-918F-0C82577F74FE}"/>
              </a:ext>
            </a:extLst>
          </p:cNvPr>
          <p:cNvCxnSpPr>
            <a:cxnSpLocks/>
          </p:cNvCxnSpPr>
          <p:nvPr/>
        </p:nvCxnSpPr>
        <p:spPr>
          <a:xfrm flipH="1">
            <a:off x="5949175" y="954948"/>
            <a:ext cx="4248" cy="2047099"/>
          </a:xfrm>
          <a:prstGeom prst="line">
            <a:avLst/>
          </a:prstGeom>
          <a:ln w="1905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D41D74E6-4BAF-4240-8379-B91A6853B383}"/>
              </a:ext>
            </a:extLst>
          </p:cNvPr>
          <p:cNvSpPr/>
          <p:nvPr/>
        </p:nvSpPr>
        <p:spPr>
          <a:xfrm>
            <a:off x="6013103" y="1095057"/>
            <a:ext cx="704015" cy="400108"/>
          </a:xfrm>
          <a:prstGeom prst="rect">
            <a:avLst/>
          </a:prstGeom>
        </p:spPr>
        <p:txBody>
          <a:bodyPr wrap="none" lIns="91428" tIns="45719" rIns="91428" bIns="45719">
            <a:spAutoFit/>
          </a:bodyPr>
          <a:lstStyle/>
          <a:p>
            <a:pPr defTabSz="914241"/>
            <a:r>
              <a:rPr lang="en-US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$</a:t>
            </a:r>
            <a:r>
              <a:rPr lang="ru-RU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860</a:t>
            </a:r>
            <a:endParaRPr lang="x-none" sz="2000" dirty="0">
              <a:solidFill>
                <a:schemeClr val="tx1">
                  <a:lumMod val="50000"/>
                  <a:lumOff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2C6C95CE-09E6-47C9-84C7-9D420412B638}"/>
              </a:ext>
            </a:extLst>
          </p:cNvPr>
          <p:cNvSpPr/>
          <p:nvPr/>
        </p:nvSpPr>
        <p:spPr>
          <a:xfrm>
            <a:off x="6785085" y="1175118"/>
            <a:ext cx="988472" cy="276997"/>
          </a:xfrm>
          <a:prstGeom prst="rect">
            <a:avLst/>
          </a:prstGeom>
        </p:spPr>
        <p:txBody>
          <a:bodyPr wrap="square" lIns="91428" tIns="45719" rIns="91428" bIns="45719">
            <a:spAutoFit/>
          </a:bodyPr>
          <a:lstStyle/>
          <a:p>
            <a:pPr defTabSz="914241"/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млн.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ea typeface="Times New Roman" pitchFamily="18" charset="0"/>
                <a:cs typeface="Arial" pitchFamily="34" charset="0"/>
              </a:rPr>
              <a:t> </a:t>
            </a:r>
            <a:endParaRPr lang="ru-RU" alt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D41D74E6-4BAF-4240-8379-B91A6853B383}"/>
              </a:ext>
            </a:extLst>
          </p:cNvPr>
          <p:cNvSpPr/>
          <p:nvPr/>
        </p:nvSpPr>
        <p:spPr>
          <a:xfrm>
            <a:off x="6005138" y="1592291"/>
            <a:ext cx="657005" cy="400108"/>
          </a:xfrm>
          <a:prstGeom prst="rect">
            <a:avLst/>
          </a:prstGeom>
        </p:spPr>
        <p:txBody>
          <a:bodyPr wrap="square" lIns="91428" tIns="45719" rIns="91428" bIns="45719">
            <a:spAutoFit/>
          </a:bodyPr>
          <a:lstStyle/>
          <a:p>
            <a:pPr defTabSz="914241"/>
            <a:r>
              <a:rPr lang="ru-RU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1,0</a:t>
            </a:r>
            <a:endParaRPr lang="x-none" sz="2000" b="1" dirty="0">
              <a:solidFill>
                <a:schemeClr val="tx1">
                  <a:lumMod val="50000"/>
                  <a:lumOff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2C6C95CE-09E6-47C9-84C7-9D420412B638}"/>
              </a:ext>
            </a:extLst>
          </p:cNvPr>
          <p:cNvSpPr/>
          <p:nvPr/>
        </p:nvSpPr>
        <p:spPr>
          <a:xfrm>
            <a:off x="6539058" y="1677246"/>
            <a:ext cx="938274" cy="276997"/>
          </a:xfrm>
          <a:prstGeom prst="rect">
            <a:avLst/>
          </a:prstGeom>
        </p:spPr>
        <p:txBody>
          <a:bodyPr wrap="square" lIns="91428" tIns="45719" rIns="91428" bIns="45719">
            <a:spAutoFit/>
          </a:bodyPr>
          <a:lstStyle/>
          <a:p>
            <a:pPr defTabSz="914241"/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млрд. м3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ea typeface="Times New Roman" pitchFamily="18" charset="0"/>
                <a:cs typeface="Arial" pitchFamily="34" charset="0"/>
              </a:rPr>
              <a:t> </a:t>
            </a:r>
            <a:endParaRPr lang="ru-RU" alt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D4C27563-E250-4477-96D3-9F3121C50799}"/>
              </a:ext>
            </a:extLst>
          </p:cNvPr>
          <p:cNvSpPr/>
          <p:nvPr/>
        </p:nvSpPr>
        <p:spPr>
          <a:xfrm>
            <a:off x="5972013" y="1926961"/>
            <a:ext cx="1652992" cy="523218"/>
          </a:xfrm>
          <a:prstGeom prst="rect">
            <a:avLst/>
          </a:prstGeom>
        </p:spPr>
        <p:txBody>
          <a:bodyPr wrap="none" lIns="91428" tIns="45719" rIns="91428" bIns="45719">
            <a:spAutoFit/>
          </a:bodyPr>
          <a:lstStyle/>
          <a:p>
            <a:pPr defTabSz="914241"/>
            <a:r>
              <a:rPr lang="ru-RU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2020-2024</a:t>
            </a:r>
            <a:r>
              <a:rPr lang="ru-RU" sz="28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жж</a:t>
            </a:r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x-none" sz="1200" dirty="0">
              <a:solidFill>
                <a:schemeClr val="tx1">
                  <a:lumMod val="50000"/>
                  <a:lumOff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012E4B8B-C9F5-42D8-8899-5E350848A9C5}"/>
              </a:ext>
            </a:extLst>
          </p:cNvPr>
          <p:cNvSpPr/>
          <p:nvPr/>
        </p:nvSpPr>
        <p:spPr>
          <a:xfrm>
            <a:off x="5996628" y="2450179"/>
            <a:ext cx="940189" cy="400108"/>
          </a:xfrm>
          <a:prstGeom prst="rect">
            <a:avLst/>
          </a:prstGeom>
        </p:spPr>
        <p:txBody>
          <a:bodyPr wrap="square" lIns="91428" tIns="45719" rIns="91428" bIns="45719">
            <a:spAutoFit/>
          </a:bodyPr>
          <a:lstStyle/>
          <a:p>
            <a:pPr defTabSz="914241"/>
            <a:r>
              <a:rPr lang="en-US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600</a:t>
            </a:r>
            <a:endParaRPr lang="x-none" sz="2000" b="1" dirty="0">
              <a:solidFill>
                <a:schemeClr val="tx1">
                  <a:lumMod val="50000"/>
                  <a:lumOff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CC7F289F-1E11-456C-9C76-4CA43FAECA5A}"/>
              </a:ext>
            </a:extLst>
          </p:cNvPr>
          <p:cNvSpPr/>
          <p:nvPr/>
        </p:nvSpPr>
        <p:spPr>
          <a:xfrm>
            <a:off x="6569724" y="2567962"/>
            <a:ext cx="825739" cy="276997"/>
          </a:xfrm>
          <a:prstGeom prst="rect">
            <a:avLst/>
          </a:prstGeom>
        </p:spPr>
        <p:txBody>
          <a:bodyPr wrap="square" lIns="91428" tIns="45719" rIns="91428" bIns="45719">
            <a:spAutoFit/>
          </a:bodyPr>
          <a:lstStyle/>
          <a:p>
            <a:pPr defTabSz="914241"/>
            <a:r>
              <a:rPr lang="ru-RU" sz="12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адам</a:t>
            </a:r>
            <a:endParaRPr lang="x-none" sz="1200" dirty="0">
              <a:solidFill>
                <a:schemeClr val="tx1">
                  <a:lumMod val="50000"/>
                  <a:lumOff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" name="object 21"/>
          <p:cNvSpPr/>
          <p:nvPr/>
        </p:nvSpPr>
        <p:spPr>
          <a:xfrm>
            <a:off x="257342" y="4032482"/>
            <a:ext cx="3162161" cy="212830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5"/>
          <p:cNvSpPr txBox="1"/>
          <p:nvPr/>
        </p:nvSpPr>
        <p:spPr>
          <a:xfrm>
            <a:off x="612775" y="3436370"/>
            <a:ext cx="2291007" cy="23700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400" b="1" spc="35" dirty="0">
                <a:cs typeface="Arial"/>
              </a:rPr>
              <a:t>ОРНАЛАСҚАН ЖЕРІ</a:t>
            </a:r>
            <a:endParaRPr lang="en-US" sz="1400" b="1" spc="20" dirty="0">
              <a:cs typeface="Arial"/>
            </a:endParaRPr>
          </a:p>
        </p:txBody>
      </p:sp>
      <p:sp>
        <p:nvSpPr>
          <p:cNvPr id="28" name="object 16"/>
          <p:cNvSpPr txBox="1"/>
          <p:nvPr/>
        </p:nvSpPr>
        <p:spPr>
          <a:xfrm>
            <a:off x="155574" y="4155680"/>
            <a:ext cx="713106" cy="359970"/>
          </a:xfrm>
          <a:prstGeom prst="rect">
            <a:avLst/>
          </a:prstGeom>
        </p:spPr>
        <p:txBody>
          <a:bodyPr vert="horz" wrap="square" lIns="0" tIns="4445" rIns="0" bIns="0" rtlCol="0">
            <a:spAutoFit/>
          </a:bodyPr>
          <a:lstStyle/>
          <a:p>
            <a:pPr marL="12700" marR="5080">
              <a:lnSpc>
                <a:spcPct val="104700"/>
              </a:lnSpc>
              <a:spcBef>
                <a:spcPts val="35"/>
              </a:spcBef>
            </a:pPr>
            <a:r>
              <a:rPr sz="1100" b="1" spc="30" dirty="0" err="1">
                <a:solidFill>
                  <a:srgbClr val="475380"/>
                </a:solidFill>
                <a:cs typeface="Arial"/>
              </a:rPr>
              <a:t>Атырау</a:t>
            </a:r>
            <a:r>
              <a:rPr lang="kk-KZ" sz="1100" b="1" spc="30" dirty="0">
                <a:solidFill>
                  <a:srgbClr val="475380"/>
                </a:solidFill>
                <a:cs typeface="Arial"/>
              </a:rPr>
              <a:t> облысы</a:t>
            </a:r>
            <a:endParaRPr sz="1100" dirty="0">
              <a:cs typeface="Arial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8459517" y="997479"/>
            <a:ext cx="343534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Өндіріс</a:t>
            </a:r>
            <a:r>
              <a:rPr lang="ru-RU" sz="1400" b="1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өлемі</a:t>
            </a:r>
            <a:r>
              <a:rPr lang="ru-RU" sz="1400" b="1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endParaRPr lang="ru-RU" sz="1400" b="1" dirty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Таурлық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газ - 725 млн. м³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МГ - 119 </a:t>
            </a: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мың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тонна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онденсат - 14 </a:t>
            </a: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мың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тонна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Күкірт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- 212 </a:t>
            </a: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мың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тонна</a:t>
            </a:r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xmlns="" id="{CC28AEC7-BBF3-4F2D-918F-0C82577F74FE}"/>
              </a:ext>
            </a:extLst>
          </p:cNvPr>
          <p:cNvCxnSpPr>
            <a:cxnSpLocks/>
          </p:cNvCxnSpPr>
          <p:nvPr/>
        </p:nvCxnSpPr>
        <p:spPr>
          <a:xfrm flipH="1">
            <a:off x="8128784" y="1009327"/>
            <a:ext cx="4248" cy="2047099"/>
          </a:xfrm>
          <a:prstGeom prst="line">
            <a:avLst/>
          </a:prstGeom>
          <a:ln w="1905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xmlns="" id="{CC28AEC7-BBF3-4F2D-918F-0C82577F74FE}"/>
              </a:ext>
            </a:extLst>
          </p:cNvPr>
          <p:cNvCxnSpPr>
            <a:cxnSpLocks/>
          </p:cNvCxnSpPr>
          <p:nvPr/>
        </p:nvCxnSpPr>
        <p:spPr>
          <a:xfrm flipH="1">
            <a:off x="8137643" y="3625940"/>
            <a:ext cx="304" cy="2714384"/>
          </a:xfrm>
          <a:prstGeom prst="line">
            <a:avLst/>
          </a:prstGeom>
          <a:ln w="1905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4B980F63-30E4-43D1-95A2-5F7B79B63556}"/>
              </a:ext>
            </a:extLst>
          </p:cNvPr>
          <p:cNvSpPr/>
          <p:nvPr/>
        </p:nvSpPr>
        <p:spPr>
          <a:xfrm>
            <a:off x="4164431" y="3256918"/>
            <a:ext cx="3600863" cy="52152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867" b="1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ГӨЗ </a:t>
            </a:r>
            <a:r>
              <a:rPr lang="ru-RU" b="1" dirty="0">
                <a:solidFill>
                  <a:schemeClr val="bg1"/>
                </a:solidFill>
                <a:cs typeface="Arial" panose="020B0604020202020204" pitchFamily="34" charset="0"/>
              </a:rPr>
              <a:t>II - КЕЗЕҢІ (+2 млрд. м³)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4B980F63-30E4-43D1-95A2-5F7B79B63556}"/>
              </a:ext>
            </a:extLst>
          </p:cNvPr>
          <p:cNvSpPr/>
          <p:nvPr/>
        </p:nvSpPr>
        <p:spPr>
          <a:xfrm>
            <a:off x="8510296" y="3256917"/>
            <a:ext cx="3527029" cy="52152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867" b="1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ГӨЗ </a:t>
            </a:r>
            <a:r>
              <a:rPr lang="ru-RU" b="1" dirty="0">
                <a:solidFill>
                  <a:schemeClr val="bg1"/>
                </a:solidFill>
                <a:cs typeface="Arial" panose="020B0604020202020204" pitchFamily="34" charset="0"/>
              </a:rPr>
              <a:t>IIІ – КЕЗЕҢІ (+6 млрд. м³)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1385030" y="6418702"/>
            <a:ext cx="75764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4164431" y="3967240"/>
            <a:ext cx="3945474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>
                <a:solidFill>
                  <a:srgbClr val="C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Құны</a:t>
            </a:r>
            <a:r>
              <a:rPr lang="ru-RU" sz="1400" b="1" dirty="0">
                <a:solidFill>
                  <a:srgbClr val="C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1400" b="1" dirty="0">
                <a:solidFill>
                  <a:srgbClr val="C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$</a:t>
            </a:r>
            <a:r>
              <a:rPr lang="ru-RU" sz="1400" b="1" dirty="0">
                <a:solidFill>
                  <a:srgbClr val="C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1,6 – 1,8 млрд.</a:t>
            </a:r>
            <a:endParaRPr lang="en-US" sz="1400" b="1" dirty="0">
              <a:solidFill>
                <a:srgbClr val="C0000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1400" b="1" dirty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400" b="1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Өндіріс</a:t>
            </a:r>
            <a:r>
              <a:rPr lang="ru-RU" sz="1400" b="1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өлемі</a:t>
            </a:r>
            <a:r>
              <a:rPr lang="ru-RU" sz="1400" b="1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endParaRPr lang="ru-RU" sz="1400" b="1" dirty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indent="-285750">
              <a:buFont typeface="Wingdings" panose="05000000000000000000" pitchFamily="2" charset="2"/>
              <a:buChar char="Ø"/>
            </a:pP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Тауарлық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газ – 1,5 млрд. м³-ге </a:t>
            </a: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дейін</a:t>
            </a: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indent="-285750"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indent="-285750"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МГ – 360 </a:t>
            </a: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мың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тоннаға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дейін</a:t>
            </a: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indent="-285750"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indent="-285750"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онденсат – 55 </a:t>
            </a: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мың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тоннаға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дейін</a:t>
            </a: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indent="-285750"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indent="-285750">
              <a:buFont typeface="Wingdings" panose="05000000000000000000" pitchFamily="2" charset="2"/>
              <a:buChar char="Ø"/>
            </a:pP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Күкірт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– 510 </a:t>
            </a: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мың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тоннаға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дейін</a:t>
            </a: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8536423" y="3925633"/>
            <a:ext cx="4036915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>
                <a:solidFill>
                  <a:srgbClr val="C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Құны</a:t>
            </a:r>
            <a:r>
              <a:rPr lang="ru-RU" sz="1400" b="1" dirty="0">
                <a:solidFill>
                  <a:srgbClr val="C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1400" b="1" dirty="0">
                <a:solidFill>
                  <a:srgbClr val="C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$</a:t>
            </a:r>
            <a:r>
              <a:rPr lang="ru-RU" sz="1400" b="1" dirty="0">
                <a:solidFill>
                  <a:srgbClr val="C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,5– 3,0 млрд.</a:t>
            </a:r>
            <a:endParaRPr lang="en-US" sz="1400" b="1" dirty="0">
              <a:solidFill>
                <a:srgbClr val="C0000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1400" b="1" dirty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400" b="1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Өндіріс</a:t>
            </a:r>
            <a:r>
              <a:rPr lang="ru-RU" sz="1400" b="1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өлемі</a:t>
            </a:r>
            <a:r>
              <a:rPr lang="ru-RU" sz="1400" b="1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endParaRPr lang="ru-RU" sz="1400" b="1" dirty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indent="-285750">
              <a:buFont typeface="Wingdings" panose="05000000000000000000" pitchFamily="2" charset="2"/>
              <a:buChar char="Ø"/>
            </a:pP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Тауарлық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газ – 4,1 млрд. м³ </a:t>
            </a:r>
          </a:p>
          <a:p>
            <a:pPr marL="57150" indent="-285750"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indent="-285750"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МГ – 682 </a:t>
            </a: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мың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тоннаға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дейін</a:t>
            </a: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indent="-285750"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indent="-285750"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онденсат – 233 </a:t>
            </a: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мың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тоннаға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дейін</a:t>
            </a: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indent="-285750"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indent="-285750">
              <a:buFont typeface="Wingdings" panose="05000000000000000000" pitchFamily="2" charset="2"/>
              <a:buChar char="Ø"/>
            </a:pP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Күкірт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– 2,2 млн. </a:t>
            </a: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тоннаға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дейін</a:t>
            </a: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0" y="6526890"/>
            <a:ext cx="1189701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i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Ескертпе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: </a:t>
            </a:r>
            <a:r>
              <a:rPr lang="ru-RU" sz="1200" i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Қуаты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200" b="1" i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1 млрд м</a:t>
            </a:r>
            <a:r>
              <a:rPr lang="ru-RU" sz="1200" b="1" i="1" baseline="30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3 </a:t>
            </a:r>
            <a:r>
              <a:rPr lang="ru-RU" sz="1200" b="1" i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200" i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шикі</a:t>
            </a:r>
            <a:r>
              <a:rPr lang="ru-RU" sz="1200" b="1" i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газ ГӨЗ </a:t>
            </a:r>
            <a:r>
              <a:rPr lang="ru-RU" sz="1200" i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үшін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200" i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инфрақұрылымның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200" i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салынып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200" i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жатқан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200" i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нысандары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 </a:t>
            </a:r>
            <a:r>
              <a:rPr lang="ru-RU" sz="1200" b="1" i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2 млрд м</a:t>
            </a:r>
            <a:r>
              <a:rPr lang="ru-RU" sz="1200" b="1" i="1" baseline="30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3 </a:t>
            </a:r>
            <a:r>
              <a:rPr lang="ru-RU" sz="1200" b="1" i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ГӨЗ </a:t>
            </a:r>
            <a:r>
              <a:rPr lang="ru-RU" sz="1200" i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үшін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де </a:t>
            </a:r>
            <a:r>
              <a:rPr lang="ru-RU" sz="1200" i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арналған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. </a:t>
            </a:r>
            <a:endParaRPr lang="ru-RU" sz="1200" b="1" i="1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4341439" y="3950012"/>
            <a:ext cx="349660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7030A0"/>
                </a:solidFill>
                <a:cs typeface="Arial" panose="020B0604020202020204" pitchFamily="34" charset="0"/>
              </a:rPr>
              <a:t> </a:t>
            </a:r>
          </a:p>
        </p:txBody>
      </p:sp>
      <p:pic>
        <p:nvPicPr>
          <p:cNvPr id="42" name="Picture 4" descr="G:\oil-refinery-chemical-plant-icon-3797224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81" t="20813" r="14052" b="7187"/>
          <a:stretch/>
        </p:blipFill>
        <p:spPr bwMode="auto">
          <a:xfrm>
            <a:off x="71415" y="1065348"/>
            <a:ext cx="1871675" cy="1451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/>
          <p:cNvSpPr txBox="1"/>
          <p:nvPr/>
        </p:nvSpPr>
        <p:spPr>
          <a:xfrm>
            <a:off x="1731414" y="1244978"/>
            <a:ext cx="2325484" cy="1436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00B050"/>
                </a:solidFill>
                <a:cs typeface="Arial" panose="020B0604020202020204" pitchFamily="34" charset="0"/>
              </a:rPr>
              <a:t>+</a:t>
            </a:r>
            <a:r>
              <a:rPr lang="ru-RU" sz="4400" b="1" dirty="0">
                <a:solidFill>
                  <a:srgbClr val="00B050"/>
                </a:solidFill>
                <a:cs typeface="Arial" panose="020B0604020202020204" pitchFamily="34" charset="0"/>
              </a:rPr>
              <a:t> </a:t>
            </a:r>
            <a:r>
              <a:rPr lang="ru-RU" sz="5400" b="1" dirty="0">
                <a:solidFill>
                  <a:srgbClr val="00B050"/>
                </a:solidFill>
                <a:cs typeface="Arial" panose="020B0604020202020204" pitchFamily="34" charset="0"/>
              </a:rPr>
              <a:t>6,2</a:t>
            </a:r>
            <a:r>
              <a:rPr lang="ru-RU" sz="4400" b="1" dirty="0">
                <a:solidFill>
                  <a:srgbClr val="00B050"/>
                </a:solidFill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00B050"/>
                </a:solidFill>
                <a:cs typeface="Arial" panose="020B0604020202020204" pitchFamily="34" charset="0"/>
              </a:rPr>
              <a:t>млрд.м</a:t>
            </a:r>
            <a:r>
              <a:rPr lang="ru-RU" b="1" baseline="30000" dirty="0">
                <a:solidFill>
                  <a:srgbClr val="00B050"/>
                </a:solidFill>
                <a:cs typeface="Arial" panose="020B0604020202020204" pitchFamily="34" charset="0"/>
              </a:rPr>
              <a:t>3</a:t>
            </a:r>
            <a:r>
              <a:rPr lang="ru-RU" b="1" dirty="0">
                <a:solidFill>
                  <a:srgbClr val="00B050"/>
                </a:solidFill>
                <a:cs typeface="Arial" panose="020B0604020202020204" pitchFamily="34" charset="0"/>
              </a:rPr>
              <a:t>        </a:t>
            </a:r>
            <a:r>
              <a:rPr lang="ru-RU" sz="2000" dirty="0" err="1">
                <a:solidFill>
                  <a:srgbClr val="00B050"/>
                </a:solidFill>
                <a:cs typeface="Arial" panose="020B0604020202020204" pitchFamily="34" charset="0"/>
              </a:rPr>
              <a:t>тауарлық</a:t>
            </a:r>
            <a:r>
              <a:rPr lang="ru-RU" sz="2000" dirty="0">
                <a:solidFill>
                  <a:srgbClr val="00B050"/>
                </a:solidFill>
                <a:cs typeface="Arial" panose="020B0604020202020204" pitchFamily="34" charset="0"/>
              </a:rPr>
              <a:t> газ</a:t>
            </a:r>
          </a:p>
          <a:p>
            <a:pPr algn="ctr"/>
            <a:r>
              <a:rPr lang="ru-RU" sz="2000" baseline="30000" dirty="0">
                <a:solidFill>
                  <a:srgbClr val="00B050"/>
                </a:solidFill>
                <a:cs typeface="Arial" panose="020B0604020202020204" pitchFamily="34" charset="0"/>
              </a:rPr>
              <a:t>2030 </a:t>
            </a:r>
            <a:r>
              <a:rPr lang="ru-RU" sz="2000" baseline="30000" dirty="0" err="1">
                <a:solidFill>
                  <a:srgbClr val="00B050"/>
                </a:solidFill>
                <a:cs typeface="Arial" panose="020B0604020202020204" pitchFamily="34" charset="0"/>
              </a:rPr>
              <a:t>жылға</a:t>
            </a:r>
            <a:endParaRPr lang="ru-RU" sz="2000" baseline="30000" dirty="0">
              <a:solidFill>
                <a:srgbClr val="00B050"/>
              </a:solidFill>
              <a:cs typeface="Arial" panose="020B060402020202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4B980F63-30E4-43D1-95A2-5F7B79B63556}"/>
              </a:ext>
            </a:extLst>
          </p:cNvPr>
          <p:cNvSpPr/>
          <p:nvPr/>
        </p:nvSpPr>
        <p:spPr>
          <a:xfrm>
            <a:off x="4196196" y="653598"/>
            <a:ext cx="3600863" cy="34388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67" b="1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ГӨЗ </a:t>
            </a:r>
            <a:r>
              <a:rPr lang="ru-RU" b="1" dirty="0" smtClean="0">
                <a:solidFill>
                  <a:schemeClr val="bg1"/>
                </a:solidFill>
                <a:cs typeface="Arial" panose="020B0604020202020204" pitchFamily="34" charset="0"/>
              </a:rPr>
              <a:t>I </a:t>
            </a:r>
            <a:r>
              <a:rPr lang="ru-RU" b="1" dirty="0">
                <a:solidFill>
                  <a:schemeClr val="bg1"/>
                </a:solidFill>
                <a:cs typeface="Arial" panose="020B0604020202020204" pitchFamily="34" charset="0"/>
              </a:rPr>
              <a:t>- КЕЗЕҢІ </a:t>
            </a:r>
          </a:p>
        </p:txBody>
      </p:sp>
      <p:pic>
        <p:nvPicPr>
          <p:cNvPr id="34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0033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1333330" y="121619"/>
            <a:ext cx="891251" cy="365125"/>
          </a:xfrm>
        </p:spPr>
        <p:txBody>
          <a:bodyPr/>
          <a:lstStyle/>
          <a:p>
            <a:pPr algn="ctr"/>
            <a:r>
              <a:rPr lang="ru-RU" sz="1200" dirty="0">
                <a:solidFill>
                  <a:prstClr val="black"/>
                </a:solidFill>
              </a:rPr>
              <a:t>3</a:t>
            </a:r>
            <a:r>
              <a:rPr lang="en-US" sz="1200" dirty="0" smtClean="0">
                <a:solidFill>
                  <a:prstClr val="black"/>
                </a:solidFill>
              </a:rPr>
              <a:t>-</a:t>
            </a:r>
            <a:r>
              <a:rPr lang="ru-RU" sz="1200" dirty="0">
                <a:solidFill>
                  <a:prstClr val="black"/>
                </a:solidFill>
              </a:rPr>
              <a:t>Слайд</a:t>
            </a:r>
          </a:p>
        </p:txBody>
      </p:sp>
    </p:spTree>
    <p:extLst>
      <p:ext uri="{BB962C8B-B14F-4D97-AF65-F5344CB8AC3E}">
        <p14:creationId xmlns:p14="http://schemas.microsoft.com/office/powerpoint/2010/main" val="3697770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Блок-схема: процесс 29"/>
          <p:cNvSpPr/>
          <p:nvPr/>
        </p:nvSpPr>
        <p:spPr>
          <a:xfrm>
            <a:off x="94332" y="4928327"/>
            <a:ext cx="12034998" cy="1853128"/>
          </a:xfrm>
          <a:prstGeom prst="flowChartProcess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28" name="Блок-схема: процесс 27"/>
          <p:cNvSpPr/>
          <p:nvPr/>
        </p:nvSpPr>
        <p:spPr>
          <a:xfrm>
            <a:off x="68531" y="2657304"/>
            <a:ext cx="12060799" cy="2132129"/>
          </a:xfrm>
          <a:prstGeom prst="flowChartProcess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6A394F2B-E8B0-4223-867C-FA73D40D4966}"/>
              </a:ext>
            </a:extLst>
          </p:cNvPr>
          <p:cNvSpPr/>
          <p:nvPr/>
        </p:nvSpPr>
        <p:spPr bwMode="auto">
          <a:xfrm>
            <a:off x="67271" y="103659"/>
            <a:ext cx="9196370" cy="43571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sz="2000" b="1" dirty="0">
                <a:solidFill>
                  <a:srgbClr val="1A4164"/>
                </a:solidFill>
                <a:ea typeface="Barlow Condensed"/>
                <a:cs typeface="Arial" panose="020B0604020202020204" pitchFamily="34" charset="0"/>
              </a:rPr>
              <a:t>ГАЗДЫҢ РЕСУРСТЫҚ БАЗАСЫН КЕҢЕЙТУ БОЙЫНША ӘЛЕУЕТТІ ЖОБАЛАР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-4123" y="725071"/>
            <a:ext cx="12177435" cy="17243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4" descr="505 Parchment Quill Illustrations &amp;amp; Clip Art - iStock">
            <a:extLst>
              <a:ext uri="{FF2B5EF4-FFF2-40B4-BE49-F238E27FC236}">
                <a16:creationId xmlns:a16="http://schemas.microsoft.com/office/drawing/2014/main" xmlns="" id="{663C778D-D413-FC4A-A1DC-0A593AB991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71" y="968024"/>
            <a:ext cx="1330076" cy="1229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D4AA30B4-B230-413F-853F-93EB1179DB57}"/>
              </a:ext>
            </a:extLst>
          </p:cNvPr>
          <p:cNvSpPr txBox="1"/>
          <p:nvPr/>
        </p:nvSpPr>
        <p:spPr>
          <a:xfrm>
            <a:off x="429667" y="4941297"/>
            <a:ext cx="8472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u="sng" dirty="0">
                <a:solidFill>
                  <a:prstClr val="black"/>
                </a:solidFill>
                <a:cs typeface="Arial" panose="020B0604020202020204" pitchFamily="34" charset="0"/>
              </a:rPr>
              <a:t>БИОК-ТА ӨНДІРУ МЕРЗІМДЕРІ МЕН КӨЛЕМДЕРІМЕН КЕЛІСІЛГЕН ЖОБАЛАР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B104AB17-EEC7-479A-87F4-9ED7E028BE5F}"/>
              </a:ext>
            </a:extLst>
          </p:cNvPr>
          <p:cNvSpPr txBox="1"/>
          <p:nvPr/>
        </p:nvSpPr>
        <p:spPr>
          <a:xfrm>
            <a:off x="176069" y="4918083"/>
            <a:ext cx="43633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2</a:t>
            </a:r>
            <a:r>
              <a:rPr lang="ru-RU" sz="2000" b="1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.</a:t>
            </a:r>
            <a:r>
              <a:rPr lang="ru-RU" b="1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90822357-49CF-406B-9D52-1B418E2AA340}"/>
              </a:ext>
            </a:extLst>
          </p:cNvPr>
          <p:cNvSpPr/>
          <p:nvPr/>
        </p:nvSpPr>
        <p:spPr>
          <a:xfrm>
            <a:off x="129540" y="3114751"/>
            <a:ext cx="10381239" cy="14754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ru-RU" sz="1400" dirty="0">
              <a:solidFill>
                <a:prstClr val="black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7000"/>
              </a:lnSpc>
              <a:buFont typeface="Wingdings" panose="05000000000000000000" pitchFamily="2" charset="2"/>
              <a:buChar char="ü"/>
            </a:pP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Жер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қойнауын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пайдаланушыдан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қосымша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барлау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немесе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мұнай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өндіруге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әсерін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бағалау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қажеттілігінсіз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газ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өндіру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мүмкіндігі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туралы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растау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бар</a:t>
            </a:r>
            <a:r>
              <a:rPr lang="en-US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lnSpc>
                <a:spcPct val="107000"/>
              </a:lnSpc>
              <a:buFont typeface="Wingdings" panose="05000000000000000000" pitchFamily="2" charset="2"/>
              <a:buChar char="ü"/>
            </a:pP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Алдын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ала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жоба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әзірленді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оған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мыналар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кіреді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өндіру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көрсеткіштері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өңдеуге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арналған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инфрақұрылым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, газ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құбырларын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жеткізу</a:t>
            </a:r>
            <a:endParaRPr lang="en-US" sz="1400" dirty="0">
              <a:solidFill>
                <a:prstClr val="black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7000"/>
              </a:lnSpc>
              <a:buFont typeface="Wingdings" panose="05000000000000000000" pitchFamily="2" charset="2"/>
              <a:buChar char="ü"/>
            </a:pP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Қаржылық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модель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әзірленді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рентабельділікке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бағалау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жүргізілді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газды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қайта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өңдеу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тасымалдау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сатып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алу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коммерциялық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шарттар</a:t>
            </a:r>
            <a:r>
              <a:rPr lang="ru-RU" sz="14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келісілді</a:t>
            </a:r>
            <a:endParaRPr lang="ru-RU" sz="1400" dirty="0">
              <a:solidFill>
                <a:prstClr val="black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DE5B181A-2A4F-4AB0-AD7C-B1D2C9AE34C3}"/>
              </a:ext>
            </a:extLst>
          </p:cNvPr>
          <p:cNvSpPr txBox="1"/>
          <p:nvPr/>
        </p:nvSpPr>
        <p:spPr>
          <a:xfrm>
            <a:off x="83240" y="5334012"/>
            <a:ext cx="9759123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90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Газдың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дәлелденген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алынатын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қорлары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. БИОК-пен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келісілген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жобада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өндіру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көлемі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мен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мерзімі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анықталды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Жер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қойнауын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пайдаланушымен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және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басқа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да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тартылған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Тараптармен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газды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қайта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өңдеу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қуаттары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жеткізуші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газ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құбырлары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газды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қайта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өңдеудің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тасымалдаудың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және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өткізудің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рентабельділігі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мен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коммерциялық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шарттарын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бағалау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мәселелерін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одан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әрі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пысықтау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талап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етіледі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331A029C-853A-4D38-BFD5-2E52E3F409B3}"/>
              </a:ext>
            </a:extLst>
          </p:cNvPr>
          <p:cNvSpPr txBox="1"/>
          <p:nvPr/>
        </p:nvSpPr>
        <p:spPr>
          <a:xfrm>
            <a:off x="240383" y="2722313"/>
            <a:ext cx="10381239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u="sng" dirty="0">
                <a:solidFill>
                  <a:prstClr val="black"/>
                </a:solidFill>
                <a:cs typeface="Arial" panose="020B0604020202020204" pitchFamily="34" charset="0"/>
              </a:rPr>
              <a:t>БАРЫНША ДАЙЫНДАЛҒАН ЖОБАЛАР</a:t>
            </a:r>
            <a:endParaRPr lang="ru-RU" dirty="0">
              <a:cs typeface="Arial" panose="020B0604020202020204" pitchFamily="34" charset="0"/>
            </a:endParaRPr>
          </a:p>
          <a:p>
            <a:endParaRPr lang="ru-RU" sz="1100" i="1" u="sng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4CDEAC9B-DC0B-4C9B-A9BA-E62DEFB1CAE5}"/>
              </a:ext>
            </a:extLst>
          </p:cNvPr>
          <p:cNvSpPr txBox="1"/>
          <p:nvPr/>
        </p:nvSpPr>
        <p:spPr>
          <a:xfrm>
            <a:off x="10803" y="2734103"/>
            <a:ext cx="4058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1</a:t>
            </a:r>
            <a:r>
              <a:rPr lang="ru-RU" b="1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.</a:t>
            </a:r>
            <a:r>
              <a:rPr lang="ru-RU" sz="1500" b="1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365017" y="856335"/>
            <a:ext cx="989343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6905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="1" dirty="0">
                <a:solidFill>
                  <a:srgbClr val="002060"/>
                </a:solidFill>
              </a:rPr>
              <a:t>Газ </a:t>
            </a:r>
            <a:r>
              <a:rPr lang="ru-RU" sz="2400" b="1" dirty="0" err="1">
                <a:solidFill>
                  <a:srgbClr val="002060"/>
                </a:solidFill>
              </a:rPr>
              <a:t>жобалары</a:t>
            </a:r>
            <a:r>
              <a:rPr lang="ru-RU" sz="2400" b="1" dirty="0">
                <a:solidFill>
                  <a:srgbClr val="002060"/>
                </a:solidFill>
              </a:rPr>
              <a:t> </a:t>
            </a:r>
            <a:r>
              <a:rPr lang="ru-RU" sz="2400" b="1" dirty="0" err="1">
                <a:solidFill>
                  <a:srgbClr val="002060"/>
                </a:solidFill>
              </a:rPr>
              <a:t>үшін</a:t>
            </a:r>
            <a:r>
              <a:rPr lang="ru-RU" sz="2400" b="1" dirty="0">
                <a:solidFill>
                  <a:srgbClr val="002060"/>
                </a:solidFill>
              </a:rPr>
              <a:t> </a:t>
            </a:r>
            <a:r>
              <a:rPr lang="ru-RU" sz="2400" b="1" dirty="0" err="1">
                <a:solidFill>
                  <a:srgbClr val="002060"/>
                </a:solidFill>
              </a:rPr>
              <a:t>преференциялар</a:t>
            </a:r>
            <a:r>
              <a:rPr lang="ru-RU" sz="2400" b="1" dirty="0">
                <a:solidFill>
                  <a:srgbClr val="002060"/>
                </a:solidFill>
              </a:rPr>
              <a:t> беру:</a:t>
            </a:r>
          </a:p>
          <a:p>
            <a:pPr defTabSz="690563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600" b="1" dirty="0">
              <a:solidFill>
                <a:schemeClr val="accent1">
                  <a:lumMod val="50000"/>
                </a:schemeClr>
              </a:solidFill>
              <a:cs typeface="Times New Roman" panose="02020603050405020304" pitchFamily="18" charset="0"/>
            </a:endParaRPr>
          </a:p>
          <a:p>
            <a:pPr defTabSz="6905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chemeClr val="tx2"/>
                </a:solidFill>
              </a:rPr>
              <a:t>- КТС-</a:t>
            </a:r>
            <a:r>
              <a:rPr lang="ru-RU" b="1" dirty="0" err="1">
                <a:solidFill>
                  <a:schemeClr val="tx2"/>
                </a:solidFill>
              </a:rPr>
              <a:t>тен</a:t>
            </a:r>
            <a:r>
              <a:rPr lang="ru-RU" b="1" dirty="0">
                <a:solidFill>
                  <a:schemeClr val="tx2"/>
                </a:solidFill>
              </a:rPr>
              <a:t> </a:t>
            </a:r>
            <a:r>
              <a:rPr lang="ru-RU" b="1" dirty="0" err="1">
                <a:solidFill>
                  <a:schemeClr val="tx2"/>
                </a:solidFill>
              </a:rPr>
              <a:t>Өндіру</a:t>
            </a:r>
            <a:r>
              <a:rPr lang="ru-RU" b="1" dirty="0">
                <a:solidFill>
                  <a:schemeClr val="tx2"/>
                </a:solidFill>
              </a:rPr>
              <a:t> </a:t>
            </a:r>
            <a:r>
              <a:rPr lang="ru-RU" b="1" dirty="0" err="1">
                <a:solidFill>
                  <a:schemeClr val="tx2"/>
                </a:solidFill>
              </a:rPr>
              <a:t>басталған</a:t>
            </a:r>
            <a:r>
              <a:rPr lang="ru-RU" b="1" dirty="0">
                <a:solidFill>
                  <a:schemeClr val="tx2"/>
                </a:solidFill>
              </a:rPr>
              <a:t> </a:t>
            </a:r>
            <a:r>
              <a:rPr lang="ru-RU" b="1" dirty="0" err="1">
                <a:solidFill>
                  <a:schemeClr val="tx2"/>
                </a:solidFill>
              </a:rPr>
              <a:t>күннен</a:t>
            </a:r>
            <a:r>
              <a:rPr lang="ru-RU" b="1" dirty="0">
                <a:solidFill>
                  <a:schemeClr val="tx2"/>
                </a:solidFill>
              </a:rPr>
              <a:t> </a:t>
            </a:r>
            <a:r>
              <a:rPr lang="ru-RU" b="1" dirty="0" err="1">
                <a:solidFill>
                  <a:schemeClr val="tx2"/>
                </a:solidFill>
              </a:rPr>
              <a:t>бастап</a:t>
            </a:r>
            <a:r>
              <a:rPr lang="ru-RU" b="1" dirty="0">
                <a:solidFill>
                  <a:schemeClr val="tx2"/>
                </a:solidFill>
              </a:rPr>
              <a:t> 10 </a:t>
            </a:r>
            <a:r>
              <a:rPr lang="ru-RU" b="1" dirty="0" err="1">
                <a:solidFill>
                  <a:schemeClr val="tx2"/>
                </a:solidFill>
              </a:rPr>
              <a:t>жылға</a:t>
            </a:r>
            <a:r>
              <a:rPr lang="ru-RU" b="1" dirty="0">
                <a:solidFill>
                  <a:schemeClr val="tx2"/>
                </a:solidFill>
              </a:rPr>
              <a:t> бас </a:t>
            </a:r>
            <a:r>
              <a:rPr lang="ru-RU" b="1" dirty="0" err="1">
                <a:solidFill>
                  <a:schemeClr val="tx2"/>
                </a:solidFill>
              </a:rPr>
              <a:t>тарту</a:t>
            </a:r>
            <a:endParaRPr lang="ru-RU" b="1" dirty="0">
              <a:solidFill>
                <a:schemeClr val="tx2"/>
              </a:solidFill>
            </a:endParaRPr>
          </a:p>
          <a:p>
            <a:pPr defTabSz="6905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chemeClr val="tx2"/>
                </a:solidFill>
              </a:rPr>
              <a:t>- ЭКБ-дан </a:t>
            </a:r>
            <a:r>
              <a:rPr lang="ru-RU" b="1" dirty="0" err="1">
                <a:solidFill>
                  <a:schemeClr val="tx2"/>
                </a:solidFill>
              </a:rPr>
              <a:t>өндіру</a:t>
            </a:r>
            <a:r>
              <a:rPr lang="ru-RU" b="1" dirty="0">
                <a:solidFill>
                  <a:schemeClr val="tx2"/>
                </a:solidFill>
              </a:rPr>
              <a:t> </a:t>
            </a:r>
            <a:r>
              <a:rPr lang="ru-RU" b="1" dirty="0" err="1">
                <a:solidFill>
                  <a:schemeClr val="tx2"/>
                </a:solidFill>
              </a:rPr>
              <a:t>басталған</a:t>
            </a:r>
            <a:r>
              <a:rPr lang="ru-RU" b="1" dirty="0">
                <a:solidFill>
                  <a:schemeClr val="tx2"/>
                </a:solidFill>
              </a:rPr>
              <a:t> </a:t>
            </a:r>
            <a:r>
              <a:rPr lang="ru-RU" b="1" dirty="0" err="1">
                <a:solidFill>
                  <a:schemeClr val="tx2"/>
                </a:solidFill>
              </a:rPr>
              <a:t>күннен</a:t>
            </a:r>
            <a:r>
              <a:rPr lang="ru-RU" b="1" dirty="0">
                <a:solidFill>
                  <a:schemeClr val="tx2"/>
                </a:solidFill>
              </a:rPr>
              <a:t> </a:t>
            </a:r>
            <a:r>
              <a:rPr lang="ru-RU" b="1" dirty="0" err="1">
                <a:solidFill>
                  <a:schemeClr val="tx2"/>
                </a:solidFill>
              </a:rPr>
              <a:t>бастап</a:t>
            </a:r>
            <a:r>
              <a:rPr lang="ru-RU" b="1" dirty="0">
                <a:solidFill>
                  <a:schemeClr val="tx2"/>
                </a:solidFill>
              </a:rPr>
              <a:t> 10 </a:t>
            </a:r>
            <a:r>
              <a:rPr lang="ru-RU" b="1" dirty="0" err="1">
                <a:solidFill>
                  <a:schemeClr val="tx2"/>
                </a:solidFill>
              </a:rPr>
              <a:t>жылға</a:t>
            </a:r>
            <a:r>
              <a:rPr lang="ru-RU" b="1" dirty="0">
                <a:solidFill>
                  <a:schemeClr val="tx2"/>
                </a:solidFill>
              </a:rPr>
              <a:t> бас </a:t>
            </a:r>
            <a:r>
              <a:rPr lang="ru-RU" b="1" dirty="0" err="1">
                <a:solidFill>
                  <a:schemeClr val="tx2"/>
                </a:solidFill>
              </a:rPr>
              <a:t>тарту</a:t>
            </a:r>
            <a:endParaRPr lang="ru-RU" b="1" dirty="0">
              <a:solidFill>
                <a:schemeClr val="tx2"/>
              </a:solidFill>
            </a:endParaRPr>
          </a:p>
          <a:p>
            <a:pPr defTabSz="6905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chemeClr val="tx2"/>
                </a:solidFill>
              </a:rPr>
              <a:t>- ЖБС-</a:t>
            </a:r>
            <a:r>
              <a:rPr lang="ru-RU" b="1" dirty="0" err="1">
                <a:solidFill>
                  <a:schemeClr val="tx2"/>
                </a:solidFill>
              </a:rPr>
              <a:t>ға</a:t>
            </a:r>
            <a:r>
              <a:rPr lang="ru-RU" b="1" dirty="0">
                <a:solidFill>
                  <a:schemeClr val="tx2"/>
                </a:solidFill>
              </a:rPr>
              <a:t> </a:t>
            </a:r>
            <a:r>
              <a:rPr lang="ru-RU" b="1" dirty="0" err="1">
                <a:solidFill>
                  <a:schemeClr val="tx2"/>
                </a:solidFill>
              </a:rPr>
              <a:t>ауысу</a:t>
            </a:r>
            <a:r>
              <a:rPr lang="ru-RU" b="1" dirty="0">
                <a:solidFill>
                  <a:schemeClr val="tx2"/>
                </a:solidFill>
              </a:rPr>
              <a:t> </a:t>
            </a:r>
            <a:r>
              <a:rPr lang="ru-RU" b="1" dirty="0" err="1">
                <a:solidFill>
                  <a:schemeClr val="tx2"/>
                </a:solidFill>
              </a:rPr>
              <a:t>құқығы</a:t>
            </a:r>
            <a:endParaRPr lang="ru-RU" sz="2000" b="1" dirty="0">
              <a:solidFill>
                <a:srgbClr val="002060"/>
              </a:solidFill>
              <a:cs typeface="Times New Roman" panose="02020603050405020304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9389680" y="848530"/>
            <a:ext cx="2829258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00B050"/>
                </a:solidFill>
                <a:cs typeface="Arial" panose="020B0604020202020204" pitchFamily="34" charset="0"/>
              </a:rPr>
              <a:t>+ </a:t>
            </a:r>
            <a:r>
              <a:rPr lang="ru-RU" sz="5400" b="1" dirty="0">
                <a:solidFill>
                  <a:srgbClr val="00B050"/>
                </a:solidFill>
                <a:cs typeface="Arial" panose="020B0604020202020204" pitchFamily="34" charset="0"/>
              </a:rPr>
              <a:t>6,7</a:t>
            </a:r>
            <a:r>
              <a:rPr lang="ru-RU" sz="2800" b="1" dirty="0">
                <a:solidFill>
                  <a:srgbClr val="00B050"/>
                </a:solidFill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00B050"/>
                </a:solidFill>
                <a:cs typeface="Arial" panose="020B0604020202020204" pitchFamily="34" charset="0"/>
              </a:rPr>
              <a:t>млрд.м</a:t>
            </a:r>
            <a:r>
              <a:rPr lang="ru-RU" b="1" baseline="30000" dirty="0">
                <a:solidFill>
                  <a:srgbClr val="00B050"/>
                </a:solidFill>
                <a:cs typeface="Arial" panose="020B0604020202020204" pitchFamily="34" charset="0"/>
              </a:rPr>
              <a:t>3</a:t>
            </a:r>
            <a:r>
              <a:rPr lang="ru-RU" sz="2800" b="1" dirty="0">
                <a:solidFill>
                  <a:srgbClr val="00B050"/>
                </a:solidFill>
                <a:cs typeface="Arial" panose="020B0604020202020204" pitchFamily="34" charset="0"/>
              </a:rPr>
              <a:t>        </a:t>
            </a:r>
            <a:r>
              <a:rPr lang="ru-RU" sz="2000" b="1" dirty="0" err="1">
                <a:solidFill>
                  <a:srgbClr val="00B050"/>
                </a:solidFill>
                <a:cs typeface="Arial" panose="020B0604020202020204" pitchFamily="34" charset="0"/>
              </a:rPr>
              <a:t>тауарлық</a:t>
            </a:r>
            <a:r>
              <a:rPr lang="ru-RU" sz="2000" b="1" dirty="0">
                <a:solidFill>
                  <a:srgbClr val="00B050"/>
                </a:solidFill>
                <a:cs typeface="Arial" panose="020B0604020202020204" pitchFamily="34" charset="0"/>
              </a:rPr>
              <a:t> газ</a:t>
            </a:r>
          </a:p>
          <a:p>
            <a:pPr algn="ctr"/>
            <a:r>
              <a:rPr lang="ru-RU" sz="2000" b="1" baseline="30000" dirty="0">
                <a:solidFill>
                  <a:srgbClr val="00B050"/>
                </a:solidFill>
                <a:cs typeface="Arial" panose="020B0604020202020204" pitchFamily="34" charset="0"/>
              </a:rPr>
              <a:t>2030 </a:t>
            </a:r>
            <a:r>
              <a:rPr lang="ru-RU" sz="2000" b="1" baseline="30000" dirty="0" err="1">
                <a:solidFill>
                  <a:srgbClr val="00B050"/>
                </a:solidFill>
                <a:cs typeface="Arial" panose="020B0604020202020204" pitchFamily="34" charset="0"/>
              </a:rPr>
              <a:t>жылға</a:t>
            </a:r>
            <a:r>
              <a:rPr lang="ru-RU" sz="2000" b="1" baseline="30000" dirty="0">
                <a:solidFill>
                  <a:srgbClr val="00B050"/>
                </a:solidFill>
                <a:cs typeface="Arial" panose="020B0604020202020204" pitchFamily="34" charset="0"/>
              </a:rPr>
              <a:t> </a:t>
            </a:r>
            <a:r>
              <a:rPr lang="ru-RU" sz="2000" b="1" baseline="30000" dirty="0" err="1">
                <a:solidFill>
                  <a:srgbClr val="00B050"/>
                </a:solidFill>
                <a:cs typeface="Arial" panose="020B0604020202020204" pitchFamily="34" charset="0"/>
              </a:rPr>
              <a:t>қарай</a:t>
            </a:r>
            <a:r>
              <a:rPr lang="ru-RU" sz="2000" b="1" dirty="0">
                <a:solidFill>
                  <a:srgbClr val="00B050"/>
                </a:solidFill>
                <a:cs typeface="Arial" panose="020B0604020202020204" pitchFamily="34" charset="0"/>
              </a:rPr>
              <a:t> </a:t>
            </a:r>
            <a:endParaRPr lang="ru-RU" sz="2000" b="1" baseline="30000" dirty="0">
              <a:solidFill>
                <a:srgbClr val="00B050"/>
              </a:solidFill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311967" y="3515213"/>
            <a:ext cx="1669368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800" fontAlgn="ctr"/>
            <a:r>
              <a:rPr lang="ru-RU" b="1" dirty="0">
                <a:solidFill>
                  <a:srgbClr val="00B050"/>
                </a:solidFill>
                <a:cs typeface="Arial" panose="020B0604020202020204" pitchFamily="34" charset="0"/>
              </a:rPr>
              <a:t> </a:t>
            </a:r>
            <a:r>
              <a:rPr lang="ru-RU" sz="4400" b="1" dirty="0">
                <a:solidFill>
                  <a:srgbClr val="00B050"/>
                </a:solidFill>
                <a:cs typeface="Arial" panose="020B0604020202020204" pitchFamily="34" charset="0"/>
              </a:rPr>
              <a:t>2,2</a:t>
            </a:r>
            <a:r>
              <a:rPr lang="ru-RU" sz="2000" b="1" dirty="0">
                <a:solidFill>
                  <a:srgbClr val="00B050"/>
                </a:solidFill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B050"/>
                </a:solidFill>
                <a:cs typeface="Arial" panose="020B0604020202020204" pitchFamily="34" charset="0"/>
              </a:rPr>
              <a:t>млрд.м</a:t>
            </a:r>
            <a:r>
              <a:rPr lang="ru-RU" sz="1400" b="1" baseline="30000" dirty="0">
                <a:solidFill>
                  <a:srgbClr val="00B050"/>
                </a:solidFill>
                <a:cs typeface="Arial" panose="020B0604020202020204" pitchFamily="34" charset="0"/>
              </a:rPr>
              <a:t>3</a:t>
            </a:r>
            <a:endParaRPr lang="ru-RU" sz="1200" b="1" i="1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94331" y="5277339"/>
            <a:ext cx="1188042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cs typeface="Arial" panose="020B0604020202020204" pitchFamily="34" charset="0"/>
              </a:rPr>
              <a:t>Теплов-Токарев </a:t>
            </a:r>
            <a:r>
              <a:rPr lang="ru-RU" sz="2400" b="1" dirty="0" err="1">
                <a:solidFill>
                  <a:schemeClr val="bg1"/>
                </a:solidFill>
                <a:cs typeface="Arial" panose="020B0604020202020204" pitchFamily="34" charset="0"/>
              </a:rPr>
              <a:t>тобы</a:t>
            </a:r>
            <a:r>
              <a:rPr lang="ru-RU" sz="2400" b="1" dirty="0">
                <a:solidFill>
                  <a:schemeClr val="bg1"/>
                </a:solidFill>
                <a:cs typeface="Arial" panose="020B0604020202020204" pitchFamily="34" charset="0"/>
              </a:rPr>
              <a:t>, </a:t>
            </a:r>
            <a:r>
              <a:rPr lang="ru-RU" sz="2400" b="1" dirty="0" err="1">
                <a:solidFill>
                  <a:schemeClr val="bg1"/>
                </a:solidFill>
                <a:cs typeface="Arial" panose="020B0604020202020204" pitchFamily="34" charset="0"/>
              </a:rPr>
              <a:t>Аңсаған</a:t>
            </a:r>
            <a:r>
              <a:rPr lang="ru-RU" sz="2400" b="1" dirty="0">
                <a:solidFill>
                  <a:schemeClr val="bg1"/>
                </a:solidFill>
                <a:cs typeface="Arial" panose="020B0604020202020204" pitchFamily="34" charset="0"/>
              </a:rPr>
              <a:t>, </a:t>
            </a:r>
            <a:r>
              <a:rPr lang="ru-RU" sz="2400" b="1" dirty="0" err="1">
                <a:solidFill>
                  <a:schemeClr val="bg1"/>
                </a:solidFill>
                <a:cs typeface="Arial" panose="020B0604020202020204" pitchFamily="34" charset="0"/>
              </a:rPr>
              <a:t>Рожковское</a:t>
            </a:r>
            <a:r>
              <a:rPr lang="ru-RU" sz="2400" b="1" dirty="0">
                <a:solidFill>
                  <a:schemeClr val="bg1"/>
                </a:solidFill>
                <a:cs typeface="Arial" panose="020B0604020202020204" pitchFamily="34" charset="0"/>
              </a:rPr>
              <a:t>, </a:t>
            </a:r>
            <a:r>
              <a:rPr lang="ru-RU" sz="2400" b="1" dirty="0" err="1">
                <a:solidFill>
                  <a:schemeClr val="bg1"/>
                </a:solidFill>
                <a:cs typeface="Arial" panose="020B0604020202020204" pitchFamily="34" charset="0"/>
              </a:rPr>
              <a:t>Қарашығанақтан</a:t>
            </a:r>
            <a:r>
              <a:rPr lang="ru-RU" sz="2400" b="1" dirty="0">
                <a:solidFill>
                  <a:schemeClr val="bg1"/>
                </a:solidFill>
                <a:cs typeface="Arial" panose="020B0604020202020204" pitchFamily="34" charset="0"/>
              </a:rPr>
              <a:t> +2 млрд. м</a:t>
            </a:r>
            <a:r>
              <a:rPr lang="ru-RU" sz="2400" b="1" baseline="30000" dirty="0">
                <a:solidFill>
                  <a:schemeClr val="bg1"/>
                </a:solidFill>
                <a:cs typeface="Arial" panose="020B0604020202020204" pitchFamily="34" charset="0"/>
              </a:rPr>
              <a:t>3</a:t>
            </a:r>
            <a:r>
              <a:rPr lang="ru-RU" sz="2400" b="1" dirty="0">
                <a:solidFill>
                  <a:schemeClr val="bg1"/>
                </a:solidFill>
                <a:cs typeface="Arial" panose="020B0604020202020204" pitchFamily="34" charset="0"/>
              </a:rPr>
              <a:t> газ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10178339" y="5683973"/>
            <a:ext cx="1815242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800" fontAlgn="ctr"/>
            <a:r>
              <a:rPr lang="ru-RU" sz="4400" b="1" dirty="0">
                <a:solidFill>
                  <a:srgbClr val="00B050"/>
                </a:solidFill>
                <a:cs typeface="Arial" panose="020B0604020202020204" pitchFamily="34" charset="0"/>
              </a:rPr>
              <a:t> 4,5 </a:t>
            </a:r>
            <a:r>
              <a:rPr lang="ru-RU" sz="1400" b="1" dirty="0">
                <a:solidFill>
                  <a:srgbClr val="00B050"/>
                </a:solidFill>
                <a:cs typeface="Arial" panose="020B0604020202020204" pitchFamily="34" charset="0"/>
              </a:rPr>
              <a:t>млрд.м</a:t>
            </a:r>
            <a:r>
              <a:rPr lang="ru-RU" sz="1400" b="1" baseline="30000" dirty="0">
                <a:solidFill>
                  <a:srgbClr val="00B050"/>
                </a:solidFill>
                <a:cs typeface="Arial" panose="020B0604020202020204" pitchFamily="34" charset="0"/>
              </a:rPr>
              <a:t>3</a:t>
            </a:r>
            <a:endParaRPr lang="ru-RU" sz="1400" b="1" i="1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176069" y="2949401"/>
            <a:ext cx="117986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err="1">
                <a:solidFill>
                  <a:schemeClr val="bg1"/>
                </a:solidFill>
                <a:cs typeface="Arial" panose="020B0604020202020204" pitchFamily="34" charset="0"/>
              </a:rPr>
              <a:t>Орталық</a:t>
            </a:r>
            <a:r>
              <a:rPr lang="ru-RU" sz="2400" b="1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cs typeface="Arial" panose="020B0604020202020204" pitchFamily="34" charset="0"/>
              </a:rPr>
              <a:t>Өріктау</a:t>
            </a:r>
            <a:r>
              <a:rPr lang="ru-RU" sz="2400" b="1" dirty="0">
                <a:solidFill>
                  <a:schemeClr val="bg1"/>
                </a:solidFill>
                <a:cs typeface="Arial" panose="020B0604020202020204" pitchFamily="34" charset="0"/>
              </a:rPr>
              <a:t>, </a:t>
            </a:r>
            <a:r>
              <a:rPr lang="ru-RU" sz="2400" b="1" dirty="0" err="1">
                <a:solidFill>
                  <a:schemeClr val="bg1"/>
                </a:solidFill>
                <a:cs typeface="Arial" panose="020B0604020202020204" pitchFamily="34" charset="0"/>
              </a:rPr>
              <a:t>Батыс</a:t>
            </a:r>
            <a:r>
              <a:rPr lang="ru-RU" sz="2400" b="1" dirty="0">
                <a:solidFill>
                  <a:schemeClr val="bg1"/>
                </a:solidFill>
                <a:cs typeface="Arial" panose="020B0604020202020204" pitchFamily="34" charset="0"/>
              </a:rPr>
              <a:t> Прорва, </a:t>
            </a:r>
            <a:r>
              <a:rPr lang="ru-RU" sz="2400" b="1" dirty="0" err="1">
                <a:solidFill>
                  <a:schemeClr val="bg1"/>
                </a:solidFill>
                <a:cs typeface="Arial" panose="020B0604020202020204" pitchFamily="34" charset="0"/>
              </a:rPr>
              <a:t>Анабай</a:t>
            </a:r>
            <a:r>
              <a:rPr lang="ru-RU" sz="2400" b="1" dirty="0">
                <a:solidFill>
                  <a:schemeClr val="bg1"/>
                </a:solidFill>
                <a:cs typeface="Arial" panose="020B0604020202020204" pitchFamily="34" charset="0"/>
              </a:rPr>
              <a:t>, Придорожное</a:t>
            </a:r>
            <a:endParaRPr lang="ru-RU" sz="2400" b="1" dirty="0">
              <a:solidFill>
                <a:schemeClr val="bg1"/>
              </a:solidFill>
            </a:endParaRPr>
          </a:p>
        </p:txBody>
      </p:sp>
      <p:cxnSp>
        <p:nvCxnSpPr>
          <p:cNvPr id="29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0033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1333330" y="121619"/>
            <a:ext cx="891251" cy="365125"/>
          </a:xfrm>
        </p:spPr>
        <p:txBody>
          <a:bodyPr/>
          <a:lstStyle/>
          <a:p>
            <a:pPr algn="ctr"/>
            <a:r>
              <a:rPr lang="ru-RU" sz="1200" dirty="0">
                <a:solidFill>
                  <a:prstClr val="black"/>
                </a:solidFill>
              </a:rPr>
              <a:t>4</a:t>
            </a:r>
            <a:r>
              <a:rPr lang="en-US" sz="1200" dirty="0" smtClean="0">
                <a:solidFill>
                  <a:prstClr val="black"/>
                </a:solidFill>
              </a:rPr>
              <a:t>-</a:t>
            </a:r>
            <a:r>
              <a:rPr lang="ru-RU" sz="1200" dirty="0">
                <a:solidFill>
                  <a:prstClr val="black"/>
                </a:solidFill>
              </a:rPr>
              <a:t>Слайд</a:t>
            </a:r>
          </a:p>
        </p:txBody>
      </p:sp>
    </p:spTree>
    <p:extLst>
      <p:ext uri="{BB962C8B-B14F-4D97-AF65-F5344CB8AC3E}">
        <p14:creationId xmlns:p14="http://schemas.microsoft.com/office/powerpoint/2010/main" val="1055475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6A394F2B-E8B0-4223-867C-FA73D40D4966}"/>
              </a:ext>
            </a:extLst>
          </p:cNvPr>
          <p:cNvSpPr/>
          <p:nvPr/>
        </p:nvSpPr>
        <p:spPr bwMode="auto">
          <a:xfrm>
            <a:off x="67271" y="131091"/>
            <a:ext cx="8447762" cy="43571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kk-KZ" sz="2400" b="1" dirty="0">
                <a:solidFill>
                  <a:srgbClr val="1A4164"/>
                </a:solidFill>
                <a:ea typeface="Barlow Condensed"/>
                <a:cs typeface="Arial" panose="020B0604020202020204" pitchFamily="34" charset="0"/>
              </a:rPr>
              <a:t>ТАУАРЛЫҚ ГАЗҒА БАҒА БЕЛГІЛЕУДІҢ ҚОДАНЫСТАҒЫ СХЕМАСЫ</a:t>
            </a:r>
            <a:endParaRPr lang="ru-RU" sz="2400" b="1" dirty="0">
              <a:solidFill>
                <a:srgbClr val="1A4164"/>
              </a:solidFill>
              <a:ea typeface="Barlow Condensed"/>
              <a:cs typeface="Arial" panose="020B0604020202020204" pitchFamily="34" charset="0"/>
            </a:endParaRPr>
          </a:p>
        </p:txBody>
      </p:sp>
      <p:cxnSp>
        <p:nvCxnSpPr>
          <p:cNvPr id="4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Скругленный прямоугольник 4"/>
          <p:cNvSpPr/>
          <p:nvPr/>
        </p:nvSpPr>
        <p:spPr>
          <a:xfrm>
            <a:off x="1773484" y="1660782"/>
            <a:ext cx="1544809" cy="176503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92012" tIns="92012" rIns="92012" bIns="92012" spcCol="1270" anchor="ctr"/>
          <a:lstStyle/>
          <a:p>
            <a:pPr algn="ctr" defTabSz="575072">
              <a:lnSpc>
                <a:spcPct val="90000"/>
              </a:lnSpc>
              <a:spcAft>
                <a:spcPct val="35000"/>
              </a:spcAft>
              <a:defRPr/>
            </a:pPr>
            <a:endParaRPr lang="ru-RU" sz="1050"/>
          </a:p>
        </p:txBody>
      </p:sp>
      <p:sp>
        <p:nvSpPr>
          <p:cNvPr id="18" name="Стрелка вправо 17"/>
          <p:cNvSpPr/>
          <p:nvPr/>
        </p:nvSpPr>
        <p:spPr>
          <a:xfrm>
            <a:off x="5519720" y="1628425"/>
            <a:ext cx="802345" cy="177001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 sz="1050"/>
          </a:p>
        </p:txBody>
      </p:sp>
      <p:sp>
        <p:nvSpPr>
          <p:cNvPr id="22" name="Прямоугольник 21"/>
          <p:cNvSpPr/>
          <p:nvPr/>
        </p:nvSpPr>
        <p:spPr>
          <a:xfrm>
            <a:off x="506882" y="5778456"/>
            <a:ext cx="1167791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ct val="0"/>
              </a:spcBef>
              <a:buNone/>
            </a:pPr>
            <a:r>
              <a:rPr lang="ru-RU" altLang="ru-RU" sz="1400" dirty="0" err="1">
                <a:cs typeface="Calibri" panose="020F0502020204030204" pitchFamily="34" charset="0"/>
              </a:rPr>
              <a:t>Газға</a:t>
            </a:r>
            <a:r>
              <a:rPr lang="ru-RU" altLang="ru-RU" sz="1400" dirty="0">
                <a:cs typeface="Calibri" panose="020F0502020204030204" pitchFamily="34" charset="0"/>
              </a:rPr>
              <a:t> </a:t>
            </a:r>
            <a:r>
              <a:rPr lang="ru-RU" altLang="ru-RU" sz="1400" dirty="0" err="1">
                <a:cs typeface="Calibri" panose="020F0502020204030204" pitchFamily="34" charset="0"/>
              </a:rPr>
              <a:t>белгілеудің</a:t>
            </a:r>
            <a:r>
              <a:rPr lang="ru-RU" altLang="ru-RU" sz="1400" dirty="0">
                <a:cs typeface="Calibri" panose="020F0502020204030204" pitchFamily="34" charset="0"/>
              </a:rPr>
              <a:t> </a:t>
            </a:r>
            <a:r>
              <a:rPr lang="ru-RU" altLang="ru-RU" sz="1400" dirty="0" err="1">
                <a:cs typeface="Calibri" panose="020F0502020204030204" pitchFamily="34" charset="0"/>
              </a:rPr>
              <a:t>асхемасы</a:t>
            </a:r>
            <a:r>
              <a:rPr lang="ru-RU" altLang="ru-RU" sz="1400" dirty="0">
                <a:cs typeface="Calibri" panose="020F0502020204030204" pitchFamily="34" charset="0"/>
              </a:rPr>
              <a:t> </a:t>
            </a:r>
            <a:r>
              <a:rPr lang="ru-RU" altLang="ru-RU" sz="1400" b="1" dirty="0">
                <a:cs typeface="Calibri" panose="020F0502020204030204" pitchFamily="34" charset="0"/>
              </a:rPr>
              <a:t>2014 </a:t>
            </a:r>
            <a:r>
              <a:rPr lang="ru-RU" altLang="ru-RU" sz="1400" b="1" dirty="0" err="1">
                <a:cs typeface="Calibri" panose="020F0502020204030204" pitchFamily="34" charset="0"/>
              </a:rPr>
              <a:t>жылдан</a:t>
            </a:r>
            <a:r>
              <a:rPr lang="ru-RU" altLang="ru-RU" sz="1400" b="1" dirty="0">
                <a:cs typeface="Calibri" panose="020F0502020204030204" pitchFamily="34" charset="0"/>
              </a:rPr>
              <a:t> </a:t>
            </a:r>
            <a:r>
              <a:rPr lang="ru-RU" altLang="ru-RU" sz="1400" b="1" dirty="0" err="1">
                <a:cs typeface="Calibri" panose="020F0502020204030204" pitchFamily="34" charset="0"/>
              </a:rPr>
              <a:t>бері</a:t>
            </a:r>
            <a:r>
              <a:rPr lang="ru-RU" altLang="ru-RU" sz="1400" b="1" dirty="0">
                <a:cs typeface="Calibri" panose="020F0502020204030204" pitchFamily="34" charset="0"/>
              </a:rPr>
              <a:t> </a:t>
            </a:r>
            <a:r>
              <a:rPr lang="ru-RU" altLang="ru-RU" sz="1400" b="1" dirty="0" err="1">
                <a:cs typeface="Calibri" panose="020F0502020204030204" pitchFamily="34" charset="0"/>
              </a:rPr>
              <a:t>қолданылып</a:t>
            </a:r>
            <a:r>
              <a:rPr lang="ru-RU" altLang="ru-RU" sz="1400" b="1" dirty="0">
                <a:cs typeface="Calibri" panose="020F0502020204030204" pitchFamily="34" charset="0"/>
              </a:rPr>
              <a:t> </a:t>
            </a:r>
            <a:r>
              <a:rPr lang="ru-RU" altLang="ru-RU" sz="1400" b="1" dirty="0" err="1">
                <a:cs typeface="Calibri" panose="020F0502020204030204" pitchFamily="34" charset="0"/>
              </a:rPr>
              <a:t>келеді</a:t>
            </a:r>
            <a:r>
              <a:rPr lang="ru-RU" altLang="ru-RU" sz="1400" b="1" dirty="0">
                <a:cs typeface="Calibri" panose="020F0502020204030204" pitchFamily="34" charset="0"/>
              </a:rPr>
              <a:t> </a:t>
            </a:r>
            <a:r>
              <a:rPr lang="ru-RU" altLang="ru-RU" sz="1400" dirty="0" err="1">
                <a:cs typeface="Calibri" panose="020F0502020204030204" pitchFamily="34" charset="0"/>
              </a:rPr>
              <a:t>және</a:t>
            </a:r>
            <a:r>
              <a:rPr lang="ru-RU" altLang="ru-RU" sz="1400" dirty="0">
                <a:cs typeface="Calibri" panose="020F0502020204030204" pitchFamily="34" charset="0"/>
              </a:rPr>
              <a:t> </a:t>
            </a:r>
            <a:r>
              <a:rPr lang="ru-RU" altLang="ru-RU" sz="1400" dirty="0" err="1">
                <a:cs typeface="Calibri" panose="020F0502020204030204" pitchFamily="34" charset="0"/>
              </a:rPr>
              <a:t>мемлекеттік</a:t>
            </a:r>
            <a:r>
              <a:rPr lang="ru-RU" altLang="ru-RU" sz="1400" dirty="0">
                <a:cs typeface="Calibri" panose="020F0502020204030204" pitchFamily="34" charset="0"/>
              </a:rPr>
              <a:t> </a:t>
            </a:r>
            <a:r>
              <a:rPr lang="ru-RU" altLang="ru-RU" sz="1400" dirty="0" err="1">
                <a:cs typeface="Calibri" panose="020F0502020204030204" pitchFamily="34" charset="0"/>
              </a:rPr>
              <a:t>органдарға</a:t>
            </a:r>
            <a:r>
              <a:rPr lang="ru-RU" altLang="ru-RU" sz="1400" dirty="0">
                <a:cs typeface="Calibri" panose="020F0502020204030204" pitchFamily="34" charset="0"/>
              </a:rPr>
              <a:t> газ </a:t>
            </a:r>
            <a:r>
              <a:rPr lang="ru-RU" altLang="ru-RU" sz="1400" dirty="0" err="1">
                <a:cs typeface="Calibri" panose="020F0502020204030204" pitchFamily="34" charset="0"/>
              </a:rPr>
              <a:t>бағасын</a:t>
            </a:r>
            <a:r>
              <a:rPr lang="ru-RU" altLang="ru-RU" sz="1400" dirty="0">
                <a:cs typeface="Calibri" panose="020F0502020204030204" pitchFamily="34" charset="0"/>
              </a:rPr>
              <a:t> </a:t>
            </a:r>
            <a:r>
              <a:rPr lang="ru-RU" altLang="ru-RU" sz="1400" dirty="0" err="1">
                <a:cs typeface="Calibri" panose="020F0502020204030204" pitchFamily="34" charset="0"/>
              </a:rPr>
              <a:t>ұстап</a:t>
            </a:r>
            <a:r>
              <a:rPr lang="ru-RU" altLang="ru-RU" sz="1400" dirty="0">
                <a:cs typeface="Calibri" panose="020F0502020204030204" pitchFamily="34" charset="0"/>
              </a:rPr>
              <a:t> </a:t>
            </a:r>
            <a:r>
              <a:rPr lang="ru-RU" altLang="ru-RU" sz="1400" dirty="0" err="1">
                <a:cs typeface="Calibri" panose="020F0502020204030204" pitchFamily="34" charset="0"/>
              </a:rPr>
              <a:t>тұруға</a:t>
            </a:r>
            <a:r>
              <a:rPr lang="ru-RU" altLang="ru-RU" sz="1400" dirty="0">
                <a:cs typeface="Calibri" panose="020F0502020204030204" pitchFamily="34" charset="0"/>
              </a:rPr>
              <a:t> </a:t>
            </a:r>
            <a:r>
              <a:rPr lang="ru-RU" altLang="ru-RU" sz="1400" dirty="0" err="1">
                <a:cs typeface="Calibri" panose="020F0502020204030204" pitchFamily="34" charset="0"/>
              </a:rPr>
              <a:t>мүмкіндік</a:t>
            </a:r>
            <a:r>
              <a:rPr lang="ru-RU" altLang="ru-RU" sz="1400" dirty="0">
                <a:cs typeface="Calibri" panose="020F0502020204030204" pitchFamily="34" charset="0"/>
              </a:rPr>
              <a:t> </a:t>
            </a:r>
            <a:r>
              <a:rPr lang="ru-RU" altLang="ru-RU" sz="1400" dirty="0" err="1">
                <a:cs typeface="Calibri" panose="020F0502020204030204" pitchFamily="34" charset="0"/>
              </a:rPr>
              <a:t>береді</a:t>
            </a:r>
            <a:r>
              <a:rPr lang="ru-RU" altLang="ru-RU" sz="1400" dirty="0">
                <a:cs typeface="Calibri" panose="020F0502020204030204" pitchFamily="34" charset="0"/>
              </a:rPr>
              <a:t>.</a:t>
            </a:r>
          </a:p>
          <a:p>
            <a:pPr algn="just">
              <a:spcBef>
                <a:spcPct val="0"/>
              </a:spcBef>
              <a:buNone/>
            </a:pPr>
            <a:r>
              <a:rPr lang="ru-RU" altLang="ru-RU" sz="1400" dirty="0" err="1">
                <a:cs typeface="Calibri" panose="020F0502020204030204" pitchFamily="34" charset="0"/>
              </a:rPr>
              <a:t>Бағаны</a:t>
            </a:r>
            <a:r>
              <a:rPr lang="ru-RU" altLang="ru-RU" sz="1400" dirty="0">
                <a:cs typeface="Calibri" panose="020F0502020204030204" pitchFamily="34" charset="0"/>
              </a:rPr>
              <a:t> </a:t>
            </a:r>
            <a:r>
              <a:rPr lang="ru-RU" altLang="ru-RU" sz="1400" dirty="0" err="1">
                <a:cs typeface="Calibri" panose="020F0502020204030204" pitchFamily="34" charset="0"/>
              </a:rPr>
              <a:t>көтеруді</a:t>
            </a:r>
            <a:r>
              <a:rPr lang="ru-RU" altLang="ru-RU" sz="1400" dirty="0">
                <a:cs typeface="Calibri" panose="020F0502020204030204" pitchFamily="34" charset="0"/>
              </a:rPr>
              <a:t> </a:t>
            </a:r>
            <a:r>
              <a:rPr lang="ru-RU" altLang="ru-RU" sz="1400" dirty="0" err="1">
                <a:cs typeface="Calibri" panose="020F0502020204030204" pitchFamily="34" charset="0"/>
              </a:rPr>
              <a:t>ұстап</a:t>
            </a:r>
            <a:r>
              <a:rPr lang="ru-RU" altLang="ru-RU" sz="1400" dirty="0">
                <a:cs typeface="Calibri" panose="020F0502020204030204" pitchFamily="34" charset="0"/>
              </a:rPr>
              <a:t> </a:t>
            </a:r>
            <a:r>
              <a:rPr lang="ru-RU" altLang="ru-RU" sz="1400" dirty="0" err="1">
                <a:cs typeface="Calibri" panose="020F0502020204030204" pitchFamily="34" charset="0"/>
              </a:rPr>
              <a:t>тұру</a:t>
            </a:r>
            <a:r>
              <a:rPr lang="ru-RU" altLang="ru-RU" sz="1400" dirty="0">
                <a:cs typeface="Calibri" panose="020F0502020204030204" pitchFamily="34" charset="0"/>
              </a:rPr>
              <a:t> </a:t>
            </a:r>
            <a:r>
              <a:rPr lang="ru-RU" altLang="ru-RU" sz="1400" dirty="0" err="1">
                <a:cs typeface="Calibri" panose="020F0502020204030204" pitchFamily="34" charset="0"/>
              </a:rPr>
              <a:t>себебімен</a:t>
            </a:r>
            <a:r>
              <a:rPr lang="ru-RU" altLang="ru-RU" sz="1400" dirty="0">
                <a:cs typeface="Calibri" panose="020F0502020204030204" pitchFamily="34" charset="0"/>
              </a:rPr>
              <a:t> 2015-2021 </a:t>
            </a:r>
            <a:r>
              <a:rPr lang="ru-RU" altLang="ru-RU" sz="1400" dirty="0" err="1">
                <a:cs typeface="Calibri" panose="020F0502020204030204" pitchFamily="34" charset="0"/>
              </a:rPr>
              <a:t>жылдар</a:t>
            </a:r>
            <a:r>
              <a:rPr lang="ru-RU" altLang="ru-RU" sz="1400" dirty="0">
                <a:cs typeface="Calibri" panose="020F0502020204030204" pitchFamily="34" charset="0"/>
              </a:rPr>
              <a:t> </a:t>
            </a:r>
            <a:r>
              <a:rPr lang="ru-RU" altLang="ru-RU" sz="1400" dirty="0" err="1">
                <a:cs typeface="Calibri" panose="020F0502020204030204" pitchFamily="34" charset="0"/>
              </a:rPr>
              <a:t>аралығында</a:t>
            </a:r>
            <a:r>
              <a:rPr lang="ru-RU" altLang="ru-RU" sz="1400" dirty="0">
                <a:cs typeface="Calibri" panose="020F0502020204030204" pitchFamily="34" charset="0"/>
              </a:rPr>
              <a:t> </a:t>
            </a:r>
            <a:r>
              <a:rPr lang="kk-KZ" altLang="ru-RU" sz="1400" dirty="0" smtClean="0">
                <a:cs typeface="Calibri" panose="020F0502020204030204" pitchFamily="34" charset="0"/>
              </a:rPr>
              <a:t>«</a:t>
            </a:r>
            <a:r>
              <a:rPr lang="en-US" altLang="ru-RU" sz="1400" dirty="0" err="1" smtClean="0">
                <a:cs typeface="Calibri" panose="020F0502020204030204" pitchFamily="34" charset="0"/>
              </a:rPr>
              <a:t>QazaqGaz</a:t>
            </a:r>
            <a:r>
              <a:rPr lang="kk-KZ" altLang="ru-RU" sz="1400" dirty="0" smtClean="0">
                <a:cs typeface="Calibri" panose="020F0502020204030204" pitchFamily="34" charset="0"/>
              </a:rPr>
              <a:t>»</a:t>
            </a:r>
            <a:r>
              <a:rPr lang="en-US" altLang="ru-RU" sz="1400" dirty="0" smtClean="0">
                <a:cs typeface="Calibri" panose="020F0502020204030204" pitchFamily="34" charset="0"/>
              </a:rPr>
              <a:t> </a:t>
            </a:r>
            <a:r>
              <a:rPr lang="kk-KZ" altLang="ru-RU" sz="1400" dirty="0" smtClean="0">
                <a:cs typeface="Calibri" panose="020F0502020204030204" pitchFamily="34" charset="0"/>
              </a:rPr>
              <a:t>ҰК» АҚ-н</a:t>
            </a:r>
            <a:r>
              <a:rPr lang="ru-RU" altLang="ru-RU" sz="1400" dirty="0" err="1" smtClean="0">
                <a:cs typeface="Calibri" panose="020F0502020204030204" pitchFamily="34" charset="0"/>
              </a:rPr>
              <a:t>ың</a:t>
            </a:r>
            <a:r>
              <a:rPr lang="ru-RU" altLang="ru-RU" sz="1400" dirty="0" smtClean="0">
                <a:cs typeface="Calibri" panose="020F0502020204030204" pitchFamily="34" charset="0"/>
              </a:rPr>
              <a:t> </a:t>
            </a:r>
            <a:r>
              <a:rPr lang="ru-RU" altLang="ru-RU" sz="1400" dirty="0" err="1">
                <a:cs typeface="Calibri" panose="020F0502020204030204" pitchFamily="34" charset="0"/>
              </a:rPr>
              <a:t>ішкі</a:t>
            </a:r>
            <a:r>
              <a:rPr lang="ru-RU" altLang="ru-RU" sz="1400" dirty="0">
                <a:cs typeface="Calibri" panose="020F0502020204030204" pitchFamily="34" charset="0"/>
              </a:rPr>
              <a:t> </a:t>
            </a:r>
            <a:r>
              <a:rPr lang="ru-RU" altLang="ru-RU" sz="1400" dirty="0" err="1">
                <a:cs typeface="Calibri" panose="020F0502020204030204" pitchFamily="34" charset="0"/>
              </a:rPr>
              <a:t>нарықтағы</a:t>
            </a:r>
            <a:r>
              <a:rPr lang="ru-RU" altLang="ru-RU" sz="1400" dirty="0">
                <a:cs typeface="Calibri" panose="020F0502020204030204" pitchFamily="34" charset="0"/>
              </a:rPr>
              <a:t> </a:t>
            </a:r>
            <a:r>
              <a:rPr lang="ru-RU" altLang="ru-RU" sz="1400" dirty="0" err="1">
                <a:cs typeface="Calibri" panose="020F0502020204030204" pitchFamily="34" charset="0"/>
              </a:rPr>
              <a:t>залалдары</a:t>
            </a:r>
            <a:r>
              <a:rPr lang="ru-RU" altLang="ru-RU" sz="1400" dirty="0">
                <a:cs typeface="Calibri" panose="020F0502020204030204" pitchFamily="34" charset="0"/>
              </a:rPr>
              <a:t> </a:t>
            </a:r>
            <a:r>
              <a:rPr lang="ru-RU" altLang="ru-RU" sz="1600" b="1" u="sng" dirty="0">
                <a:solidFill>
                  <a:srgbClr val="FF0000"/>
                </a:solidFill>
                <a:cs typeface="Calibri" panose="020F0502020204030204" pitchFamily="34" charset="0"/>
              </a:rPr>
              <a:t>587 млрд </a:t>
            </a:r>
            <a:r>
              <a:rPr lang="ru-RU" altLang="ru-RU" sz="1600" b="1" u="sng" dirty="0" err="1">
                <a:solidFill>
                  <a:srgbClr val="FF0000"/>
                </a:solidFill>
                <a:cs typeface="Calibri" panose="020F0502020204030204" pitchFamily="34" charset="0"/>
              </a:rPr>
              <a:t>теңгені</a:t>
            </a:r>
            <a:r>
              <a:rPr lang="ru-RU" altLang="ru-RU" sz="1600" b="1" u="sng" dirty="0">
                <a:solidFill>
                  <a:srgbClr val="FF0000"/>
                </a:solidFill>
                <a:cs typeface="Calibri" panose="020F0502020204030204" pitchFamily="34" charset="0"/>
              </a:rPr>
              <a:t> </a:t>
            </a:r>
            <a:r>
              <a:rPr lang="ru-RU" altLang="ru-RU" sz="1400" dirty="0" err="1">
                <a:cs typeface="Calibri" panose="020F0502020204030204" pitchFamily="34" charset="0"/>
              </a:rPr>
              <a:t>құрады</a:t>
            </a:r>
            <a:r>
              <a:rPr lang="ru-RU" altLang="ru-RU" sz="1400" dirty="0">
                <a:cs typeface="Calibri" panose="020F0502020204030204" pitchFamily="34" charset="0"/>
              </a:rPr>
              <a:t>.</a:t>
            </a:r>
          </a:p>
          <a:p>
            <a:pPr algn="just">
              <a:spcBef>
                <a:spcPct val="0"/>
              </a:spcBef>
              <a:buNone/>
            </a:pPr>
            <a:r>
              <a:rPr lang="ru-RU" altLang="ru-RU" sz="1600" b="1" u="sng" dirty="0" err="1" smtClean="0">
                <a:solidFill>
                  <a:srgbClr val="FF0000"/>
                </a:solidFill>
                <a:cs typeface="Calibri" panose="020F0502020204030204" pitchFamily="34" charset="0"/>
              </a:rPr>
              <a:t>Тұтынудың</a:t>
            </a:r>
            <a:r>
              <a:rPr lang="ru-RU" altLang="ru-RU" sz="1600" b="1" u="sng" dirty="0" smtClean="0">
                <a:solidFill>
                  <a:srgbClr val="FF0000"/>
                </a:solidFill>
                <a:cs typeface="Calibri" panose="020F0502020204030204" pitchFamily="34" charset="0"/>
              </a:rPr>
              <a:t> </a:t>
            </a:r>
            <a:r>
              <a:rPr lang="ru-RU" altLang="ru-RU" sz="1600" b="1" u="sng" dirty="0" err="1" smtClean="0">
                <a:solidFill>
                  <a:srgbClr val="FF0000"/>
                </a:solidFill>
                <a:cs typeface="Calibri" panose="020F0502020204030204" pitchFamily="34" charset="0"/>
              </a:rPr>
              <a:t>өсуімен</a:t>
            </a:r>
            <a:r>
              <a:rPr lang="ru-RU" altLang="ru-RU" sz="1600" b="1" u="sng" dirty="0" smtClean="0">
                <a:solidFill>
                  <a:srgbClr val="FF0000"/>
                </a:solidFill>
                <a:cs typeface="Calibri" panose="020F0502020204030204" pitchFamily="34" charset="0"/>
              </a:rPr>
              <a:t> ж</a:t>
            </a:r>
            <a:r>
              <a:rPr lang="kk-KZ" altLang="ru-RU" sz="1600" b="1" u="sng" dirty="0" smtClean="0">
                <a:solidFill>
                  <a:srgbClr val="FF0000"/>
                </a:solidFill>
                <a:cs typeface="Calibri" panose="020F0502020204030204" pitchFamily="34" charset="0"/>
              </a:rPr>
              <a:t>әне экспорт көлемінің төмендеуімен, </a:t>
            </a:r>
            <a:r>
              <a:rPr lang="ru-RU" altLang="ru-RU" sz="1600" b="1" u="sng" dirty="0" err="1" smtClean="0">
                <a:solidFill>
                  <a:srgbClr val="FF0000"/>
                </a:solidFill>
                <a:cs typeface="Calibri" panose="020F0502020204030204" pitchFamily="34" charset="0"/>
              </a:rPr>
              <a:t>кірістер</a:t>
            </a:r>
            <a:r>
              <a:rPr lang="ru-RU" altLang="ru-RU" sz="1600" b="1" u="sng" dirty="0" smtClean="0">
                <a:solidFill>
                  <a:srgbClr val="FF0000"/>
                </a:solidFill>
                <a:cs typeface="Calibri" panose="020F0502020204030204" pitchFamily="34" charset="0"/>
              </a:rPr>
              <a:t> </a:t>
            </a:r>
            <a:r>
              <a:rPr lang="ru-RU" altLang="ru-RU" sz="1600" b="1" u="sng" dirty="0" err="1">
                <a:solidFill>
                  <a:srgbClr val="FF0000"/>
                </a:solidFill>
                <a:cs typeface="Calibri" panose="020F0502020204030204" pitchFamily="34" charset="0"/>
              </a:rPr>
              <a:t>және</a:t>
            </a:r>
            <a:r>
              <a:rPr lang="ru-RU" altLang="ru-RU" sz="1600" b="1" u="sng" dirty="0">
                <a:solidFill>
                  <a:srgbClr val="FF0000"/>
                </a:solidFill>
                <a:cs typeface="Calibri" panose="020F0502020204030204" pitchFamily="34" charset="0"/>
              </a:rPr>
              <a:t> </a:t>
            </a:r>
            <a:r>
              <a:rPr lang="ru-RU" altLang="ru-RU" sz="1600" b="1" u="sng" dirty="0" err="1">
                <a:solidFill>
                  <a:srgbClr val="FF0000"/>
                </a:solidFill>
                <a:cs typeface="Calibri" panose="020F0502020204030204" pitchFamily="34" charset="0"/>
              </a:rPr>
              <a:t>субсидиялау</a:t>
            </a:r>
            <a:r>
              <a:rPr lang="ru-RU" altLang="ru-RU" sz="1600" b="1" u="sng" dirty="0">
                <a:solidFill>
                  <a:srgbClr val="FF0000"/>
                </a:solidFill>
                <a:cs typeface="Calibri" panose="020F0502020204030204" pitchFamily="34" charset="0"/>
              </a:rPr>
              <a:t> </a:t>
            </a:r>
            <a:r>
              <a:rPr lang="ru-RU" altLang="ru-RU" sz="1600" b="1" u="sng" dirty="0" err="1">
                <a:solidFill>
                  <a:srgbClr val="FF0000"/>
                </a:solidFill>
                <a:cs typeface="Calibri" panose="020F0502020204030204" pitchFamily="34" charset="0"/>
              </a:rPr>
              <a:t>мүмкіндігі</a:t>
            </a:r>
            <a:r>
              <a:rPr lang="ru-RU" altLang="ru-RU" sz="1600" b="1" u="sng" dirty="0">
                <a:solidFill>
                  <a:srgbClr val="FF0000"/>
                </a:solidFill>
                <a:cs typeface="Calibri" panose="020F0502020204030204" pitchFamily="34" charset="0"/>
              </a:rPr>
              <a:t> </a:t>
            </a:r>
            <a:r>
              <a:rPr lang="ru-RU" altLang="ru-RU" sz="1600" b="1" u="sng" dirty="0" err="1">
                <a:solidFill>
                  <a:srgbClr val="FF0000"/>
                </a:solidFill>
                <a:cs typeface="Calibri" panose="020F0502020204030204" pitchFamily="34" charset="0"/>
              </a:rPr>
              <a:t>төмендейді</a:t>
            </a:r>
            <a:r>
              <a:rPr lang="ru-RU" altLang="ru-RU" sz="1600" b="1" u="sng" dirty="0">
                <a:solidFill>
                  <a:srgbClr val="FF0000"/>
                </a:solidFill>
                <a:cs typeface="Calibri" panose="020F0502020204030204" pitchFamily="34" charset="0"/>
              </a:rPr>
              <a:t>.</a:t>
            </a:r>
            <a:endParaRPr lang="ru-RU" altLang="ru-RU" sz="1100" b="1" u="sng" dirty="0">
              <a:solidFill>
                <a:srgbClr val="FF0000"/>
              </a:solidFill>
              <a:cs typeface="Calibri" panose="020F050202020403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375874" y="735283"/>
            <a:ext cx="17946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tx2">
                    <a:lumMod val="75000"/>
                  </a:schemeClr>
                </a:solidFill>
              </a:rPr>
              <a:t>ЖЕР ҚОЙНАУЫН </a:t>
            </a:r>
            <a:br>
              <a:rPr lang="ru-RU" sz="1400" b="1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1400" b="1" dirty="0">
                <a:solidFill>
                  <a:schemeClr val="tx2">
                    <a:lumMod val="75000"/>
                  </a:schemeClr>
                </a:solidFill>
              </a:rPr>
              <a:t>ПАЙДАЛАНУШЫЛАР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272678" y="720614"/>
            <a:ext cx="26701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tx2">
                    <a:lumMod val="75000"/>
                  </a:schemeClr>
                </a:solidFill>
              </a:rPr>
              <a:t>ҰЛТТЫҚ ОПЕРАТОР </a:t>
            </a:r>
          </a:p>
          <a:p>
            <a:pPr algn="ctr"/>
            <a:r>
              <a:rPr lang="ru-RU" sz="1400" b="1" dirty="0">
                <a:solidFill>
                  <a:schemeClr val="tx2">
                    <a:lumMod val="75000"/>
                  </a:schemeClr>
                </a:solidFill>
              </a:rPr>
              <a:t>«</a:t>
            </a:r>
            <a:r>
              <a:rPr lang="en-US" sz="1400" b="1" dirty="0" err="1">
                <a:solidFill>
                  <a:schemeClr val="tx2">
                    <a:lumMod val="75000"/>
                  </a:schemeClr>
                </a:solidFill>
              </a:rPr>
              <a:t>QazaqGaz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</a:rPr>
              <a:t>» ҰК» АҚ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786044" y="849371"/>
            <a:ext cx="26701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tx2">
                    <a:lumMod val="75000"/>
                  </a:schemeClr>
                </a:solidFill>
              </a:rPr>
              <a:t>ГАЗ ТАРАТУ ҰЙЫМДАРЫ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506471" y="881923"/>
            <a:ext cx="28810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tx2">
                    <a:lumMod val="75000"/>
                  </a:schemeClr>
                </a:solidFill>
              </a:rPr>
              <a:t>ХАЛЫҚ</a:t>
            </a:r>
          </a:p>
        </p:txBody>
      </p:sp>
      <p:sp>
        <p:nvSpPr>
          <p:cNvPr id="31" name="Стрелка вправо 30"/>
          <p:cNvSpPr/>
          <p:nvPr/>
        </p:nvSpPr>
        <p:spPr>
          <a:xfrm>
            <a:off x="3000588" y="1628425"/>
            <a:ext cx="712405" cy="216948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 sz="1050"/>
          </a:p>
        </p:txBody>
      </p:sp>
      <p:sp>
        <p:nvSpPr>
          <p:cNvPr id="33" name="Стрелка вправо 32"/>
          <p:cNvSpPr/>
          <p:nvPr/>
        </p:nvSpPr>
        <p:spPr>
          <a:xfrm>
            <a:off x="8240961" y="1635394"/>
            <a:ext cx="884263" cy="216948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 sz="1050"/>
          </a:p>
        </p:txBody>
      </p:sp>
      <p:pic>
        <p:nvPicPr>
          <p:cNvPr id="35" name="object 1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258764" y="1324669"/>
            <a:ext cx="592992" cy="766905"/>
          </a:xfrm>
          <a:prstGeom prst="rect">
            <a:avLst/>
          </a:prstGeom>
        </p:spPr>
      </p:pic>
      <p:pic>
        <p:nvPicPr>
          <p:cNvPr id="36" name="Рисунок 33">
            <a:extLst>
              <a:ext uri="{FF2B5EF4-FFF2-40B4-BE49-F238E27FC236}">
                <a16:creationId xmlns:a16="http://schemas.microsoft.com/office/drawing/2014/main" xmlns="" id="{219B0B40-B5B9-46CA-85E8-0FAECD4639B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5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592" y="1364965"/>
            <a:ext cx="579286" cy="633401"/>
          </a:xfrm>
          <a:prstGeom prst="rect">
            <a:avLst/>
          </a:prstGeom>
        </p:spPr>
      </p:pic>
      <p:grpSp>
        <p:nvGrpSpPr>
          <p:cNvPr id="37" name="object 36"/>
          <p:cNvGrpSpPr/>
          <p:nvPr/>
        </p:nvGrpSpPr>
        <p:grpSpPr>
          <a:xfrm>
            <a:off x="6973535" y="1485032"/>
            <a:ext cx="571182" cy="413400"/>
            <a:chOff x="7972323" y="6643641"/>
            <a:chExt cx="802348" cy="600038"/>
          </a:xfrm>
        </p:grpSpPr>
        <p:sp>
          <p:nvSpPr>
            <p:cNvPr id="38" name="object 37"/>
            <p:cNvSpPr/>
            <p:nvPr/>
          </p:nvSpPr>
          <p:spPr>
            <a:xfrm>
              <a:off x="8537181" y="6825780"/>
              <a:ext cx="237490" cy="363220"/>
            </a:xfrm>
            <a:custGeom>
              <a:avLst/>
              <a:gdLst/>
              <a:ahLst/>
              <a:cxnLst/>
              <a:rect l="l" t="t" r="r" b="b"/>
              <a:pathLst>
                <a:path w="237490" h="363220">
                  <a:moveTo>
                    <a:pt x="148285" y="362622"/>
                  </a:moveTo>
                  <a:lnTo>
                    <a:pt x="148323" y="255663"/>
                  </a:lnTo>
                  <a:lnTo>
                    <a:pt x="148826" y="210902"/>
                  </a:lnTo>
                  <a:lnTo>
                    <a:pt x="145094" y="168395"/>
                  </a:lnTo>
                  <a:lnTo>
                    <a:pt x="129260" y="130726"/>
                  </a:lnTo>
                  <a:lnTo>
                    <a:pt x="93459" y="100482"/>
                  </a:lnTo>
                  <a:lnTo>
                    <a:pt x="48977" y="89512"/>
                  </a:lnTo>
                  <a:lnTo>
                    <a:pt x="0" y="88925"/>
                  </a:lnTo>
                  <a:lnTo>
                    <a:pt x="342" y="571"/>
                  </a:lnTo>
                  <a:lnTo>
                    <a:pt x="68945" y="1926"/>
                  </a:lnTo>
                  <a:lnTo>
                    <a:pt x="130517" y="19913"/>
                  </a:lnTo>
                  <a:lnTo>
                    <a:pt x="175625" y="50831"/>
                  </a:lnTo>
                  <a:lnTo>
                    <a:pt x="209054" y="91503"/>
                  </a:lnTo>
                  <a:lnTo>
                    <a:pt x="232070" y="147552"/>
                  </a:lnTo>
                  <a:lnTo>
                    <a:pt x="236860" y="210902"/>
                  </a:lnTo>
                  <a:lnTo>
                    <a:pt x="236931" y="362571"/>
                  </a:lnTo>
                  <a:lnTo>
                    <a:pt x="148285" y="362622"/>
                  </a:lnTo>
                  <a:close/>
                </a:path>
              </a:pathLst>
            </a:custGeom>
            <a:solidFill>
              <a:srgbClr val="008BD2"/>
            </a:solidFill>
          </p:spPr>
          <p:txBody>
            <a:bodyPr wrap="square" lIns="0" tIns="0" rIns="0" bIns="0" rtlCol="0"/>
            <a:lstStyle/>
            <a:p>
              <a:endParaRPr sz="1350"/>
            </a:p>
          </p:txBody>
        </p:sp>
        <p:sp>
          <p:nvSpPr>
            <p:cNvPr id="39" name="object 38"/>
            <p:cNvSpPr/>
            <p:nvPr/>
          </p:nvSpPr>
          <p:spPr>
            <a:xfrm>
              <a:off x="8260309" y="7006825"/>
              <a:ext cx="236854" cy="236854"/>
            </a:xfrm>
            <a:custGeom>
              <a:avLst/>
              <a:gdLst/>
              <a:ahLst/>
              <a:cxnLst/>
              <a:rect l="l" t="t" r="r" b="b"/>
              <a:pathLst>
                <a:path w="236854" h="236854">
                  <a:moveTo>
                    <a:pt x="135178" y="236334"/>
                  </a:moveTo>
                  <a:lnTo>
                    <a:pt x="85367" y="233315"/>
                  </a:lnTo>
                  <a:lnTo>
                    <a:pt x="44319" y="212212"/>
                  </a:lnTo>
                  <a:lnTo>
                    <a:pt x="14906" y="177957"/>
                  </a:lnTo>
                  <a:lnTo>
                    <a:pt x="0" y="135483"/>
                  </a:lnTo>
                  <a:lnTo>
                    <a:pt x="2903" y="84914"/>
                  </a:lnTo>
                  <a:lnTo>
                    <a:pt x="24399" y="43776"/>
                  </a:lnTo>
                  <a:lnTo>
                    <a:pt x="59207" y="14622"/>
                  </a:lnTo>
                  <a:lnTo>
                    <a:pt x="102044" y="0"/>
                  </a:lnTo>
                  <a:lnTo>
                    <a:pt x="151289" y="3164"/>
                  </a:lnTo>
                  <a:lnTo>
                    <a:pt x="187968" y="22186"/>
                  </a:lnTo>
                  <a:lnTo>
                    <a:pt x="121583" y="22186"/>
                  </a:lnTo>
                  <a:lnTo>
                    <a:pt x="104228" y="31051"/>
                  </a:lnTo>
                  <a:lnTo>
                    <a:pt x="86243" y="45391"/>
                  </a:lnTo>
                  <a:lnTo>
                    <a:pt x="72007" y="64171"/>
                  </a:lnTo>
                  <a:lnTo>
                    <a:pt x="62607" y="88206"/>
                  </a:lnTo>
                  <a:lnTo>
                    <a:pt x="60181" y="109221"/>
                  </a:lnTo>
                  <a:lnTo>
                    <a:pt x="46167" y="109221"/>
                  </a:lnTo>
                  <a:lnTo>
                    <a:pt x="39257" y="113596"/>
                  </a:lnTo>
                  <a:lnTo>
                    <a:pt x="36956" y="136372"/>
                  </a:lnTo>
                  <a:lnTo>
                    <a:pt x="47941" y="174962"/>
                  </a:lnTo>
                  <a:lnTo>
                    <a:pt x="73556" y="200841"/>
                  </a:lnTo>
                  <a:lnTo>
                    <a:pt x="107478" y="212966"/>
                  </a:lnTo>
                  <a:lnTo>
                    <a:pt x="187681" y="212966"/>
                  </a:lnTo>
                  <a:lnTo>
                    <a:pt x="177651" y="221566"/>
                  </a:lnTo>
                  <a:lnTo>
                    <a:pt x="135178" y="236334"/>
                  </a:lnTo>
                  <a:close/>
                </a:path>
                <a:path w="236854" h="236854">
                  <a:moveTo>
                    <a:pt x="143319" y="106857"/>
                  </a:moveTo>
                  <a:lnTo>
                    <a:pt x="132389" y="69056"/>
                  </a:lnTo>
                  <a:lnTo>
                    <a:pt x="130564" y="35637"/>
                  </a:lnTo>
                  <a:lnTo>
                    <a:pt x="128914" y="24437"/>
                  </a:lnTo>
                  <a:lnTo>
                    <a:pt x="121583" y="22186"/>
                  </a:lnTo>
                  <a:lnTo>
                    <a:pt x="187968" y="22186"/>
                  </a:lnTo>
                  <a:lnTo>
                    <a:pt x="192298" y="24437"/>
                  </a:lnTo>
                  <a:lnTo>
                    <a:pt x="221766" y="58789"/>
                  </a:lnTo>
                  <a:lnTo>
                    <a:pt x="227317" y="74853"/>
                  </a:lnTo>
                  <a:lnTo>
                    <a:pt x="167436" y="74853"/>
                  </a:lnTo>
                  <a:lnTo>
                    <a:pt x="163780" y="79940"/>
                  </a:lnTo>
                  <a:lnTo>
                    <a:pt x="159250" y="89331"/>
                  </a:lnTo>
                  <a:lnTo>
                    <a:pt x="152783" y="99485"/>
                  </a:lnTo>
                  <a:lnTo>
                    <a:pt x="143319" y="106857"/>
                  </a:lnTo>
                  <a:close/>
                </a:path>
                <a:path w="236854" h="236854">
                  <a:moveTo>
                    <a:pt x="187681" y="212966"/>
                  </a:moveTo>
                  <a:lnTo>
                    <a:pt x="107478" y="212966"/>
                  </a:lnTo>
                  <a:lnTo>
                    <a:pt x="143384" y="210291"/>
                  </a:lnTo>
                  <a:lnTo>
                    <a:pt x="174952" y="191771"/>
                  </a:lnTo>
                  <a:lnTo>
                    <a:pt x="195859" y="156362"/>
                  </a:lnTo>
                  <a:lnTo>
                    <a:pt x="198650" y="143763"/>
                  </a:lnTo>
                  <a:lnTo>
                    <a:pt x="199378" y="131164"/>
                  </a:lnTo>
                  <a:lnTo>
                    <a:pt x="198061" y="118638"/>
                  </a:lnTo>
                  <a:lnTo>
                    <a:pt x="175826" y="76385"/>
                  </a:lnTo>
                  <a:lnTo>
                    <a:pt x="167436" y="74853"/>
                  </a:lnTo>
                  <a:lnTo>
                    <a:pt x="227317" y="74853"/>
                  </a:lnTo>
                  <a:lnTo>
                    <a:pt x="236435" y="101244"/>
                  </a:lnTo>
                  <a:lnTo>
                    <a:pt x="233146" y="151087"/>
                  </a:lnTo>
                  <a:lnTo>
                    <a:pt x="211929" y="192173"/>
                  </a:lnTo>
                  <a:lnTo>
                    <a:pt x="187681" y="212966"/>
                  </a:lnTo>
                  <a:close/>
                </a:path>
                <a:path w="236854" h="236854">
                  <a:moveTo>
                    <a:pt x="59131" y="118313"/>
                  </a:moveTo>
                  <a:lnTo>
                    <a:pt x="54016" y="113907"/>
                  </a:lnTo>
                  <a:lnTo>
                    <a:pt x="46167" y="109221"/>
                  </a:lnTo>
                  <a:lnTo>
                    <a:pt x="60181" y="109221"/>
                  </a:lnTo>
                  <a:lnTo>
                    <a:pt x="59131" y="118313"/>
                  </a:lnTo>
                  <a:close/>
                </a:path>
              </a:pathLst>
            </a:custGeom>
            <a:solidFill>
              <a:srgbClr val="006190"/>
            </a:solidFill>
          </p:spPr>
          <p:txBody>
            <a:bodyPr wrap="square" lIns="0" tIns="0" rIns="0" bIns="0" rtlCol="0"/>
            <a:lstStyle/>
            <a:p>
              <a:endParaRPr sz="1350"/>
            </a:p>
          </p:txBody>
        </p:sp>
        <p:sp>
          <p:nvSpPr>
            <p:cNvPr id="40" name="object 39"/>
            <p:cNvSpPr/>
            <p:nvPr/>
          </p:nvSpPr>
          <p:spPr>
            <a:xfrm>
              <a:off x="7972323" y="6643641"/>
              <a:ext cx="549911" cy="561974"/>
            </a:xfrm>
            <a:custGeom>
              <a:avLst/>
              <a:gdLst/>
              <a:ahLst/>
              <a:cxnLst/>
              <a:rect l="l" t="t" r="r" b="b"/>
              <a:pathLst>
                <a:path w="549909" h="561975">
                  <a:moveTo>
                    <a:pt x="238658" y="235826"/>
                  </a:moveTo>
                  <a:lnTo>
                    <a:pt x="238277" y="193560"/>
                  </a:lnTo>
                  <a:lnTo>
                    <a:pt x="238379" y="180467"/>
                  </a:lnTo>
                  <a:lnTo>
                    <a:pt x="238074" y="184137"/>
                  </a:lnTo>
                  <a:lnTo>
                    <a:pt x="236194" y="182346"/>
                  </a:lnTo>
                  <a:lnTo>
                    <a:pt x="218097" y="182880"/>
                  </a:lnTo>
                  <a:lnTo>
                    <a:pt x="200101" y="182702"/>
                  </a:lnTo>
                  <a:lnTo>
                    <a:pt x="122186" y="195033"/>
                  </a:lnTo>
                  <a:lnTo>
                    <a:pt x="85471" y="213995"/>
                  </a:lnTo>
                  <a:lnTo>
                    <a:pt x="54063" y="240347"/>
                  </a:lnTo>
                  <a:lnTo>
                    <a:pt x="28282" y="273138"/>
                  </a:lnTo>
                  <a:lnTo>
                    <a:pt x="5245" y="328549"/>
                  </a:lnTo>
                  <a:lnTo>
                    <a:pt x="0" y="394284"/>
                  </a:lnTo>
                  <a:lnTo>
                    <a:pt x="0" y="544753"/>
                  </a:lnTo>
                  <a:lnTo>
                    <a:pt x="88658" y="544652"/>
                  </a:lnTo>
                  <a:lnTo>
                    <a:pt x="88099" y="449173"/>
                  </a:lnTo>
                  <a:lnTo>
                    <a:pt x="88226" y="395185"/>
                  </a:lnTo>
                  <a:lnTo>
                    <a:pt x="100152" y="327063"/>
                  </a:lnTo>
                  <a:lnTo>
                    <a:pt x="150583" y="278422"/>
                  </a:lnTo>
                  <a:lnTo>
                    <a:pt x="237185" y="271792"/>
                  </a:lnTo>
                  <a:lnTo>
                    <a:pt x="238417" y="258533"/>
                  </a:lnTo>
                  <a:lnTo>
                    <a:pt x="238658" y="235826"/>
                  </a:lnTo>
                  <a:close/>
                </a:path>
                <a:path w="549909" h="561975">
                  <a:moveTo>
                    <a:pt x="307886" y="244322"/>
                  </a:moveTo>
                  <a:lnTo>
                    <a:pt x="307327" y="199224"/>
                  </a:lnTo>
                  <a:lnTo>
                    <a:pt x="307860" y="187680"/>
                  </a:lnTo>
                  <a:lnTo>
                    <a:pt x="307771" y="177406"/>
                  </a:lnTo>
                  <a:lnTo>
                    <a:pt x="304507" y="170002"/>
                  </a:lnTo>
                  <a:lnTo>
                    <a:pt x="295529" y="167068"/>
                  </a:lnTo>
                  <a:lnTo>
                    <a:pt x="273634" y="166560"/>
                  </a:lnTo>
                  <a:lnTo>
                    <a:pt x="261772" y="167271"/>
                  </a:lnTo>
                  <a:lnTo>
                    <a:pt x="254698" y="169748"/>
                  </a:lnTo>
                  <a:lnTo>
                    <a:pt x="252501" y="185674"/>
                  </a:lnTo>
                  <a:lnTo>
                    <a:pt x="251764" y="217601"/>
                  </a:lnTo>
                  <a:lnTo>
                    <a:pt x="251904" y="251929"/>
                  </a:lnTo>
                  <a:lnTo>
                    <a:pt x="252514" y="283908"/>
                  </a:lnTo>
                  <a:lnTo>
                    <a:pt x="253847" y="286334"/>
                  </a:lnTo>
                  <a:lnTo>
                    <a:pt x="272948" y="287096"/>
                  </a:lnTo>
                  <a:lnTo>
                    <a:pt x="285076" y="287185"/>
                  </a:lnTo>
                  <a:lnTo>
                    <a:pt x="296760" y="286600"/>
                  </a:lnTo>
                  <a:lnTo>
                    <a:pt x="305396" y="284949"/>
                  </a:lnTo>
                  <a:lnTo>
                    <a:pt x="307403" y="269506"/>
                  </a:lnTo>
                  <a:lnTo>
                    <a:pt x="307886" y="244322"/>
                  </a:lnTo>
                  <a:close/>
                </a:path>
                <a:path w="549909" h="561975">
                  <a:moveTo>
                    <a:pt x="322567" y="181267"/>
                  </a:moveTo>
                  <a:lnTo>
                    <a:pt x="321030" y="183984"/>
                  </a:lnTo>
                  <a:lnTo>
                    <a:pt x="322199" y="183362"/>
                  </a:lnTo>
                  <a:lnTo>
                    <a:pt x="322567" y="181267"/>
                  </a:lnTo>
                  <a:close/>
                </a:path>
                <a:path w="549909" h="561975">
                  <a:moveTo>
                    <a:pt x="361264" y="26974"/>
                  </a:moveTo>
                  <a:lnTo>
                    <a:pt x="342328" y="26441"/>
                  </a:lnTo>
                  <a:lnTo>
                    <a:pt x="321729" y="27355"/>
                  </a:lnTo>
                  <a:lnTo>
                    <a:pt x="305066" y="34290"/>
                  </a:lnTo>
                  <a:lnTo>
                    <a:pt x="297954" y="51828"/>
                  </a:lnTo>
                  <a:lnTo>
                    <a:pt x="304469" y="70180"/>
                  </a:lnTo>
                  <a:lnTo>
                    <a:pt x="321094" y="77546"/>
                  </a:lnTo>
                  <a:lnTo>
                    <a:pt x="341960" y="78638"/>
                  </a:lnTo>
                  <a:lnTo>
                    <a:pt x="361213" y="78079"/>
                  </a:lnTo>
                  <a:lnTo>
                    <a:pt x="358825" y="72961"/>
                  </a:lnTo>
                  <a:lnTo>
                    <a:pt x="356641" y="73113"/>
                  </a:lnTo>
                  <a:lnTo>
                    <a:pt x="353822" y="67754"/>
                  </a:lnTo>
                  <a:lnTo>
                    <a:pt x="349745" y="53162"/>
                  </a:lnTo>
                  <a:lnTo>
                    <a:pt x="352094" y="41554"/>
                  </a:lnTo>
                  <a:lnTo>
                    <a:pt x="357174" y="32842"/>
                  </a:lnTo>
                  <a:lnTo>
                    <a:pt x="361264" y="26974"/>
                  </a:lnTo>
                  <a:close/>
                </a:path>
                <a:path w="549909" h="561975">
                  <a:moveTo>
                    <a:pt x="414693" y="115328"/>
                  </a:moveTo>
                  <a:lnTo>
                    <a:pt x="387248" y="115277"/>
                  </a:lnTo>
                  <a:lnTo>
                    <a:pt x="387057" y="166624"/>
                  </a:lnTo>
                  <a:lnTo>
                    <a:pt x="414693" y="167220"/>
                  </a:lnTo>
                  <a:lnTo>
                    <a:pt x="414693" y="115328"/>
                  </a:lnTo>
                  <a:close/>
                </a:path>
                <a:path w="549909" h="561975">
                  <a:moveTo>
                    <a:pt x="418807" y="19583"/>
                  </a:moveTo>
                  <a:lnTo>
                    <a:pt x="413169" y="4953"/>
                  </a:lnTo>
                  <a:lnTo>
                    <a:pt x="401091" y="0"/>
                  </a:lnTo>
                  <a:lnTo>
                    <a:pt x="388899" y="4711"/>
                  </a:lnTo>
                  <a:lnTo>
                    <a:pt x="382943" y="19037"/>
                  </a:lnTo>
                  <a:lnTo>
                    <a:pt x="418807" y="19583"/>
                  </a:lnTo>
                  <a:close/>
                </a:path>
                <a:path w="549909" h="561975">
                  <a:moveTo>
                    <a:pt x="444093" y="48056"/>
                  </a:moveTo>
                  <a:lnTo>
                    <a:pt x="411911" y="27025"/>
                  </a:lnTo>
                  <a:lnTo>
                    <a:pt x="394728" y="26797"/>
                  </a:lnTo>
                  <a:lnTo>
                    <a:pt x="385584" y="26911"/>
                  </a:lnTo>
                  <a:lnTo>
                    <a:pt x="378675" y="27622"/>
                  </a:lnTo>
                  <a:lnTo>
                    <a:pt x="362127" y="38214"/>
                  </a:lnTo>
                  <a:lnTo>
                    <a:pt x="357403" y="55257"/>
                  </a:lnTo>
                  <a:lnTo>
                    <a:pt x="365988" y="71107"/>
                  </a:lnTo>
                  <a:lnTo>
                    <a:pt x="389382" y="78079"/>
                  </a:lnTo>
                  <a:lnTo>
                    <a:pt x="406869" y="78371"/>
                  </a:lnTo>
                  <a:lnTo>
                    <a:pt x="416153" y="78257"/>
                  </a:lnTo>
                  <a:lnTo>
                    <a:pt x="423672" y="77533"/>
                  </a:lnTo>
                  <a:lnTo>
                    <a:pt x="435470" y="71729"/>
                  </a:lnTo>
                  <a:lnTo>
                    <a:pt x="442785" y="60985"/>
                  </a:lnTo>
                  <a:lnTo>
                    <a:pt x="444093" y="48056"/>
                  </a:lnTo>
                  <a:close/>
                </a:path>
                <a:path w="549909" h="561975">
                  <a:moveTo>
                    <a:pt x="470700" y="481799"/>
                  </a:moveTo>
                  <a:lnTo>
                    <a:pt x="461022" y="461352"/>
                  </a:lnTo>
                  <a:lnTo>
                    <a:pt x="454723" y="468896"/>
                  </a:lnTo>
                  <a:lnTo>
                    <a:pt x="446633" y="477875"/>
                  </a:lnTo>
                  <a:lnTo>
                    <a:pt x="437311" y="485419"/>
                  </a:lnTo>
                  <a:lnTo>
                    <a:pt x="427342" y="488696"/>
                  </a:lnTo>
                  <a:lnTo>
                    <a:pt x="415975" y="474751"/>
                  </a:lnTo>
                  <a:lnTo>
                    <a:pt x="409054" y="452666"/>
                  </a:lnTo>
                  <a:lnTo>
                    <a:pt x="405168" y="427939"/>
                  </a:lnTo>
                  <a:lnTo>
                    <a:pt x="402882" y="406095"/>
                  </a:lnTo>
                  <a:lnTo>
                    <a:pt x="389953" y="414820"/>
                  </a:lnTo>
                  <a:lnTo>
                    <a:pt x="378841" y="426567"/>
                  </a:lnTo>
                  <a:lnTo>
                    <a:pt x="370141" y="441325"/>
                  </a:lnTo>
                  <a:lnTo>
                    <a:pt x="364477" y="459117"/>
                  </a:lnTo>
                  <a:lnTo>
                    <a:pt x="362788" y="471106"/>
                  </a:lnTo>
                  <a:lnTo>
                    <a:pt x="362800" y="480923"/>
                  </a:lnTo>
                  <a:lnTo>
                    <a:pt x="364782" y="501637"/>
                  </a:lnTo>
                  <a:lnTo>
                    <a:pt x="365226" y="508584"/>
                  </a:lnTo>
                  <a:lnTo>
                    <a:pt x="359918" y="513791"/>
                  </a:lnTo>
                  <a:lnTo>
                    <a:pt x="348754" y="506742"/>
                  </a:lnTo>
                  <a:lnTo>
                    <a:pt x="346519" y="501192"/>
                  </a:lnTo>
                  <a:lnTo>
                    <a:pt x="340321" y="497865"/>
                  </a:lnTo>
                  <a:lnTo>
                    <a:pt x="348234" y="527189"/>
                  </a:lnTo>
                  <a:lnTo>
                    <a:pt x="367157" y="549668"/>
                  </a:lnTo>
                  <a:lnTo>
                    <a:pt x="394411" y="561416"/>
                  </a:lnTo>
                  <a:lnTo>
                    <a:pt x="427342" y="558495"/>
                  </a:lnTo>
                  <a:lnTo>
                    <a:pt x="456412" y="538848"/>
                  </a:lnTo>
                  <a:lnTo>
                    <a:pt x="470014" y="510451"/>
                  </a:lnTo>
                  <a:lnTo>
                    <a:pt x="470700" y="481799"/>
                  </a:lnTo>
                  <a:close/>
                </a:path>
                <a:path w="549909" h="561975">
                  <a:moveTo>
                    <a:pt x="478980" y="182753"/>
                  </a:moveTo>
                  <a:lnTo>
                    <a:pt x="323900" y="182448"/>
                  </a:lnTo>
                  <a:lnTo>
                    <a:pt x="323888" y="182600"/>
                  </a:lnTo>
                  <a:lnTo>
                    <a:pt x="323888" y="183870"/>
                  </a:lnTo>
                  <a:lnTo>
                    <a:pt x="323875" y="185483"/>
                  </a:lnTo>
                  <a:lnTo>
                    <a:pt x="323875" y="183870"/>
                  </a:lnTo>
                  <a:lnTo>
                    <a:pt x="323888" y="182600"/>
                  </a:lnTo>
                  <a:lnTo>
                    <a:pt x="323862" y="186423"/>
                  </a:lnTo>
                  <a:lnTo>
                    <a:pt x="323761" y="199377"/>
                  </a:lnTo>
                  <a:lnTo>
                    <a:pt x="323761" y="186423"/>
                  </a:lnTo>
                  <a:lnTo>
                    <a:pt x="323862" y="182600"/>
                  </a:lnTo>
                  <a:lnTo>
                    <a:pt x="323672" y="182600"/>
                  </a:lnTo>
                  <a:lnTo>
                    <a:pt x="323672" y="210540"/>
                  </a:lnTo>
                  <a:lnTo>
                    <a:pt x="323570" y="223520"/>
                  </a:lnTo>
                  <a:lnTo>
                    <a:pt x="323570" y="210540"/>
                  </a:lnTo>
                  <a:lnTo>
                    <a:pt x="323672" y="182600"/>
                  </a:lnTo>
                  <a:lnTo>
                    <a:pt x="323481" y="182600"/>
                  </a:lnTo>
                  <a:lnTo>
                    <a:pt x="323481" y="234670"/>
                  </a:lnTo>
                  <a:lnTo>
                    <a:pt x="323380" y="247726"/>
                  </a:lnTo>
                  <a:lnTo>
                    <a:pt x="323380" y="234670"/>
                  </a:lnTo>
                  <a:lnTo>
                    <a:pt x="323481" y="182600"/>
                  </a:lnTo>
                  <a:lnTo>
                    <a:pt x="323291" y="182600"/>
                  </a:lnTo>
                  <a:lnTo>
                    <a:pt x="323291" y="258800"/>
                  </a:lnTo>
                  <a:lnTo>
                    <a:pt x="323240" y="265531"/>
                  </a:lnTo>
                  <a:lnTo>
                    <a:pt x="323240" y="258800"/>
                  </a:lnTo>
                  <a:lnTo>
                    <a:pt x="323291" y="182600"/>
                  </a:lnTo>
                  <a:lnTo>
                    <a:pt x="322427" y="182600"/>
                  </a:lnTo>
                  <a:lnTo>
                    <a:pt x="322427" y="183870"/>
                  </a:lnTo>
                  <a:lnTo>
                    <a:pt x="321894" y="183870"/>
                  </a:lnTo>
                  <a:lnTo>
                    <a:pt x="321894" y="186423"/>
                  </a:lnTo>
                  <a:lnTo>
                    <a:pt x="321589" y="186423"/>
                  </a:lnTo>
                  <a:lnTo>
                    <a:pt x="321589" y="210540"/>
                  </a:lnTo>
                  <a:lnTo>
                    <a:pt x="321424" y="210540"/>
                  </a:lnTo>
                  <a:lnTo>
                    <a:pt x="321424" y="234670"/>
                  </a:lnTo>
                  <a:lnTo>
                    <a:pt x="321424" y="258800"/>
                  </a:lnTo>
                  <a:lnTo>
                    <a:pt x="322135" y="258800"/>
                  </a:lnTo>
                  <a:lnTo>
                    <a:pt x="322135" y="270230"/>
                  </a:lnTo>
                  <a:lnTo>
                    <a:pt x="322745" y="270230"/>
                  </a:lnTo>
                  <a:lnTo>
                    <a:pt x="322745" y="271500"/>
                  </a:lnTo>
                  <a:lnTo>
                    <a:pt x="338836" y="271500"/>
                  </a:lnTo>
                  <a:lnTo>
                    <a:pt x="338836" y="272770"/>
                  </a:lnTo>
                  <a:lnTo>
                    <a:pt x="445211" y="272770"/>
                  </a:lnTo>
                  <a:lnTo>
                    <a:pt x="445211" y="271500"/>
                  </a:lnTo>
                  <a:lnTo>
                    <a:pt x="478142" y="271500"/>
                  </a:lnTo>
                  <a:lnTo>
                    <a:pt x="478142" y="270560"/>
                  </a:lnTo>
                  <a:lnTo>
                    <a:pt x="478383" y="270560"/>
                  </a:lnTo>
                  <a:lnTo>
                    <a:pt x="478878" y="269963"/>
                  </a:lnTo>
                  <a:lnTo>
                    <a:pt x="478980" y="182753"/>
                  </a:lnTo>
                  <a:close/>
                </a:path>
                <a:path w="549909" h="561975">
                  <a:moveTo>
                    <a:pt x="480822" y="272249"/>
                  </a:moveTo>
                  <a:lnTo>
                    <a:pt x="479298" y="272046"/>
                  </a:lnTo>
                  <a:lnTo>
                    <a:pt x="469455" y="272046"/>
                  </a:lnTo>
                  <a:lnTo>
                    <a:pt x="480822" y="272249"/>
                  </a:lnTo>
                  <a:close/>
                </a:path>
                <a:path w="549909" h="561975">
                  <a:moveTo>
                    <a:pt x="504151" y="52539"/>
                  </a:moveTo>
                  <a:lnTo>
                    <a:pt x="496925" y="35001"/>
                  </a:lnTo>
                  <a:lnTo>
                    <a:pt x="476453" y="27025"/>
                  </a:lnTo>
                  <a:lnTo>
                    <a:pt x="440537" y="27127"/>
                  </a:lnTo>
                  <a:lnTo>
                    <a:pt x="444271" y="31927"/>
                  </a:lnTo>
                  <a:lnTo>
                    <a:pt x="447878" y="37084"/>
                  </a:lnTo>
                  <a:lnTo>
                    <a:pt x="450634" y="43446"/>
                  </a:lnTo>
                  <a:lnTo>
                    <a:pt x="451840" y="51828"/>
                  </a:lnTo>
                  <a:lnTo>
                    <a:pt x="450837" y="61125"/>
                  </a:lnTo>
                  <a:lnTo>
                    <a:pt x="448005" y="67691"/>
                  </a:lnTo>
                  <a:lnTo>
                    <a:pt x="440537" y="77927"/>
                  </a:lnTo>
                  <a:lnTo>
                    <a:pt x="473621" y="78079"/>
                  </a:lnTo>
                  <a:lnTo>
                    <a:pt x="496811" y="70091"/>
                  </a:lnTo>
                  <a:lnTo>
                    <a:pt x="504151" y="52539"/>
                  </a:lnTo>
                  <a:close/>
                </a:path>
                <a:path w="549909" h="561975">
                  <a:moveTo>
                    <a:pt x="549529" y="178041"/>
                  </a:moveTo>
                  <a:lnTo>
                    <a:pt x="549084" y="165735"/>
                  </a:lnTo>
                  <a:lnTo>
                    <a:pt x="543966" y="167068"/>
                  </a:lnTo>
                  <a:lnTo>
                    <a:pt x="505815" y="167119"/>
                  </a:lnTo>
                  <a:lnTo>
                    <a:pt x="493217" y="167322"/>
                  </a:lnTo>
                  <a:lnTo>
                    <a:pt x="494411" y="171691"/>
                  </a:lnTo>
                  <a:lnTo>
                    <a:pt x="494411" y="183743"/>
                  </a:lnTo>
                  <a:lnTo>
                    <a:pt x="494411" y="274967"/>
                  </a:lnTo>
                  <a:lnTo>
                    <a:pt x="496976" y="283730"/>
                  </a:lnTo>
                  <a:lnTo>
                    <a:pt x="504774" y="286981"/>
                  </a:lnTo>
                  <a:lnTo>
                    <a:pt x="517994" y="287159"/>
                  </a:lnTo>
                  <a:lnTo>
                    <a:pt x="536778" y="286677"/>
                  </a:lnTo>
                  <a:lnTo>
                    <a:pt x="549427" y="286677"/>
                  </a:lnTo>
                  <a:lnTo>
                    <a:pt x="549529" y="178041"/>
                  </a:lnTo>
                  <a:close/>
                </a:path>
              </a:pathLst>
            </a:custGeom>
            <a:solidFill>
              <a:srgbClr val="008BD2"/>
            </a:solidFill>
          </p:spPr>
          <p:txBody>
            <a:bodyPr wrap="square" lIns="0" tIns="0" rIns="0" bIns="0" rtlCol="0"/>
            <a:lstStyle/>
            <a:p>
              <a:endParaRPr sz="1350"/>
            </a:p>
          </p:txBody>
        </p:sp>
      </p:grpSp>
      <p:pic>
        <p:nvPicPr>
          <p:cNvPr id="41" name="Picture 3" descr="C:\Users\b.kaulbaev\Desktop\ДСИР\Флешка 28.01.2022\Нужное\картинки\oil-rig-vector-icon-3473730.jpg"/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491" t="26531" r="20869" b="29253"/>
          <a:stretch/>
        </p:blipFill>
        <p:spPr bwMode="auto">
          <a:xfrm flipH="1">
            <a:off x="1898791" y="1269893"/>
            <a:ext cx="739350" cy="747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41"/>
          <p:cNvSpPr txBox="1"/>
          <p:nvPr/>
        </p:nvSpPr>
        <p:spPr>
          <a:xfrm>
            <a:off x="1661953" y="2493264"/>
            <a:ext cx="33943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err="1"/>
              <a:t>Сатып</a:t>
            </a:r>
            <a:r>
              <a:rPr lang="ru-RU" b="1" dirty="0"/>
              <a:t> </a:t>
            </a:r>
            <a:r>
              <a:rPr lang="ru-RU" b="1" dirty="0" err="1"/>
              <a:t>алу</a:t>
            </a:r>
            <a:r>
              <a:rPr lang="ru-RU" b="1" dirty="0"/>
              <a:t> </a:t>
            </a:r>
            <a:r>
              <a:rPr lang="ru-RU" b="1" dirty="0" err="1"/>
              <a:t>бағасы</a:t>
            </a:r>
            <a:endParaRPr lang="ru-RU" b="1" dirty="0"/>
          </a:p>
          <a:p>
            <a:pPr algn="ctr"/>
            <a:r>
              <a:rPr lang="ru-RU" b="1" dirty="0"/>
              <a:t>(ҚР ЭМ)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266689" y="3306684"/>
            <a:ext cx="3933126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altLang="ru-RU" sz="1700" dirty="0">
                <a:cs typeface="Arial" charset="0"/>
              </a:rPr>
              <a:t>ҚР Энергетика </a:t>
            </a:r>
            <a:r>
              <a:rPr lang="ru-RU" altLang="ru-RU" sz="1700" dirty="0" err="1">
                <a:cs typeface="Arial" charset="0"/>
              </a:rPr>
              <a:t>министрлігі</a:t>
            </a:r>
            <a:r>
              <a:rPr lang="ru-RU" altLang="ru-RU" sz="1700" dirty="0">
                <a:cs typeface="Arial" charset="0"/>
              </a:rPr>
              <a:t> </a:t>
            </a:r>
            <a:r>
              <a:rPr lang="ru-RU" altLang="ru-RU" sz="1700" b="1" dirty="0" err="1">
                <a:cs typeface="Arial" charset="0"/>
              </a:rPr>
              <a:t>сатып</a:t>
            </a:r>
            <a:r>
              <a:rPr lang="ru-RU" altLang="ru-RU" sz="1700" b="1" dirty="0">
                <a:cs typeface="Arial" charset="0"/>
              </a:rPr>
              <a:t> </a:t>
            </a:r>
            <a:r>
              <a:rPr lang="ru-RU" altLang="ru-RU" sz="1700" b="1" dirty="0" err="1">
                <a:cs typeface="Arial" charset="0"/>
              </a:rPr>
              <a:t>алынатын</a:t>
            </a:r>
            <a:r>
              <a:rPr lang="ru-RU" altLang="ru-RU" sz="1700" b="1" dirty="0">
                <a:cs typeface="Arial" charset="0"/>
              </a:rPr>
              <a:t> газ </a:t>
            </a:r>
            <a:r>
              <a:rPr lang="ru-RU" altLang="ru-RU" sz="1700" b="1" dirty="0" err="1">
                <a:cs typeface="Arial" charset="0"/>
              </a:rPr>
              <a:t>көлемінің</a:t>
            </a:r>
            <a:r>
              <a:rPr lang="ru-RU" altLang="ru-RU" sz="1700" dirty="0">
                <a:cs typeface="Arial" charset="0"/>
              </a:rPr>
              <a:t> </a:t>
            </a:r>
            <a:r>
              <a:rPr lang="ru-RU" altLang="ru-RU" sz="1700" b="1" dirty="0">
                <a:cs typeface="Arial" charset="0"/>
              </a:rPr>
              <a:t>30%-</a:t>
            </a:r>
            <a:r>
              <a:rPr lang="ru-RU" altLang="ru-RU" sz="1700" b="1" dirty="0" err="1">
                <a:cs typeface="Arial" charset="0"/>
              </a:rPr>
              <a:t>ына</a:t>
            </a:r>
            <a:r>
              <a:rPr lang="ru-RU" altLang="ru-RU" sz="1700" b="1" dirty="0">
                <a:cs typeface="Arial" charset="0"/>
              </a:rPr>
              <a:t> </a:t>
            </a:r>
            <a:r>
              <a:rPr lang="ru-RU" altLang="ru-RU" sz="1700" dirty="0" err="1">
                <a:cs typeface="Arial" charset="0"/>
              </a:rPr>
              <a:t>жуығын</a:t>
            </a:r>
            <a:r>
              <a:rPr lang="ru-RU" altLang="ru-RU" sz="1700" dirty="0">
                <a:cs typeface="Arial" charset="0"/>
              </a:rPr>
              <a:t> </a:t>
            </a:r>
            <a:r>
              <a:rPr lang="ru-RU" altLang="ru-RU" sz="1700" dirty="0" err="1">
                <a:cs typeface="Arial" charset="0"/>
              </a:rPr>
              <a:t>бекітеді</a:t>
            </a:r>
            <a:r>
              <a:rPr lang="ru-RU" altLang="ru-RU" sz="1700" b="1" dirty="0">
                <a:cs typeface="Arial" charset="0"/>
              </a:rPr>
              <a:t>.</a:t>
            </a:r>
          </a:p>
          <a:p>
            <a:pPr algn="just">
              <a:defRPr/>
            </a:pPr>
            <a:r>
              <a:rPr lang="ru-RU" sz="1700" dirty="0" err="1">
                <a:cs typeface="Arial" charset="0"/>
              </a:rPr>
              <a:t>Газдың</a:t>
            </a:r>
            <a:r>
              <a:rPr lang="ru-RU" sz="1700" dirty="0">
                <a:cs typeface="Arial" charset="0"/>
              </a:rPr>
              <a:t> </a:t>
            </a:r>
            <a:r>
              <a:rPr lang="ru-RU" sz="1700" dirty="0" err="1">
                <a:cs typeface="Arial" charset="0"/>
              </a:rPr>
              <a:t>қалған</a:t>
            </a:r>
            <a:r>
              <a:rPr lang="ru-RU" sz="1700" dirty="0">
                <a:cs typeface="Arial" charset="0"/>
              </a:rPr>
              <a:t> 70% </a:t>
            </a:r>
            <a:r>
              <a:rPr lang="ru-RU" sz="1700" dirty="0" err="1">
                <a:cs typeface="Arial" charset="0"/>
              </a:rPr>
              <a:t>көлемін</a:t>
            </a:r>
            <a:r>
              <a:rPr lang="ru-RU" sz="1700" dirty="0">
                <a:cs typeface="Arial" charset="0"/>
              </a:rPr>
              <a:t> </a:t>
            </a:r>
            <a:r>
              <a:rPr lang="ru-RU" sz="1700" dirty="0" err="1">
                <a:cs typeface="Arial" charset="0"/>
              </a:rPr>
              <a:t>ҚазақГаз</a:t>
            </a:r>
            <a:r>
              <a:rPr lang="ru-RU" sz="1700" dirty="0">
                <a:cs typeface="Arial" charset="0"/>
              </a:rPr>
              <a:t> </a:t>
            </a:r>
            <a:r>
              <a:rPr lang="ru-RU" sz="1700" dirty="0" err="1">
                <a:cs typeface="Arial" charset="0"/>
              </a:rPr>
              <a:t>келісімшарттық</a:t>
            </a:r>
            <a:r>
              <a:rPr lang="ru-RU" sz="1700" dirty="0">
                <a:cs typeface="Arial" charset="0"/>
              </a:rPr>
              <a:t> (</a:t>
            </a:r>
            <a:r>
              <a:rPr lang="ru-RU" sz="1700" dirty="0" err="1">
                <a:cs typeface="Arial" charset="0"/>
              </a:rPr>
              <a:t>реттелмейтін</a:t>
            </a:r>
            <a:r>
              <a:rPr lang="ru-RU" sz="1700" dirty="0">
                <a:cs typeface="Arial" charset="0"/>
              </a:rPr>
              <a:t>) </a:t>
            </a:r>
            <a:r>
              <a:rPr lang="ru-RU" sz="1700" dirty="0" err="1">
                <a:cs typeface="Arial" charset="0"/>
              </a:rPr>
              <a:t>бағалар</a:t>
            </a:r>
            <a:r>
              <a:rPr lang="ru-RU" sz="1700" dirty="0">
                <a:cs typeface="Arial" charset="0"/>
              </a:rPr>
              <a:t> </a:t>
            </a:r>
            <a:r>
              <a:rPr lang="ru-RU" sz="1700" dirty="0" err="1">
                <a:cs typeface="Arial" charset="0"/>
              </a:rPr>
              <a:t>бойынша</a:t>
            </a:r>
            <a:r>
              <a:rPr lang="ru-RU" sz="1700" dirty="0">
                <a:cs typeface="Arial" charset="0"/>
              </a:rPr>
              <a:t> </a:t>
            </a:r>
            <a:r>
              <a:rPr lang="ru-RU" sz="1700" dirty="0" err="1">
                <a:cs typeface="Arial" charset="0"/>
              </a:rPr>
              <a:t>сатып</a:t>
            </a:r>
            <a:r>
              <a:rPr lang="ru-RU" sz="1700" dirty="0">
                <a:cs typeface="Arial" charset="0"/>
              </a:rPr>
              <a:t> </a:t>
            </a:r>
            <a:r>
              <a:rPr lang="ru-RU" sz="1700" dirty="0" err="1">
                <a:cs typeface="Arial" charset="0"/>
              </a:rPr>
              <a:t>алады</a:t>
            </a:r>
            <a:r>
              <a:rPr lang="ru-RU" sz="1700" dirty="0">
                <a:cs typeface="Arial" charset="0"/>
              </a:rPr>
              <a:t>.  </a:t>
            </a:r>
            <a:endParaRPr lang="ru-RU" sz="1700" dirty="0"/>
          </a:p>
        </p:txBody>
      </p:sp>
      <p:sp>
        <p:nvSpPr>
          <p:cNvPr id="44" name="TextBox 43"/>
          <p:cNvSpPr txBox="1"/>
          <p:nvPr/>
        </p:nvSpPr>
        <p:spPr>
          <a:xfrm>
            <a:off x="4179486" y="2493086"/>
            <a:ext cx="33943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err="1"/>
              <a:t>Көтерме</a:t>
            </a:r>
            <a:r>
              <a:rPr lang="ru-RU" b="1" dirty="0"/>
              <a:t> </a:t>
            </a:r>
            <a:r>
              <a:rPr lang="ru-RU" b="1" dirty="0" err="1"/>
              <a:t>бағалар</a:t>
            </a:r>
            <a:endParaRPr lang="ru-RU" b="1" dirty="0"/>
          </a:p>
          <a:p>
            <a:pPr algn="ctr"/>
            <a:r>
              <a:rPr lang="ru-RU" b="1" dirty="0"/>
              <a:t>(ҚР ЭМ)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4311346" y="3100769"/>
            <a:ext cx="3642384" cy="24468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altLang="ru-RU" sz="1700" dirty="0" err="1">
                <a:cs typeface="Arial" charset="0"/>
              </a:rPr>
              <a:t>Газдың</a:t>
            </a:r>
            <a:r>
              <a:rPr lang="ru-RU" altLang="ru-RU" sz="1700" dirty="0">
                <a:cs typeface="Arial" charset="0"/>
              </a:rPr>
              <a:t> </a:t>
            </a:r>
            <a:r>
              <a:rPr lang="ru-RU" altLang="ru-RU" sz="1700" dirty="0" err="1">
                <a:cs typeface="Arial" charset="0"/>
              </a:rPr>
              <a:t>көтерме</a:t>
            </a:r>
            <a:r>
              <a:rPr lang="ru-RU" altLang="ru-RU" sz="1700" dirty="0">
                <a:cs typeface="Arial" charset="0"/>
              </a:rPr>
              <a:t> </a:t>
            </a:r>
            <a:r>
              <a:rPr lang="ru-RU" altLang="ru-RU" sz="1700" dirty="0" err="1">
                <a:cs typeface="Arial" charset="0"/>
              </a:rPr>
              <a:t>бағалары</a:t>
            </a:r>
            <a:r>
              <a:rPr lang="ru-RU" altLang="ru-RU" sz="1700" dirty="0">
                <a:cs typeface="Arial" charset="0"/>
              </a:rPr>
              <a:t> </a:t>
            </a:r>
            <a:r>
              <a:rPr lang="ru-RU" altLang="ru-RU" sz="1700" dirty="0" err="1">
                <a:cs typeface="Arial" charset="0"/>
              </a:rPr>
              <a:t>өңірдегі</a:t>
            </a:r>
            <a:r>
              <a:rPr lang="ru-RU" altLang="ru-RU" sz="1700" dirty="0">
                <a:cs typeface="Arial" charset="0"/>
              </a:rPr>
              <a:t> </a:t>
            </a:r>
            <a:r>
              <a:rPr lang="ru-RU" altLang="ru-RU" sz="1700" dirty="0" err="1">
                <a:cs typeface="Arial" charset="0"/>
              </a:rPr>
              <a:t>орташа</a:t>
            </a:r>
            <a:r>
              <a:rPr lang="ru-RU" altLang="ru-RU" sz="1700" dirty="0">
                <a:cs typeface="Arial" charset="0"/>
              </a:rPr>
              <a:t> </a:t>
            </a:r>
            <a:r>
              <a:rPr lang="ru-RU" altLang="ru-RU" sz="1700" dirty="0" err="1">
                <a:cs typeface="Arial" charset="0"/>
              </a:rPr>
              <a:t>сатып</a:t>
            </a:r>
            <a:r>
              <a:rPr lang="ru-RU" altLang="ru-RU" sz="1700" dirty="0">
                <a:cs typeface="Arial" charset="0"/>
              </a:rPr>
              <a:t> </a:t>
            </a:r>
            <a:r>
              <a:rPr lang="ru-RU" altLang="ru-RU" sz="1700" dirty="0" err="1">
                <a:cs typeface="Arial" charset="0"/>
              </a:rPr>
              <a:t>алған</a:t>
            </a:r>
            <a:r>
              <a:rPr lang="ru-RU" altLang="ru-RU" sz="1700" dirty="0">
                <a:cs typeface="Arial" charset="0"/>
              </a:rPr>
              <a:t> </a:t>
            </a:r>
            <a:r>
              <a:rPr lang="ru-RU" altLang="ru-RU" sz="1700" dirty="0" err="1">
                <a:cs typeface="Arial" charset="0"/>
              </a:rPr>
              <a:t>бағалар</a:t>
            </a:r>
            <a:r>
              <a:rPr lang="ru-RU" altLang="ru-RU" sz="1700" dirty="0">
                <a:cs typeface="Arial" charset="0"/>
              </a:rPr>
              <a:t> </a:t>
            </a:r>
            <a:r>
              <a:rPr lang="ru-RU" altLang="ru-RU" sz="1700" dirty="0" err="1">
                <a:cs typeface="Arial" charset="0"/>
              </a:rPr>
              <a:t>негізінде</a:t>
            </a:r>
            <a:r>
              <a:rPr lang="ru-RU" altLang="ru-RU" sz="1700" dirty="0">
                <a:cs typeface="Arial" charset="0"/>
              </a:rPr>
              <a:t> </a:t>
            </a:r>
            <a:r>
              <a:rPr lang="ru-RU" altLang="ru-RU" sz="1700" b="1" dirty="0" err="1" smtClean="0">
                <a:cs typeface="Arial" charset="0"/>
              </a:rPr>
              <a:t>магистральдық</a:t>
            </a:r>
            <a:r>
              <a:rPr lang="ru-RU" altLang="ru-RU" sz="1700" b="1" dirty="0" smtClean="0">
                <a:cs typeface="Arial" charset="0"/>
              </a:rPr>
              <a:t> газ </a:t>
            </a:r>
            <a:r>
              <a:rPr lang="ru-RU" altLang="ru-RU" sz="1700" b="1" dirty="0" err="1" smtClean="0">
                <a:cs typeface="Arial" charset="0"/>
              </a:rPr>
              <a:t>құбырлары</a:t>
            </a:r>
            <a:r>
              <a:rPr lang="ru-RU" altLang="ru-RU" sz="1700" b="1" dirty="0" smtClean="0">
                <a:cs typeface="Arial" charset="0"/>
              </a:rPr>
              <a:t> </a:t>
            </a:r>
            <a:r>
              <a:rPr lang="ru-RU" altLang="ru-RU" sz="1700" b="1" dirty="0" err="1">
                <a:cs typeface="Arial" charset="0"/>
              </a:rPr>
              <a:t>бойынша</a:t>
            </a:r>
            <a:r>
              <a:rPr lang="ru-RU" altLang="ru-RU" sz="1700" b="1" dirty="0">
                <a:cs typeface="Arial" charset="0"/>
              </a:rPr>
              <a:t> </a:t>
            </a:r>
            <a:r>
              <a:rPr lang="ru-RU" altLang="ru-RU" sz="1700" b="1" dirty="0" err="1">
                <a:cs typeface="Arial" charset="0"/>
              </a:rPr>
              <a:t>тасымалдауды</a:t>
            </a:r>
            <a:r>
              <a:rPr lang="ru-RU" altLang="ru-RU" sz="1700" b="1" dirty="0">
                <a:cs typeface="Arial" charset="0"/>
              </a:rPr>
              <a:t> </a:t>
            </a:r>
            <a:r>
              <a:rPr lang="ru-RU" altLang="ru-RU" sz="1700" b="1" dirty="0" err="1">
                <a:cs typeface="Arial" charset="0"/>
              </a:rPr>
              <a:t>ескере</a:t>
            </a:r>
            <a:r>
              <a:rPr lang="ru-RU" altLang="ru-RU" sz="1700" b="1" dirty="0">
                <a:cs typeface="Arial" charset="0"/>
              </a:rPr>
              <a:t> </a:t>
            </a:r>
            <a:r>
              <a:rPr lang="ru-RU" altLang="ru-RU" sz="1700" b="1" dirty="0" err="1">
                <a:cs typeface="Arial" charset="0"/>
              </a:rPr>
              <a:t>отырып</a:t>
            </a:r>
            <a:r>
              <a:rPr lang="ru-RU" altLang="ru-RU" sz="1700" dirty="0">
                <a:cs typeface="Arial" charset="0"/>
              </a:rPr>
              <a:t>,  </a:t>
            </a:r>
            <a:r>
              <a:rPr lang="ru-RU" altLang="ru-RU" sz="1700" dirty="0" err="1">
                <a:cs typeface="Arial" charset="0"/>
              </a:rPr>
              <a:t>есептеледі</a:t>
            </a:r>
            <a:r>
              <a:rPr lang="ru-RU" altLang="ru-RU" sz="1700" dirty="0">
                <a:cs typeface="Arial" charset="0"/>
              </a:rPr>
              <a:t> </a:t>
            </a:r>
            <a:r>
              <a:rPr lang="ru-RU" altLang="ru-RU" sz="1700" dirty="0" err="1">
                <a:cs typeface="Arial" charset="0"/>
              </a:rPr>
              <a:t>және</a:t>
            </a:r>
            <a:r>
              <a:rPr lang="ru-RU" altLang="ru-RU" sz="1700" dirty="0">
                <a:cs typeface="Arial" charset="0"/>
              </a:rPr>
              <a:t> Энергетика </a:t>
            </a:r>
            <a:r>
              <a:rPr lang="ru-RU" altLang="ru-RU" sz="1700" dirty="0" err="1">
                <a:cs typeface="Arial" charset="0"/>
              </a:rPr>
              <a:t>министрлігі</a:t>
            </a:r>
            <a:r>
              <a:rPr lang="ru-RU" altLang="ru-RU" sz="1700" dirty="0">
                <a:cs typeface="Arial" charset="0"/>
              </a:rPr>
              <a:t> </a:t>
            </a:r>
            <a:r>
              <a:rPr lang="ru-RU" altLang="ru-RU" sz="1700" dirty="0" err="1">
                <a:cs typeface="Arial" charset="0"/>
              </a:rPr>
              <a:t>Ұлттық</a:t>
            </a:r>
            <a:r>
              <a:rPr lang="ru-RU" altLang="ru-RU" sz="1700" dirty="0">
                <a:cs typeface="Arial" charset="0"/>
              </a:rPr>
              <a:t> экономика </a:t>
            </a:r>
            <a:r>
              <a:rPr lang="ru-RU" altLang="ru-RU" sz="1700" dirty="0" err="1">
                <a:cs typeface="Arial" charset="0"/>
              </a:rPr>
              <a:t>министрлігімен</a:t>
            </a:r>
            <a:r>
              <a:rPr lang="ru-RU" altLang="ru-RU" sz="1700" dirty="0">
                <a:cs typeface="Arial" charset="0"/>
              </a:rPr>
              <a:t> </a:t>
            </a:r>
            <a:r>
              <a:rPr lang="ru-RU" altLang="ru-RU" sz="1700" dirty="0" err="1">
                <a:cs typeface="Arial" charset="0"/>
              </a:rPr>
              <a:t>келісе</a:t>
            </a:r>
            <a:r>
              <a:rPr lang="ru-RU" altLang="ru-RU" sz="1700" dirty="0">
                <a:cs typeface="Arial" charset="0"/>
              </a:rPr>
              <a:t> </a:t>
            </a:r>
            <a:r>
              <a:rPr lang="ru-RU" altLang="ru-RU" sz="1700" dirty="0" err="1">
                <a:cs typeface="Arial" charset="0"/>
              </a:rPr>
              <a:t>отырып</a:t>
            </a:r>
            <a:r>
              <a:rPr lang="ru-RU" altLang="ru-RU" sz="1700" dirty="0">
                <a:cs typeface="Arial" charset="0"/>
              </a:rPr>
              <a:t>, </a:t>
            </a:r>
            <a:r>
              <a:rPr lang="ru-RU" altLang="ru-RU" sz="1700" dirty="0" err="1">
                <a:cs typeface="Arial" charset="0"/>
              </a:rPr>
              <a:t>бекітеді</a:t>
            </a:r>
            <a:r>
              <a:rPr lang="ru-RU" altLang="ru-RU" sz="1700" dirty="0">
                <a:cs typeface="Arial" charset="0"/>
              </a:rPr>
              <a:t>. </a:t>
            </a:r>
            <a:endParaRPr lang="ru-RU" sz="1700" dirty="0">
              <a:cs typeface="Arial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8027600" y="3540207"/>
            <a:ext cx="3848025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altLang="ru-RU" sz="1700" dirty="0" err="1" smtClean="0">
                <a:cs typeface="Arial" charset="0"/>
              </a:rPr>
              <a:t>Ұлттық</a:t>
            </a:r>
            <a:r>
              <a:rPr lang="ru-RU" altLang="ru-RU" sz="1700" dirty="0" smtClean="0">
                <a:cs typeface="Arial" charset="0"/>
              </a:rPr>
              <a:t> экономика </a:t>
            </a:r>
            <a:r>
              <a:rPr lang="ru-RU" altLang="ru-RU" sz="1700" dirty="0" err="1" smtClean="0">
                <a:cs typeface="Arial" charset="0"/>
              </a:rPr>
              <a:t>министрлігі</a:t>
            </a:r>
            <a:r>
              <a:rPr lang="ru-RU" altLang="ru-RU" sz="1700" dirty="0" smtClean="0">
                <a:cs typeface="Arial" charset="0"/>
              </a:rPr>
              <a:t> </a:t>
            </a:r>
            <a:r>
              <a:rPr lang="ru-RU" altLang="ru-RU" sz="1700" dirty="0" err="1">
                <a:cs typeface="Arial" charset="0"/>
              </a:rPr>
              <a:t>газды</a:t>
            </a:r>
            <a:r>
              <a:rPr lang="ru-RU" altLang="ru-RU" sz="1700" dirty="0">
                <a:cs typeface="Arial" charset="0"/>
              </a:rPr>
              <a:t> </a:t>
            </a:r>
            <a:r>
              <a:rPr lang="ru-RU" altLang="ru-RU" sz="1700" b="1" dirty="0" err="1">
                <a:cs typeface="Arial" charset="0"/>
              </a:rPr>
              <a:t>тарату</a:t>
            </a:r>
            <a:r>
              <a:rPr lang="ru-RU" altLang="ru-RU" sz="1700" b="1" dirty="0">
                <a:cs typeface="Arial" charset="0"/>
              </a:rPr>
              <a:t> газ </a:t>
            </a:r>
            <a:r>
              <a:rPr lang="ru-RU" altLang="ru-RU" sz="1700" b="1" dirty="0" err="1">
                <a:cs typeface="Arial" charset="0"/>
              </a:rPr>
              <a:t>құбырлары</a:t>
            </a:r>
            <a:r>
              <a:rPr lang="ru-RU" altLang="ru-RU" sz="1700" b="1" dirty="0">
                <a:cs typeface="Arial" charset="0"/>
              </a:rPr>
              <a:t> </a:t>
            </a:r>
            <a:r>
              <a:rPr lang="ru-RU" altLang="ru-RU" sz="1700" b="1" dirty="0" err="1">
                <a:cs typeface="Arial" charset="0"/>
              </a:rPr>
              <a:t>арқылы</a:t>
            </a:r>
            <a:r>
              <a:rPr lang="ru-RU" altLang="ru-RU" sz="1700" b="1" dirty="0">
                <a:cs typeface="Arial" charset="0"/>
              </a:rPr>
              <a:t> </a:t>
            </a:r>
            <a:r>
              <a:rPr lang="ru-RU" altLang="ru-RU" sz="1700" b="1" dirty="0" err="1">
                <a:cs typeface="Arial" charset="0"/>
              </a:rPr>
              <a:t>тасымалдау</a:t>
            </a:r>
            <a:r>
              <a:rPr lang="ru-RU" altLang="ru-RU" sz="1700" b="1" dirty="0">
                <a:cs typeface="Arial" charset="0"/>
              </a:rPr>
              <a:t> </a:t>
            </a:r>
            <a:r>
              <a:rPr lang="ru-RU" altLang="ru-RU" sz="1700" b="1" dirty="0" err="1">
                <a:cs typeface="Arial" charset="0"/>
              </a:rPr>
              <a:t>тарифін</a:t>
            </a:r>
            <a:r>
              <a:rPr lang="ru-RU" altLang="ru-RU" sz="1700" b="1" dirty="0">
                <a:cs typeface="Arial" charset="0"/>
              </a:rPr>
              <a:t> </a:t>
            </a:r>
            <a:r>
              <a:rPr lang="ru-RU" altLang="ru-RU" sz="1700" b="1" dirty="0" err="1">
                <a:cs typeface="Arial" charset="0"/>
              </a:rPr>
              <a:t>бекітеді</a:t>
            </a:r>
            <a:r>
              <a:rPr lang="ru-RU" altLang="ru-RU" sz="1700" b="1" dirty="0">
                <a:cs typeface="Arial" charset="0"/>
              </a:rPr>
              <a:t> </a:t>
            </a:r>
            <a:r>
              <a:rPr lang="ru-RU" altLang="ru-RU" sz="1700" dirty="0" err="1">
                <a:cs typeface="Arial" charset="0"/>
              </a:rPr>
              <a:t>және</a:t>
            </a:r>
            <a:r>
              <a:rPr lang="ru-RU" altLang="ru-RU" sz="1700" dirty="0">
                <a:cs typeface="Arial" charset="0"/>
              </a:rPr>
              <a:t> </a:t>
            </a:r>
            <a:r>
              <a:rPr lang="ru-RU" altLang="ru-RU" sz="1700" dirty="0" err="1">
                <a:cs typeface="Arial" charset="0"/>
              </a:rPr>
              <a:t>бөлшек</a:t>
            </a:r>
            <a:r>
              <a:rPr lang="ru-RU" altLang="ru-RU" sz="1700" dirty="0">
                <a:cs typeface="Arial" charset="0"/>
              </a:rPr>
              <a:t> </a:t>
            </a:r>
            <a:r>
              <a:rPr lang="ru-RU" altLang="ru-RU" sz="1700" dirty="0" err="1">
                <a:cs typeface="Arial" charset="0"/>
              </a:rPr>
              <a:t>бағаларды</a:t>
            </a:r>
            <a:r>
              <a:rPr lang="ru-RU" altLang="ru-RU" sz="1700" dirty="0">
                <a:cs typeface="Arial" charset="0"/>
              </a:rPr>
              <a:t> </a:t>
            </a:r>
            <a:r>
              <a:rPr lang="ru-RU" altLang="ru-RU" sz="1700" dirty="0" err="1">
                <a:cs typeface="Arial" charset="0"/>
              </a:rPr>
              <a:t>келіседі</a:t>
            </a:r>
            <a:r>
              <a:rPr lang="ru-RU" altLang="ru-RU" sz="1700" dirty="0">
                <a:cs typeface="Arial" charset="0"/>
              </a:rPr>
              <a:t>. </a:t>
            </a:r>
            <a:endParaRPr lang="ru-RU" sz="1700" dirty="0"/>
          </a:p>
        </p:txBody>
      </p:sp>
      <p:cxnSp>
        <p:nvCxnSpPr>
          <p:cNvPr id="48" name="Прямая соединительная линия 47"/>
          <p:cNvCxnSpPr/>
          <p:nvPr/>
        </p:nvCxnSpPr>
        <p:spPr>
          <a:xfrm flipH="1">
            <a:off x="7953730" y="2899701"/>
            <a:ext cx="24380" cy="219123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261660" y="6051085"/>
            <a:ext cx="48199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>
                <a:solidFill>
                  <a:srgbClr val="C00000"/>
                </a:solidFill>
                <a:cs typeface="Arial" panose="020B0604020202020204" pitchFamily="34" charset="0"/>
              </a:rPr>
              <a:t>!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8045931" y="2496466"/>
            <a:ext cx="3415937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defRPr/>
            </a:pPr>
            <a:r>
              <a:rPr lang="ru-RU" altLang="ru-RU" b="1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Тарату</a:t>
            </a:r>
            <a:r>
              <a:rPr lang="ru-RU" altLang="ru-RU" b="1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b="1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тасымалдау</a:t>
            </a:r>
            <a:r>
              <a:rPr lang="ru-RU" altLang="ru-RU" b="1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b="1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тарифі</a:t>
            </a:r>
            <a:r>
              <a:rPr lang="ru-RU" altLang="ru-RU" b="1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b="1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және</a:t>
            </a:r>
            <a:r>
              <a:rPr lang="ru-RU" altLang="ru-RU" b="1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br>
              <a:rPr lang="ru-RU" altLang="ru-RU" b="1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altLang="ru-RU" b="1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бөлшек</a:t>
            </a:r>
            <a:r>
              <a:rPr lang="ru-RU" altLang="ru-RU" b="1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b="1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бағалар</a:t>
            </a:r>
            <a:endParaRPr lang="ru-RU" altLang="ru-RU" b="1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58" name="Прямая со стрелкой 57"/>
          <p:cNvCxnSpPr>
            <a:stCxn id="42" idx="0"/>
          </p:cNvCxnSpPr>
          <p:nvPr/>
        </p:nvCxnSpPr>
        <p:spPr>
          <a:xfrm flipH="1" flipV="1">
            <a:off x="3349951" y="1847316"/>
            <a:ext cx="9186" cy="645948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 стрелкой 64"/>
          <p:cNvCxnSpPr/>
          <p:nvPr/>
        </p:nvCxnSpPr>
        <p:spPr>
          <a:xfrm flipV="1">
            <a:off x="5893546" y="1820441"/>
            <a:ext cx="0" cy="680572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 стрелкой 65"/>
          <p:cNvCxnSpPr/>
          <p:nvPr/>
        </p:nvCxnSpPr>
        <p:spPr>
          <a:xfrm flipV="1">
            <a:off x="8678491" y="1839409"/>
            <a:ext cx="503" cy="69137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 flipH="1">
            <a:off x="4205129" y="2884646"/>
            <a:ext cx="24380" cy="219123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0033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1333330" y="121619"/>
            <a:ext cx="891251" cy="365125"/>
          </a:xfrm>
        </p:spPr>
        <p:txBody>
          <a:bodyPr/>
          <a:lstStyle/>
          <a:p>
            <a:pPr algn="ctr"/>
            <a:r>
              <a:rPr lang="ru-RU" sz="1200" dirty="0">
                <a:solidFill>
                  <a:prstClr val="black"/>
                </a:solidFill>
              </a:rPr>
              <a:t>5</a:t>
            </a:r>
            <a:r>
              <a:rPr lang="en-US" sz="1200" dirty="0" smtClean="0">
                <a:solidFill>
                  <a:prstClr val="black"/>
                </a:solidFill>
              </a:rPr>
              <a:t>-</a:t>
            </a:r>
            <a:r>
              <a:rPr lang="ru-RU" sz="1200" dirty="0">
                <a:solidFill>
                  <a:prstClr val="black"/>
                </a:solidFill>
              </a:rPr>
              <a:t>Слайд</a:t>
            </a:r>
          </a:p>
        </p:txBody>
      </p:sp>
    </p:spTree>
    <p:extLst>
      <p:ext uri="{BB962C8B-B14F-4D97-AF65-F5344CB8AC3E}">
        <p14:creationId xmlns:p14="http://schemas.microsoft.com/office/powerpoint/2010/main" val="1570626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369924" y="3081079"/>
            <a:ext cx="118238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err="1">
                <a:cs typeface="Arial" panose="020B0604020202020204" pitchFamily="34" charset="0"/>
              </a:rPr>
              <a:t>Тұтынушылар</a:t>
            </a:r>
            <a:r>
              <a:rPr lang="ru-RU" sz="2400" b="1" dirty="0">
                <a:cs typeface="Arial" panose="020B0604020202020204" pitchFamily="34" charset="0"/>
              </a:rPr>
              <a:t> </a:t>
            </a:r>
            <a:r>
              <a:rPr lang="ru-RU" sz="2400" b="1" dirty="0" err="1">
                <a:cs typeface="Arial" panose="020B0604020202020204" pitchFamily="34" charset="0"/>
              </a:rPr>
              <a:t>топтары</a:t>
            </a:r>
            <a:r>
              <a:rPr lang="ru-RU" sz="2400" b="1" dirty="0">
                <a:cs typeface="Arial" panose="020B0604020202020204" pitchFamily="34" charset="0"/>
              </a:rPr>
              <a:t> </a:t>
            </a:r>
            <a:r>
              <a:rPr lang="ru-RU" sz="2400" b="1" dirty="0" err="1">
                <a:cs typeface="Arial" panose="020B0604020202020204" pitchFamily="34" charset="0"/>
              </a:rPr>
              <a:t>бойынша</a:t>
            </a:r>
            <a:r>
              <a:rPr lang="ru-RU" sz="2400" b="1" dirty="0">
                <a:cs typeface="Arial" panose="020B0604020202020204" pitchFamily="34" charset="0"/>
              </a:rPr>
              <a:t> </a:t>
            </a:r>
            <a:r>
              <a:rPr lang="ru-RU" sz="2400" b="1" dirty="0" err="1">
                <a:cs typeface="Arial" panose="020B0604020202020204" pitchFamily="34" charset="0"/>
              </a:rPr>
              <a:t>тауарлық</a:t>
            </a:r>
            <a:r>
              <a:rPr lang="ru-RU" sz="2400" b="1" dirty="0">
                <a:cs typeface="Arial" panose="020B0604020202020204" pitchFamily="34" charset="0"/>
              </a:rPr>
              <a:t> газ </a:t>
            </a:r>
            <a:r>
              <a:rPr lang="ru-RU" sz="2400" b="1" dirty="0" err="1">
                <a:cs typeface="Arial" panose="020B0604020202020204" pitchFamily="34" charset="0"/>
              </a:rPr>
              <a:t>бағасын</a:t>
            </a:r>
            <a:r>
              <a:rPr lang="ru-RU" sz="2400" b="1" dirty="0">
                <a:cs typeface="Arial" panose="020B0604020202020204" pitchFamily="34" charset="0"/>
              </a:rPr>
              <a:t> </a:t>
            </a:r>
            <a:r>
              <a:rPr lang="ru-RU" sz="2400" b="1" dirty="0" err="1">
                <a:cs typeface="Arial" panose="020B0604020202020204" pitchFamily="34" charset="0"/>
              </a:rPr>
              <a:t>саралаудың</a:t>
            </a:r>
            <a:r>
              <a:rPr lang="ru-RU" sz="2400" b="1" dirty="0">
                <a:cs typeface="Arial" panose="020B0604020202020204" pitchFamily="34" charset="0"/>
              </a:rPr>
              <a:t> </a:t>
            </a:r>
            <a:r>
              <a:rPr lang="ru-RU" sz="2400" b="1" dirty="0" err="1">
                <a:cs typeface="Arial" panose="020B0604020202020204" pitchFamily="34" charset="0"/>
              </a:rPr>
              <a:t>негізгі</a:t>
            </a:r>
            <a:r>
              <a:rPr lang="ru-RU" sz="2400" b="1" dirty="0">
                <a:cs typeface="Arial" panose="020B0604020202020204" pitchFamily="34" charset="0"/>
              </a:rPr>
              <a:t> </a:t>
            </a:r>
            <a:r>
              <a:rPr lang="ru-RU" sz="2400" b="1" dirty="0" err="1">
                <a:cs typeface="Arial" panose="020B0604020202020204" pitchFamily="34" charset="0"/>
              </a:rPr>
              <a:t>тәсілдері</a:t>
            </a:r>
            <a:endParaRPr lang="ru-RU" sz="2400" b="1" dirty="0">
              <a:cs typeface="Arial" panose="020B0604020202020204" pitchFamily="34" charset="0"/>
            </a:endParaRPr>
          </a:p>
        </p:txBody>
      </p:sp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1169821"/>
              </p:ext>
            </p:extLst>
          </p:nvPr>
        </p:nvGraphicFramePr>
        <p:xfrm>
          <a:off x="6724925" y="1299948"/>
          <a:ext cx="4516700" cy="1773494"/>
        </p:xfrm>
        <a:graphic>
          <a:graphicData uri="http://schemas.openxmlformats.org/drawingml/2006/table">
            <a:tbl>
              <a:tblPr/>
              <a:tblGrid>
                <a:gridCol w="2286616">
                  <a:extLst>
                    <a:ext uri="{9D8B030D-6E8A-4147-A177-3AD203B41FA5}">
                      <a16:colId xmlns:a16="http://schemas.microsoft.com/office/drawing/2014/main" xmlns="" val="2381427923"/>
                    </a:ext>
                  </a:extLst>
                </a:gridCol>
                <a:gridCol w="1036428">
                  <a:extLst>
                    <a:ext uri="{9D8B030D-6E8A-4147-A177-3AD203B41FA5}">
                      <a16:colId xmlns:a16="http://schemas.microsoft.com/office/drawing/2014/main" xmlns="" val="3590096454"/>
                    </a:ext>
                  </a:extLst>
                </a:gridCol>
                <a:gridCol w="1193656">
                  <a:extLst>
                    <a:ext uri="{9D8B030D-6E8A-4147-A177-3AD203B41FA5}">
                      <a16:colId xmlns:a16="http://schemas.microsoft.com/office/drawing/2014/main" xmlns="" val="3112563836"/>
                    </a:ext>
                  </a:extLst>
                </a:gridCol>
              </a:tblGrid>
              <a:tr h="49297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тауы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40" marR="4740" marT="47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 </a:t>
                      </a:r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факт)</a:t>
                      </a:r>
                    </a:p>
                  </a:txBody>
                  <a:tcPr marL="4740" marR="4740" marT="47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 </a:t>
                      </a:r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лжам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</a:t>
                      </a:r>
                    </a:p>
                  </a:txBody>
                  <a:tcPr marL="4740" marR="4740" marT="47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22440896"/>
                  </a:ext>
                </a:extLst>
              </a:tr>
              <a:tr h="25124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ХР-</a:t>
                      </a:r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ға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экспорт</a:t>
                      </a:r>
                      <a:r>
                        <a:rPr lang="ru-RU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млрд.м</a:t>
                      </a:r>
                      <a:r>
                        <a:rPr lang="ru-RU" sz="7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40" marR="4740" marT="47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9</a:t>
                      </a:r>
                    </a:p>
                  </a:txBody>
                  <a:tcPr marL="4740" marR="4740" marT="47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,5</a:t>
                      </a:r>
                    </a:p>
                  </a:txBody>
                  <a:tcPr marL="5358" marR="5358" marT="53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90577807"/>
                  </a:ext>
                </a:extLst>
              </a:tr>
              <a:tr h="25124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ХР-</a:t>
                      </a:r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ға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экспорт</a:t>
                      </a:r>
                      <a:r>
                        <a:rPr lang="ru-RU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млрд. </a:t>
                      </a:r>
                      <a:r>
                        <a:rPr lang="ru-RU" sz="1000" b="1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г</a:t>
                      </a:r>
                      <a:endParaRPr lang="ru-RU" sz="10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40" marR="4740" marT="47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1</a:t>
                      </a:r>
                    </a:p>
                  </a:txBody>
                  <a:tcPr marL="4740" marR="4740" marT="47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,9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358" marR="5358" marT="53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27766424"/>
                  </a:ext>
                </a:extLst>
              </a:tr>
              <a:tr h="25124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сымалдау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рд. </a:t>
                      </a:r>
                      <a:r>
                        <a:rPr lang="ru-RU" sz="1000" b="1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г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358" marR="5358" marT="53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</a:t>
                      </a:r>
                    </a:p>
                  </a:txBody>
                  <a:tcPr marL="5358" marR="5358" marT="53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,1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358" marR="5358" marT="53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35254052"/>
                  </a:ext>
                </a:extLst>
              </a:tr>
              <a:tr h="27552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Ішкі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рық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рд. </a:t>
                      </a:r>
                      <a:r>
                        <a:rPr lang="ru-RU" sz="1000" b="1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г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40" marR="4740" marT="47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ru-RU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162</a:t>
                      </a:r>
                    </a:p>
                  </a:txBody>
                  <a:tcPr marL="4740" marR="4740" marT="47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151</a:t>
                      </a:r>
                    </a:p>
                  </a:txBody>
                  <a:tcPr marL="5358" marR="5358" marT="53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562768195"/>
                  </a:ext>
                </a:extLst>
              </a:tr>
              <a:tr h="25124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лпы</a:t>
                      </a:r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лал</a:t>
                      </a:r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kk-K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с</a:t>
                      </a:r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</a:p>
                  </a:txBody>
                  <a:tcPr marL="4740" marR="4740" marT="47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</a:t>
                      </a:r>
                    </a:p>
                  </a:txBody>
                  <a:tcPr marL="5358" marR="5358" marT="53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358" marR="5358" marT="53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4228134"/>
                  </a:ext>
                </a:extLst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5880350" y="602833"/>
            <a:ext cx="607085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err="1">
                <a:cs typeface="Arial" panose="020B0604020202020204" pitchFamily="34" charset="0"/>
              </a:rPr>
              <a:t>Ұлттық</a:t>
            </a:r>
            <a:r>
              <a:rPr lang="ru-RU" b="1" dirty="0">
                <a:cs typeface="Arial" panose="020B0604020202020204" pitchFamily="34" charset="0"/>
              </a:rPr>
              <a:t> </a:t>
            </a:r>
            <a:r>
              <a:rPr lang="ru-RU" b="1" dirty="0" err="1">
                <a:cs typeface="Arial" panose="020B0604020202020204" pitchFamily="34" charset="0"/>
              </a:rPr>
              <a:t>оператордың</a:t>
            </a:r>
            <a:r>
              <a:rPr lang="ru-RU" b="1" dirty="0">
                <a:cs typeface="Arial" panose="020B0604020202020204" pitchFamily="34" charset="0"/>
              </a:rPr>
              <a:t> </a:t>
            </a:r>
            <a:r>
              <a:rPr lang="ru-RU" b="1" dirty="0" err="1">
                <a:cs typeface="Arial" panose="020B0604020202020204" pitchFamily="34" charset="0"/>
              </a:rPr>
              <a:t>газға</a:t>
            </a:r>
            <a:r>
              <a:rPr lang="ru-RU" b="1" dirty="0">
                <a:cs typeface="Arial" panose="020B0604020202020204" pitchFamily="34" charset="0"/>
              </a:rPr>
              <a:t> </a:t>
            </a:r>
            <a:r>
              <a:rPr lang="ru-RU" b="1" dirty="0" err="1">
                <a:cs typeface="Arial" panose="020B0604020202020204" pitchFamily="34" charset="0"/>
              </a:rPr>
              <a:t>бағаны</a:t>
            </a:r>
            <a:r>
              <a:rPr lang="ru-RU" b="1" dirty="0"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b="1" dirty="0" err="1">
                <a:cs typeface="Arial" panose="020B0604020202020204" pitchFamily="34" charset="0"/>
              </a:rPr>
              <a:t>ұстап</a:t>
            </a:r>
            <a:r>
              <a:rPr lang="ru-RU" b="1" dirty="0">
                <a:cs typeface="Arial" panose="020B0604020202020204" pitchFamily="34" charset="0"/>
              </a:rPr>
              <a:t> </a:t>
            </a:r>
            <a:r>
              <a:rPr lang="ru-RU" b="1" dirty="0" err="1">
                <a:cs typeface="Arial" panose="020B0604020202020204" pitchFamily="34" charset="0"/>
              </a:rPr>
              <a:t>тұрудан</a:t>
            </a:r>
            <a:r>
              <a:rPr lang="ru-RU" b="1" dirty="0">
                <a:cs typeface="Arial" panose="020B0604020202020204" pitchFamily="34" charset="0"/>
              </a:rPr>
              <a:t> </a:t>
            </a:r>
            <a:r>
              <a:rPr lang="ru-RU" b="1" dirty="0" err="1">
                <a:cs typeface="Arial" panose="020B0604020202020204" pitchFamily="34" charset="0"/>
              </a:rPr>
              <a:t>болған</a:t>
            </a:r>
            <a:r>
              <a:rPr lang="ru-RU" b="1" dirty="0">
                <a:cs typeface="Arial" panose="020B0604020202020204" pitchFamily="34" charset="0"/>
              </a:rPr>
              <a:t> </a:t>
            </a:r>
            <a:r>
              <a:rPr lang="ru-RU" b="1" dirty="0" err="1">
                <a:cs typeface="Arial" panose="020B0604020202020204" pitchFamily="34" charset="0"/>
              </a:rPr>
              <a:t>залалдары</a:t>
            </a:r>
            <a:endParaRPr lang="ru-RU" b="1" dirty="0">
              <a:cs typeface="Arial" panose="020B0604020202020204" pitchFamily="34" charset="0"/>
            </a:endParaRP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1866437"/>
              </p:ext>
            </p:extLst>
          </p:nvPr>
        </p:nvGraphicFramePr>
        <p:xfrm>
          <a:off x="1353313" y="1290405"/>
          <a:ext cx="5115860" cy="1797138"/>
        </p:xfrm>
        <a:graphic>
          <a:graphicData uri="http://schemas.openxmlformats.org/drawingml/2006/table">
            <a:tbl>
              <a:tblPr bandRow="1"/>
              <a:tblGrid>
                <a:gridCol w="1588524">
                  <a:extLst>
                    <a:ext uri="{9D8B030D-6E8A-4147-A177-3AD203B41FA5}">
                      <a16:colId xmlns:a16="http://schemas.microsoft.com/office/drawing/2014/main" xmlns="" val="661572951"/>
                    </a:ext>
                  </a:extLst>
                </a:gridCol>
                <a:gridCol w="1838189">
                  <a:extLst>
                    <a:ext uri="{9D8B030D-6E8A-4147-A177-3AD203B41FA5}">
                      <a16:colId xmlns:a16="http://schemas.microsoft.com/office/drawing/2014/main" xmlns="" val="4232592772"/>
                    </a:ext>
                  </a:extLst>
                </a:gridCol>
                <a:gridCol w="1689147">
                  <a:extLst>
                    <a:ext uri="{9D8B030D-6E8A-4147-A177-3AD203B41FA5}">
                      <a16:colId xmlns:a16="http://schemas.microsoft.com/office/drawing/2014/main" xmlns="" val="2894409610"/>
                    </a:ext>
                  </a:extLst>
                </a:gridCol>
              </a:tblGrid>
              <a:tr h="33222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млекет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алық</a:t>
                      </a:r>
                      <a:r>
                        <a:rPr lang="ru-RU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шін</a:t>
                      </a:r>
                      <a:endParaRPr lang="ru-RU" sz="105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1" i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ңды</a:t>
                      </a:r>
                      <a:r>
                        <a:rPr lang="ru-RU" sz="105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i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ұлғалар</a:t>
                      </a:r>
                      <a:r>
                        <a:rPr lang="ru-RU" sz="105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i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шін</a:t>
                      </a:r>
                      <a:endParaRPr lang="ru-RU" sz="105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47427792"/>
                  </a:ext>
                </a:extLst>
              </a:tr>
              <a:tr h="20927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зақстан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96761234"/>
                  </a:ext>
                </a:extLst>
              </a:tr>
              <a:tr h="20927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збекстан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38467903"/>
                  </a:ext>
                </a:extLst>
              </a:tr>
              <a:tr h="20927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ларусь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14526908"/>
                  </a:ext>
                </a:extLst>
              </a:tr>
              <a:tr h="20927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ей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84896557"/>
                  </a:ext>
                </a:extLst>
              </a:tr>
              <a:tr h="20927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рғызстан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932244368"/>
                  </a:ext>
                </a:extLst>
              </a:tr>
              <a:tr h="20927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мени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74496632"/>
                  </a:ext>
                </a:extLst>
              </a:tr>
              <a:tr h="20927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тай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33192130"/>
                  </a:ext>
                </a:extLst>
              </a:tr>
            </a:tbl>
          </a:graphicData>
        </a:graphic>
      </p:graphicFrame>
      <p:sp>
        <p:nvSpPr>
          <p:cNvPr id="65" name="TextBox 64"/>
          <p:cNvSpPr txBox="1"/>
          <p:nvPr/>
        </p:nvSpPr>
        <p:spPr>
          <a:xfrm>
            <a:off x="-100743" y="6144945"/>
            <a:ext cx="95232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err="1">
                <a:cs typeface="Arial" panose="020B0604020202020204" pitchFamily="34" charset="0"/>
              </a:rPr>
              <a:t>Тауарлық</a:t>
            </a:r>
            <a:r>
              <a:rPr lang="ru-RU" sz="2400" b="1" dirty="0">
                <a:cs typeface="Arial" panose="020B0604020202020204" pitchFamily="34" charset="0"/>
              </a:rPr>
              <a:t> газ </a:t>
            </a:r>
            <a:r>
              <a:rPr lang="ru-RU" sz="2400" b="1" dirty="0" err="1">
                <a:cs typeface="Arial" panose="020B0604020202020204" pitchFamily="34" charset="0"/>
              </a:rPr>
              <a:t>бағасын</a:t>
            </a:r>
            <a:r>
              <a:rPr lang="ru-RU" sz="2400" b="1" dirty="0">
                <a:cs typeface="Arial" panose="020B0604020202020204" pitchFamily="34" charset="0"/>
              </a:rPr>
              <a:t> </a:t>
            </a:r>
            <a:r>
              <a:rPr lang="ru-RU" sz="2400" b="1" dirty="0" err="1">
                <a:cs typeface="Arial" panose="020B0604020202020204" pitchFamily="34" charset="0"/>
              </a:rPr>
              <a:t>ақырындап</a:t>
            </a:r>
            <a:r>
              <a:rPr lang="ru-RU" sz="2400" b="1" dirty="0">
                <a:cs typeface="Arial" panose="020B0604020202020204" pitchFamily="34" charset="0"/>
              </a:rPr>
              <a:t> </a:t>
            </a:r>
            <a:r>
              <a:rPr lang="ru-RU" sz="2400" b="1" dirty="0" err="1">
                <a:cs typeface="Arial" panose="020B0604020202020204" pitchFamily="34" charset="0"/>
              </a:rPr>
              <a:t>өсіру</a:t>
            </a:r>
            <a:r>
              <a:rPr lang="ru-RU" sz="2400" b="1" dirty="0">
                <a:cs typeface="Arial" panose="020B0604020202020204" pitchFamily="34" charset="0"/>
              </a:rPr>
              <a:t> </a:t>
            </a:r>
            <a:r>
              <a:rPr lang="ru-RU" sz="2400" b="1" dirty="0" err="1">
                <a:cs typeface="Arial" panose="020B0604020202020204" pitchFamily="34" charset="0"/>
              </a:rPr>
              <a:t>қажет</a:t>
            </a:r>
            <a:endParaRPr lang="ru-RU" sz="2400" b="1" dirty="0">
              <a:cs typeface="Arial" panose="020B0604020202020204" pitchFamily="34" charset="0"/>
            </a:endParaRPr>
          </a:p>
        </p:txBody>
      </p:sp>
      <p:sp>
        <p:nvSpPr>
          <p:cNvPr id="34" name="AutoShape 4" descr="Флаг Сингапура — Википедия"/>
          <p:cNvSpPr>
            <a:spLocks noChangeAspect="1" noChangeArrowheads="1"/>
          </p:cNvSpPr>
          <p:nvPr/>
        </p:nvSpPr>
        <p:spPr bwMode="auto">
          <a:xfrm>
            <a:off x="1640681" y="-104536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6A394F2B-E8B0-4223-867C-FA73D40D4966}"/>
              </a:ext>
            </a:extLst>
          </p:cNvPr>
          <p:cNvSpPr/>
          <p:nvPr/>
        </p:nvSpPr>
        <p:spPr bwMode="auto">
          <a:xfrm>
            <a:off x="0" y="123457"/>
            <a:ext cx="8447762" cy="43571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90000"/>
              </a:lnSpc>
              <a:buSzPts val="2800"/>
              <a:defRPr/>
            </a:pPr>
            <a:r>
              <a:rPr lang="ru-RU" altLang="ru-RU" sz="2800" b="1" dirty="0">
                <a:solidFill>
                  <a:srgbClr val="1A4164"/>
                </a:solidFill>
                <a:ea typeface="Barlow Condensed"/>
                <a:cs typeface="Arial" panose="020B0604020202020204" pitchFamily="34" charset="0"/>
                <a:sym typeface="Barlow Condensed"/>
              </a:rPr>
              <a:t>ТАУАРЛЫҚ ГАЗҒА БАҒА БЕЛГІЛЕУ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461857" y="797308"/>
            <a:ext cx="49794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b="1" dirty="0" err="1">
                <a:cs typeface="Arial" panose="020B0604020202020204" pitchFamily="34" charset="0"/>
              </a:rPr>
              <a:t>Табиғи</a:t>
            </a:r>
            <a:r>
              <a:rPr lang="ru-RU" b="1" dirty="0">
                <a:cs typeface="Arial" panose="020B0604020202020204" pitchFamily="34" charset="0"/>
              </a:rPr>
              <a:t> </a:t>
            </a:r>
            <a:r>
              <a:rPr lang="ru-RU" b="1" dirty="0" err="1">
                <a:cs typeface="Arial" panose="020B0604020202020204" pitchFamily="34" charset="0"/>
              </a:rPr>
              <a:t>газдың</a:t>
            </a:r>
            <a:r>
              <a:rPr lang="ru-RU" b="1" dirty="0">
                <a:cs typeface="Arial" panose="020B0604020202020204" pitchFamily="34" charset="0"/>
              </a:rPr>
              <a:t> </a:t>
            </a:r>
            <a:r>
              <a:rPr lang="ru-RU" b="1" dirty="0" err="1">
                <a:cs typeface="Arial" panose="020B0604020202020204" pitchFamily="34" charset="0"/>
              </a:rPr>
              <a:t>құны</a:t>
            </a:r>
            <a:r>
              <a:rPr lang="ru-RU" b="1" dirty="0">
                <a:cs typeface="Arial" panose="020B0604020202020204" pitchFamily="34" charset="0"/>
              </a:rPr>
              <a:t>, </a:t>
            </a:r>
            <a:r>
              <a:rPr lang="ru-RU" sz="1100" dirty="0">
                <a:cs typeface="Arial" panose="020B0604020202020204" pitchFamily="34" charset="0"/>
              </a:rPr>
              <a:t>(долл./мың.м³)</a:t>
            </a:r>
            <a:r>
              <a:rPr lang="ru-RU" b="1" dirty="0">
                <a:cs typeface="Arial" panose="020B0604020202020204" pitchFamily="34" charset="0"/>
              </a:rPr>
              <a:t> </a:t>
            </a:r>
            <a:endParaRPr lang="ru-RU" sz="1100" dirty="0">
              <a:cs typeface="Arial" panose="020B0604020202020204" pitchFamily="34" charset="0"/>
            </a:endParaRPr>
          </a:p>
        </p:txBody>
      </p:sp>
      <p:graphicFrame>
        <p:nvGraphicFramePr>
          <p:cNvPr id="43" name="Диаграмма 17">
            <a:extLst>
              <a:ext uri="{FF2B5EF4-FFF2-40B4-BE49-F238E27FC236}">
                <a16:creationId xmlns:a16="http://schemas.microsoft.com/office/drawing/2014/main" xmlns="" id="{D0887785-1003-9347-B331-C0396D9537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4226460"/>
              </p:ext>
            </p:extLst>
          </p:nvPr>
        </p:nvGraphicFramePr>
        <p:xfrm>
          <a:off x="1461857" y="3185388"/>
          <a:ext cx="6211960" cy="4860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46" name="Picture 4" descr="F:\7f63e9757f9a84022f51de911339c51d_original.5980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0" t="6800" r="16400" b="6599"/>
          <a:stretch/>
        </p:blipFill>
        <p:spPr bwMode="auto">
          <a:xfrm>
            <a:off x="3076199" y="4615473"/>
            <a:ext cx="581401" cy="633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2148817"/>
              </p:ext>
            </p:extLst>
          </p:nvPr>
        </p:nvGraphicFramePr>
        <p:xfrm>
          <a:off x="4907617" y="3876019"/>
          <a:ext cx="5629754" cy="2072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098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780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05072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192358">
                <a:tc>
                  <a:txBody>
                    <a:bodyPr/>
                    <a:lstStyle/>
                    <a:p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алық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23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йынғы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ғаның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%-</a:t>
                      </a:r>
                      <a:r>
                        <a:rPr lang="ru-RU" sz="1400" b="1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ға</a:t>
                      </a: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таша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суі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алықтың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ал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птары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8650" indent="0"/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ғаны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-</a:t>
                      </a:r>
                      <a:r>
                        <a:rPr lang="ru-RU" sz="1400" b="1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ға</a:t>
                      </a: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йін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ұстап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ұруды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мтамасыз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ту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ерциялық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ұтынушылар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8650" indent="0"/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йын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-30%-</a:t>
                      </a:r>
                      <a:r>
                        <a:rPr lang="ru-RU" sz="1400" b="1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ға</a:t>
                      </a: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сіру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04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ғары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нологиялық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әсіпорындар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5475" indent="0" algn="l"/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спорттық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«</a:t>
                      </a:r>
                      <a:r>
                        <a:rPr lang="ru-RU" sz="1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бэк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47" name="TextBox 46"/>
          <p:cNvSpPr txBox="1"/>
          <p:nvPr/>
        </p:nvSpPr>
        <p:spPr>
          <a:xfrm>
            <a:off x="1110390" y="5773734"/>
            <a:ext cx="7588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200" b="1" dirty="0">
                <a:solidFill>
                  <a:srgbClr val="C00000"/>
                </a:solidFill>
                <a:cs typeface="Arial" panose="020B0604020202020204" pitchFamily="34" charset="0"/>
              </a:rPr>
              <a:t>!</a:t>
            </a:r>
          </a:p>
        </p:txBody>
      </p:sp>
      <p:sp>
        <p:nvSpPr>
          <p:cNvPr id="57" name="Стрелка вправо 56"/>
          <p:cNvSpPr/>
          <p:nvPr/>
        </p:nvSpPr>
        <p:spPr>
          <a:xfrm>
            <a:off x="7490052" y="4060826"/>
            <a:ext cx="282349" cy="184150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ru-RU" sz="16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58" name="Стрелка вправо 57"/>
          <p:cNvSpPr/>
          <p:nvPr/>
        </p:nvSpPr>
        <p:spPr>
          <a:xfrm>
            <a:off x="7501277" y="4565651"/>
            <a:ext cx="282349" cy="184150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ru-RU" sz="16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59" name="Стрелка вправо 58"/>
          <p:cNvSpPr/>
          <p:nvPr/>
        </p:nvSpPr>
        <p:spPr>
          <a:xfrm>
            <a:off x="7490051" y="5065709"/>
            <a:ext cx="282349" cy="184150"/>
          </a:xfrm>
          <a:prstGeom prst="right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ru-RU" sz="16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0" name="Стрелка вправо 59"/>
          <p:cNvSpPr/>
          <p:nvPr/>
        </p:nvSpPr>
        <p:spPr>
          <a:xfrm>
            <a:off x="7496513" y="5589584"/>
            <a:ext cx="282349" cy="184150"/>
          </a:xfrm>
          <a:prstGeom prst="rightArrow">
            <a:avLst/>
          </a:prstGeom>
          <a:solidFill>
            <a:srgbClr val="CC04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ru-RU" sz="16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cxnSp>
        <p:nvCxnSpPr>
          <p:cNvPr id="31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0033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11324784" y="130165"/>
            <a:ext cx="891251" cy="365125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</a:t>
            </a:r>
          </a:p>
        </p:txBody>
      </p:sp>
    </p:spTree>
    <p:extLst>
      <p:ext uri="{BB962C8B-B14F-4D97-AF65-F5344CB8AC3E}">
        <p14:creationId xmlns:p14="http://schemas.microsoft.com/office/powerpoint/2010/main" val="664872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AutoShape 6" descr="больница, здание бесплатно значок - Icon-Icons.com"/>
          <p:cNvSpPr>
            <a:spLocks noChangeAspect="1" noChangeArrowheads="1"/>
          </p:cNvSpPr>
          <p:nvPr/>
        </p:nvSpPr>
        <p:spPr bwMode="auto">
          <a:xfrm>
            <a:off x="1831975" y="-172127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600"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77AC08D8-A2CF-4813-BCB9-ECFCFFCE433C}"/>
              </a:ext>
            </a:extLst>
          </p:cNvPr>
          <p:cNvSpPr txBox="1"/>
          <p:nvPr/>
        </p:nvSpPr>
        <p:spPr>
          <a:xfrm>
            <a:off x="226275" y="94035"/>
            <a:ext cx="106775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1A4164"/>
                </a:solidFill>
                <a:ea typeface="Barlow Condensed"/>
                <a:cs typeface="Arial" panose="020B0604020202020204" pitchFamily="34" charset="0"/>
              </a:rPr>
              <a:t>ЕЛДІ ГАЗДАНДЫРУ</a:t>
            </a:r>
          </a:p>
        </p:txBody>
      </p:sp>
      <p:grpSp>
        <p:nvGrpSpPr>
          <p:cNvPr id="47" name="Группа 46"/>
          <p:cNvGrpSpPr/>
          <p:nvPr/>
        </p:nvGrpSpPr>
        <p:grpSpPr>
          <a:xfrm>
            <a:off x="799608" y="1588404"/>
            <a:ext cx="11849473" cy="5247058"/>
            <a:chOff x="18966" y="1451016"/>
            <a:chExt cx="9138387" cy="5283165"/>
          </a:xfrm>
        </p:grpSpPr>
        <p:grpSp>
          <p:nvGrpSpPr>
            <p:cNvPr id="48" name="Группа 47"/>
            <p:cNvGrpSpPr/>
            <p:nvPr/>
          </p:nvGrpSpPr>
          <p:grpSpPr>
            <a:xfrm>
              <a:off x="135348" y="1451016"/>
              <a:ext cx="9022005" cy="5283165"/>
              <a:chOff x="414916" y="1431173"/>
              <a:chExt cx="8729084" cy="5158036"/>
            </a:xfrm>
          </p:grpSpPr>
          <p:grpSp>
            <p:nvGrpSpPr>
              <p:cNvPr id="78" name="Группа 77"/>
              <p:cNvGrpSpPr/>
              <p:nvPr/>
            </p:nvGrpSpPr>
            <p:grpSpPr>
              <a:xfrm>
                <a:off x="414916" y="1472602"/>
                <a:ext cx="8729084" cy="5116607"/>
                <a:chOff x="591129" y="683277"/>
                <a:chExt cx="8729084" cy="4424504"/>
              </a:xfrm>
            </p:grpSpPr>
            <p:grpSp>
              <p:nvGrpSpPr>
                <p:cNvPr id="92" name="Группа 91"/>
                <p:cNvGrpSpPr/>
                <p:nvPr/>
              </p:nvGrpSpPr>
              <p:grpSpPr>
                <a:xfrm>
                  <a:off x="591129" y="683277"/>
                  <a:ext cx="8729084" cy="4424504"/>
                  <a:chOff x="0" y="1887765"/>
                  <a:chExt cx="7981338" cy="4662731"/>
                </a:xfrm>
              </p:grpSpPr>
              <p:grpSp>
                <p:nvGrpSpPr>
                  <p:cNvPr id="99" name="Группа 27"/>
                  <p:cNvGrpSpPr>
                    <a:grpSpLocks/>
                  </p:cNvGrpSpPr>
                  <p:nvPr/>
                </p:nvGrpSpPr>
                <p:grpSpPr bwMode="auto">
                  <a:xfrm>
                    <a:off x="0" y="2150565"/>
                    <a:ext cx="7176413" cy="4399931"/>
                    <a:chOff x="1052945" y="929126"/>
                    <a:chExt cx="6128906" cy="3157270"/>
                  </a:xfrm>
                  <a:solidFill>
                    <a:schemeClr val="accent3">
                      <a:lumMod val="20000"/>
                      <a:lumOff val="80000"/>
                    </a:schemeClr>
                  </a:solidFill>
                </p:grpSpPr>
                <p:sp>
                  <p:nvSpPr>
                    <p:cNvPr id="118" name="Freeform 14"/>
                    <p:cNvSpPr/>
                    <p:nvPr/>
                  </p:nvSpPr>
                  <p:spPr>
                    <a:xfrm>
                      <a:off x="5242803" y="2542354"/>
                      <a:ext cx="1432662" cy="998986"/>
                    </a:xfrm>
                    <a:custGeom>
                      <a:avLst/>
                      <a:gdLst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19100 w 2038350"/>
                        <a:gd name="connsiteY87" fmla="*/ 1264444 h 1533525"/>
                        <a:gd name="connsiteX88" fmla="*/ 383381 w 2038350"/>
                        <a:gd name="connsiteY88" fmla="*/ 1109663 h 1533525"/>
                        <a:gd name="connsiteX89" fmla="*/ 304800 w 2038350"/>
                        <a:gd name="connsiteY89" fmla="*/ 1050131 h 1533525"/>
                        <a:gd name="connsiteX90" fmla="*/ 195262 w 2038350"/>
                        <a:gd name="connsiteY90" fmla="*/ 1000125 h 1533525"/>
                        <a:gd name="connsiteX91" fmla="*/ 169068 w 2038350"/>
                        <a:gd name="connsiteY91" fmla="*/ 904875 h 1533525"/>
                        <a:gd name="connsiteX92" fmla="*/ 78581 w 2038350"/>
                        <a:gd name="connsiteY92" fmla="*/ 847725 h 1533525"/>
                        <a:gd name="connsiteX93" fmla="*/ 0 w 2038350"/>
                        <a:gd name="connsiteY93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19100 w 2038350"/>
                        <a:gd name="connsiteY87" fmla="*/ 1264444 h 1533525"/>
                        <a:gd name="connsiteX88" fmla="*/ 383381 w 2038350"/>
                        <a:gd name="connsiteY88" fmla="*/ 1109663 h 1533525"/>
                        <a:gd name="connsiteX89" fmla="*/ 304800 w 2038350"/>
                        <a:gd name="connsiteY89" fmla="*/ 1050131 h 1533525"/>
                        <a:gd name="connsiteX90" fmla="*/ 252412 w 2038350"/>
                        <a:gd name="connsiteY90" fmla="*/ 1023938 h 1533525"/>
                        <a:gd name="connsiteX91" fmla="*/ 195262 w 2038350"/>
                        <a:gd name="connsiteY91" fmla="*/ 1000125 h 1533525"/>
                        <a:gd name="connsiteX92" fmla="*/ 169068 w 2038350"/>
                        <a:gd name="connsiteY92" fmla="*/ 904875 h 1533525"/>
                        <a:gd name="connsiteX93" fmla="*/ 78581 w 2038350"/>
                        <a:gd name="connsiteY93" fmla="*/ 847725 h 1533525"/>
                        <a:gd name="connsiteX94" fmla="*/ 0 w 2038350"/>
                        <a:gd name="connsiteY94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19100 w 2038350"/>
                        <a:gd name="connsiteY87" fmla="*/ 1264444 h 1533525"/>
                        <a:gd name="connsiteX88" fmla="*/ 383381 w 2038350"/>
                        <a:gd name="connsiteY88" fmla="*/ 1109663 h 1533525"/>
                        <a:gd name="connsiteX89" fmla="*/ 304800 w 2038350"/>
                        <a:gd name="connsiteY89" fmla="*/ 1050131 h 1533525"/>
                        <a:gd name="connsiteX90" fmla="*/ 250030 w 2038350"/>
                        <a:gd name="connsiteY90" fmla="*/ 1033463 h 1533525"/>
                        <a:gd name="connsiteX91" fmla="*/ 195262 w 2038350"/>
                        <a:gd name="connsiteY91" fmla="*/ 1000125 h 1533525"/>
                        <a:gd name="connsiteX92" fmla="*/ 169068 w 2038350"/>
                        <a:gd name="connsiteY92" fmla="*/ 904875 h 1533525"/>
                        <a:gd name="connsiteX93" fmla="*/ 78581 w 2038350"/>
                        <a:gd name="connsiteY93" fmla="*/ 847725 h 1533525"/>
                        <a:gd name="connsiteX94" fmla="*/ 0 w 2038350"/>
                        <a:gd name="connsiteY94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19100 w 2038350"/>
                        <a:gd name="connsiteY87" fmla="*/ 1264444 h 1533525"/>
                        <a:gd name="connsiteX88" fmla="*/ 383381 w 2038350"/>
                        <a:gd name="connsiteY88" fmla="*/ 1109663 h 1533525"/>
                        <a:gd name="connsiteX89" fmla="*/ 314325 w 2038350"/>
                        <a:gd name="connsiteY89" fmla="*/ 1064419 h 1533525"/>
                        <a:gd name="connsiteX90" fmla="*/ 250030 w 2038350"/>
                        <a:gd name="connsiteY90" fmla="*/ 1033463 h 1533525"/>
                        <a:gd name="connsiteX91" fmla="*/ 195262 w 2038350"/>
                        <a:gd name="connsiteY91" fmla="*/ 1000125 h 1533525"/>
                        <a:gd name="connsiteX92" fmla="*/ 169068 w 2038350"/>
                        <a:gd name="connsiteY92" fmla="*/ 904875 h 1533525"/>
                        <a:gd name="connsiteX93" fmla="*/ 78581 w 2038350"/>
                        <a:gd name="connsiteY93" fmla="*/ 847725 h 1533525"/>
                        <a:gd name="connsiteX94" fmla="*/ 0 w 2038350"/>
                        <a:gd name="connsiteY94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52437 w 2038350"/>
                        <a:gd name="connsiteY87" fmla="*/ 1331119 h 1533525"/>
                        <a:gd name="connsiteX88" fmla="*/ 419100 w 2038350"/>
                        <a:gd name="connsiteY88" fmla="*/ 1264444 h 1533525"/>
                        <a:gd name="connsiteX89" fmla="*/ 383381 w 2038350"/>
                        <a:gd name="connsiteY89" fmla="*/ 1109663 h 1533525"/>
                        <a:gd name="connsiteX90" fmla="*/ 314325 w 2038350"/>
                        <a:gd name="connsiteY90" fmla="*/ 1064419 h 1533525"/>
                        <a:gd name="connsiteX91" fmla="*/ 250030 w 2038350"/>
                        <a:gd name="connsiteY91" fmla="*/ 1033463 h 1533525"/>
                        <a:gd name="connsiteX92" fmla="*/ 195262 w 2038350"/>
                        <a:gd name="connsiteY92" fmla="*/ 1000125 h 1533525"/>
                        <a:gd name="connsiteX93" fmla="*/ 169068 w 2038350"/>
                        <a:gd name="connsiteY93" fmla="*/ 904875 h 1533525"/>
                        <a:gd name="connsiteX94" fmla="*/ 78581 w 2038350"/>
                        <a:gd name="connsiteY94" fmla="*/ 847725 h 1533525"/>
                        <a:gd name="connsiteX95" fmla="*/ 0 w 2038350"/>
                        <a:gd name="connsiteY95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40531 w 2038350"/>
                        <a:gd name="connsiteY87" fmla="*/ 1340644 h 1533525"/>
                        <a:gd name="connsiteX88" fmla="*/ 419100 w 2038350"/>
                        <a:gd name="connsiteY88" fmla="*/ 1264444 h 1533525"/>
                        <a:gd name="connsiteX89" fmla="*/ 383381 w 2038350"/>
                        <a:gd name="connsiteY89" fmla="*/ 1109663 h 1533525"/>
                        <a:gd name="connsiteX90" fmla="*/ 314325 w 2038350"/>
                        <a:gd name="connsiteY90" fmla="*/ 1064419 h 1533525"/>
                        <a:gd name="connsiteX91" fmla="*/ 250030 w 2038350"/>
                        <a:gd name="connsiteY91" fmla="*/ 1033463 h 1533525"/>
                        <a:gd name="connsiteX92" fmla="*/ 195262 w 2038350"/>
                        <a:gd name="connsiteY92" fmla="*/ 1000125 h 1533525"/>
                        <a:gd name="connsiteX93" fmla="*/ 169068 w 2038350"/>
                        <a:gd name="connsiteY93" fmla="*/ 904875 h 1533525"/>
                        <a:gd name="connsiteX94" fmla="*/ 78581 w 2038350"/>
                        <a:gd name="connsiteY94" fmla="*/ 847725 h 1533525"/>
                        <a:gd name="connsiteX95" fmla="*/ 0 w 2038350"/>
                        <a:gd name="connsiteY95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40531 w 2038350"/>
                        <a:gd name="connsiteY87" fmla="*/ 1340644 h 1533525"/>
                        <a:gd name="connsiteX88" fmla="*/ 419100 w 2038350"/>
                        <a:gd name="connsiteY88" fmla="*/ 1264444 h 1533525"/>
                        <a:gd name="connsiteX89" fmla="*/ 383381 w 2038350"/>
                        <a:gd name="connsiteY89" fmla="*/ 1109663 h 1533525"/>
                        <a:gd name="connsiteX90" fmla="*/ 314325 w 2038350"/>
                        <a:gd name="connsiteY90" fmla="*/ 1064419 h 1533525"/>
                        <a:gd name="connsiteX91" fmla="*/ 250030 w 2038350"/>
                        <a:gd name="connsiteY91" fmla="*/ 1033463 h 1533525"/>
                        <a:gd name="connsiteX92" fmla="*/ 195262 w 2038350"/>
                        <a:gd name="connsiteY92" fmla="*/ 1000125 h 1533525"/>
                        <a:gd name="connsiteX93" fmla="*/ 161925 w 2038350"/>
                        <a:gd name="connsiteY93" fmla="*/ 904875 h 1533525"/>
                        <a:gd name="connsiteX94" fmla="*/ 78581 w 2038350"/>
                        <a:gd name="connsiteY94" fmla="*/ 847725 h 1533525"/>
                        <a:gd name="connsiteX95" fmla="*/ 0 w 2038350"/>
                        <a:gd name="connsiteY95" fmla="*/ 552450 h 15335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</a:cxnLst>
                      <a:rect l="l" t="t" r="r" b="b"/>
                      <a:pathLst>
                        <a:path w="2038350" h="1533525">
                          <a:moveTo>
                            <a:pt x="0" y="552450"/>
                          </a:moveTo>
                          <a:lnTo>
                            <a:pt x="119062" y="423863"/>
                          </a:lnTo>
                          <a:lnTo>
                            <a:pt x="228600" y="314325"/>
                          </a:lnTo>
                          <a:lnTo>
                            <a:pt x="328612" y="280988"/>
                          </a:lnTo>
                          <a:lnTo>
                            <a:pt x="540543" y="271463"/>
                          </a:lnTo>
                          <a:lnTo>
                            <a:pt x="728662" y="261938"/>
                          </a:lnTo>
                          <a:lnTo>
                            <a:pt x="788193" y="242888"/>
                          </a:lnTo>
                          <a:lnTo>
                            <a:pt x="781050" y="111919"/>
                          </a:lnTo>
                          <a:lnTo>
                            <a:pt x="790575" y="61913"/>
                          </a:lnTo>
                          <a:lnTo>
                            <a:pt x="835818" y="33338"/>
                          </a:lnTo>
                          <a:lnTo>
                            <a:pt x="912018" y="4763"/>
                          </a:lnTo>
                          <a:lnTo>
                            <a:pt x="971550" y="0"/>
                          </a:lnTo>
                          <a:lnTo>
                            <a:pt x="1026318" y="28575"/>
                          </a:lnTo>
                          <a:lnTo>
                            <a:pt x="1071562" y="50006"/>
                          </a:lnTo>
                          <a:lnTo>
                            <a:pt x="1100137" y="38100"/>
                          </a:lnTo>
                          <a:lnTo>
                            <a:pt x="1138237" y="9525"/>
                          </a:lnTo>
                          <a:lnTo>
                            <a:pt x="1178718" y="66675"/>
                          </a:lnTo>
                          <a:lnTo>
                            <a:pt x="1228725" y="78581"/>
                          </a:lnTo>
                          <a:lnTo>
                            <a:pt x="1273968" y="71438"/>
                          </a:lnTo>
                          <a:lnTo>
                            <a:pt x="1340643" y="14288"/>
                          </a:lnTo>
                          <a:lnTo>
                            <a:pt x="1366837" y="9525"/>
                          </a:lnTo>
                          <a:lnTo>
                            <a:pt x="1443037" y="78581"/>
                          </a:lnTo>
                          <a:lnTo>
                            <a:pt x="1495425" y="83344"/>
                          </a:lnTo>
                          <a:lnTo>
                            <a:pt x="1588293" y="80963"/>
                          </a:lnTo>
                          <a:lnTo>
                            <a:pt x="1643062" y="76200"/>
                          </a:lnTo>
                          <a:lnTo>
                            <a:pt x="1681162" y="47625"/>
                          </a:lnTo>
                          <a:lnTo>
                            <a:pt x="1726406" y="95250"/>
                          </a:lnTo>
                          <a:cubicBezTo>
                            <a:pt x="1736996" y="116430"/>
                            <a:pt x="1735931" y="107200"/>
                            <a:pt x="1735931" y="121444"/>
                          </a:cubicBezTo>
                          <a:lnTo>
                            <a:pt x="1747837" y="166688"/>
                          </a:lnTo>
                          <a:lnTo>
                            <a:pt x="1788318" y="233363"/>
                          </a:lnTo>
                          <a:lnTo>
                            <a:pt x="1852612" y="280988"/>
                          </a:lnTo>
                          <a:lnTo>
                            <a:pt x="1890712" y="328613"/>
                          </a:lnTo>
                          <a:lnTo>
                            <a:pt x="1900237" y="354806"/>
                          </a:lnTo>
                          <a:lnTo>
                            <a:pt x="1957387" y="366713"/>
                          </a:lnTo>
                          <a:lnTo>
                            <a:pt x="1976437" y="431006"/>
                          </a:lnTo>
                          <a:lnTo>
                            <a:pt x="2035968" y="431006"/>
                          </a:lnTo>
                          <a:lnTo>
                            <a:pt x="2038350" y="535781"/>
                          </a:lnTo>
                          <a:lnTo>
                            <a:pt x="1952625" y="485775"/>
                          </a:lnTo>
                          <a:lnTo>
                            <a:pt x="1874043" y="531019"/>
                          </a:lnTo>
                          <a:lnTo>
                            <a:pt x="1816893" y="481013"/>
                          </a:lnTo>
                          <a:lnTo>
                            <a:pt x="1554956" y="619125"/>
                          </a:lnTo>
                          <a:lnTo>
                            <a:pt x="1471612" y="659606"/>
                          </a:lnTo>
                          <a:lnTo>
                            <a:pt x="1452562" y="726281"/>
                          </a:lnTo>
                          <a:lnTo>
                            <a:pt x="1459706" y="750094"/>
                          </a:lnTo>
                          <a:lnTo>
                            <a:pt x="1578768" y="733425"/>
                          </a:lnTo>
                          <a:lnTo>
                            <a:pt x="1552575" y="831056"/>
                          </a:lnTo>
                          <a:lnTo>
                            <a:pt x="1576387" y="904875"/>
                          </a:lnTo>
                          <a:lnTo>
                            <a:pt x="1585912" y="952500"/>
                          </a:lnTo>
                          <a:lnTo>
                            <a:pt x="1643062" y="1026319"/>
                          </a:lnTo>
                          <a:lnTo>
                            <a:pt x="1719262" y="1135856"/>
                          </a:lnTo>
                          <a:lnTo>
                            <a:pt x="1728787" y="1162050"/>
                          </a:lnTo>
                          <a:lnTo>
                            <a:pt x="1714500" y="1200150"/>
                          </a:lnTo>
                          <a:lnTo>
                            <a:pt x="1731168" y="1209675"/>
                          </a:lnTo>
                          <a:lnTo>
                            <a:pt x="1738312" y="1231106"/>
                          </a:lnTo>
                          <a:lnTo>
                            <a:pt x="1731168" y="1262063"/>
                          </a:lnTo>
                          <a:lnTo>
                            <a:pt x="1693068" y="1266825"/>
                          </a:lnTo>
                          <a:lnTo>
                            <a:pt x="1671637" y="1293019"/>
                          </a:lnTo>
                          <a:lnTo>
                            <a:pt x="1688306" y="1328738"/>
                          </a:lnTo>
                          <a:lnTo>
                            <a:pt x="1659731" y="1359694"/>
                          </a:lnTo>
                          <a:lnTo>
                            <a:pt x="1631156" y="1364456"/>
                          </a:lnTo>
                          <a:lnTo>
                            <a:pt x="1628775" y="1416844"/>
                          </a:lnTo>
                          <a:lnTo>
                            <a:pt x="1645443" y="1459706"/>
                          </a:lnTo>
                          <a:lnTo>
                            <a:pt x="1659731" y="1488281"/>
                          </a:lnTo>
                          <a:lnTo>
                            <a:pt x="1659731" y="1521619"/>
                          </a:lnTo>
                          <a:lnTo>
                            <a:pt x="1621631" y="1533525"/>
                          </a:lnTo>
                          <a:lnTo>
                            <a:pt x="1566862" y="1504950"/>
                          </a:lnTo>
                          <a:lnTo>
                            <a:pt x="1538287" y="1485900"/>
                          </a:lnTo>
                          <a:lnTo>
                            <a:pt x="1426368" y="1490663"/>
                          </a:lnTo>
                          <a:lnTo>
                            <a:pt x="1364456" y="1426369"/>
                          </a:lnTo>
                          <a:lnTo>
                            <a:pt x="1276350" y="1433513"/>
                          </a:lnTo>
                          <a:lnTo>
                            <a:pt x="1252537" y="1433513"/>
                          </a:lnTo>
                          <a:lnTo>
                            <a:pt x="1209675" y="1407319"/>
                          </a:lnTo>
                          <a:lnTo>
                            <a:pt x="1171575" y="1431131"/>
                          </a:lnTo>
                          <a:lnTo>
                            <a:pt x="1059656" y="1440656"/>
                          </a:lnTo>
                          <a:lnTo>
                            <a:pt x="921543" y="1445419"/>
                          </a:lnTo>
                          <a:lnTo>
                            <a:pt x="888206" y="1447800"/>
                          </a:lnTo>
                          <a:lnTo>
                            <a:pt x="862012" y="1423988"/>
                          </a:lnTo>
                          <a:lnTo>
                            <a:pt x="790575" y="1445419"/>
                          </a:lnTo>
                          <a:lnTo>
                            <a:pt x="726281" y="1476375"/>
                          </a:lnTo>
                          <a:lnTo>
                            <a:pt x="645318" y="1478756"/>
                          </a:lnTo>
                          <a:lnTo>
                            <a:pt x="621506" y="1478756"/>
                          </a:lnTo>
                          <a:lnTo>
                            <a:pt x="569118" y="1473994"/>
                          </a:lnTo>
                          <a:lnTo>
                            <a:pt x="547687" y="1504950"/>
                          </a:lnTo>
                          <a:lnTo>
                            <a:pt x="509587" y="1526381"/>
                          </a:lnTo>
                          <a:lnTo>
                            <a:pt x="483393" y="1526381"/>
                          </a:lnTo>
                          <a:lnTo>
                            <a:pt x="507206" y="1462088"/>
                          </a:lnTo>
                          <a:lnTo>
                            <a:pt x="478631" y="1385888"/>
                          </a:lnTo>
                          <a:lnTo>
                            <a:pt x="440531" y="1340644"/>
                          </a:lnTo>
                          <a:lnTo>
                            <a:pt x="419100" y="1264444"/>
                          </a:lnTo>
                          <a:lnTo>
                            <a:pt x="383381" y="1109663"/>
                          </a:lnTo>
                          <a:lnTo>
                            <a:pt x="314325" y="1064419"/>
                          </a:lnTo>
                          <a:lnTo>
                            <a:pt x="250030" y="1033463"/>
                          </a:lnTo>
                          <a:lnTo>
                            <a:pt x="195262" y="1000125"/>
                          </a:lnTo>
                          <a:lnTo>
                            <a:pt x="161925" y="904875"/>
                          </a:lnTo>
                          <a:lnTo>
                            <a:pt x="78581" y="847725"/>
                          </a:lnTo>
                          <a:lnTo>
                            <a:pt x="0" y="552450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9" name="Freeform 13"/>
                    <p:cNvSpPr/>
                    <p:nvPr/>
                  </p:nvSpPr>
                  <p:spPr>
                    <a:xfrm>
                      <a:off x="4492859" y="2894684"/>
                      <a:ext cx="1099276" cy="821802"/>
                    </a:xfrm>
                    <a:custGeom>
                      <a:avLst/>
                      <a:gdLst>
                        <a:gd name="connsiteX0" fmla="*/ 0 w 1559719"/>
                        <a:gd name="connsiteY0" fmla="*/ 71437 h 1259681"/>
                        <a:gd name="connsiteX1" fmla="*/ 135731 w 1559719"/>
                        <a:gd name="connsiteY1" fmla="*/ 54769 h 1259681"/>
                        <a:gd name="connsiteX2" fmla="*/ 369094 w 1559719"/>
                        <a:gd name="connsiteY2" fmla="*/ 45244 h 1259681"/>
                        <a:gd name="connsiteX3" fmla="*/ 769144 w 1559719"/>
                        <a:gd name="connsiteY3" fmla="*/ 19050 h 1259681"/>
                        <a:gd name="connsiteX4" fmla="*/ 1047750 w 1559719"/>
                        <a:gd name="connsiteY4" fmla="*/ 0 h 1259681"/>
                        <a:gd name="connsiteX5" fmla="*/ 1081088 w 1559719"/>
                        <a:gd name="connsiteY5" fmla="*/ 107156 h 1259681"/>
                        <a:gd name="connsiteX6" fmla="*/ 1119188 w 1559719"/>
                        <a:gd name="connsiteY6" fmla="*/ 250031 h 1259681"/>
                        <a:gd name="connsiteX7" fmla="*/ 1126331 w 1559719"/>
                        <a:gd name="connsiteY7" fmla="*/ 290512 h 1259681"/>
                        <a:gd name="connsiteX8" fmla="*/ 1216819 w 1559719"/>
                        <a:gd name="connsiteY8" fmla="*/ 364331 h 1259681"/>
                        <a:gd name="connsiteX9" fmla="*/ 1235869 w 1559719"/>
                        <a:gd name="connsiteY9" fmla="*/ 404812 h 1259681"/>
                        <a:gd name="connsiteX10" fmla="*/ 1250156 w 1559719"/>
                        <a:gd name="connsiteY10" fmla="*/ 457200 h 1259681"/>
                        <a:gd name="connsiteX11" fmla="*/ 1385888 w 1559719"/>
                        <a:gd name="connsiteY11" fmla="*/ 523875 h 1259681"/>
                        <a:gd name="connsiteX12" fmla="*/ 1438275 w 1559719"/>
                        <a:gd name="connsiteY12" fmla="*/ 566737 h 1259681"/>
                        <a:gd name="connsiteX13" fmla="*/ 1462088 w 1559719"/>
                        <a:gd name="connsiteY13" fmla="*/ 688181 h 1259681"/>
                        <a:gd name="connsiteX14" fmla="*/ 1490663 w 1559719"/>
                        <a:gd name="connsiteY14" fmla="*/ 773906 h 1259681"/>
                        <a:gd name="connsiteX15" fmla="*/ 1543050 w 1559719"/>
                        <a:gd name="connsiteY15" fmla="*/ 866775 h 1259681"/>
                        <a:gd name="connsiteX16" fmla="*/ 1559719 w 1559719"/>
                        <a:gd name="connsiteY16" fmla="*/ 907256 h 1259681"/>
                        <a:gd name="connsiteX17" fmla="*/ 1545431 w 1559719"/>
                        <a:gd name="connsiteY17" fmla="*/ 959644 h 1259681"/>
                        <a:gd name="connsiteX18" fmla="*/ 1535906 w 1559719"/>
                        <a:gd name="connsiteY18" fmla="*/ 983456 h 1259681"/>
                        <a:gd name="connsiteX19" fmla="*/ 1435894 w 1559719"/>
                        <a:gd name="connsiteY19" fmla="*/ 978694 h 1259681"/>
                        <a:gd name="connsiteX20" fmla="*/ 1383506 w 1559719"/>
                        <a:gd name="connsiteY20" fmla="*/ 950119 h 1259681"/>
                        <a:gd name="connsiteX21" fmla="*/ 1333500 w 1559719"/>
                        <a:gd name="connsiteY21" fmla="*/ 923925 h 1259681"/>
                        <a:gd name="connsiteX22" fmla="*/ 1278731 w 1559719"/>
                        <a:gd name="connsiteY22" fmla="*/ 892969 h 1259681"/>
                        <a:gd name="connsiteX23" fmla="*/ 1228725 w 1559719"/>
                        <a:gd name="connsiteY23" fmla="*/ 873919 h 1259681"/>
                        <a:gd name="connsiteX24" fmla="*/ 1159669 w 1559719"/>
                        <a:gd name="connsiteY24" fmla="*/ 890587 h 1259681"/>
                        <a:gd name="connsiteX25" fmla="*/ 1104900 w 1559719"/>
                        <a:gd name="connsiteY25" fmla="*/ 926306 h 1259681"/>
                        <a:gd name="connsiteX26" fmla="*/ 1076325 w 1559719"/>
                        <a:gd name="connsiteY26" fmla="*/ 964406 h 1259681"/>
                        <a:gd name="connsiteX27" fmla="*/ 1052513 w 1559719"/>
                        <a:gd name="connsiteY27" fmla="*/ 1023937 h 1259681"/>
                        <a:gd name="connsiteX28" fmla="*/ 1050131 w 1559719"/>
                        <a:gd name="connsiteY28" fmla="*/ 1083469 h 1259681"/>
                        <a:gd name="connsiteX29" fmla="*/ 1069181 w 1559719"/>
                        <a:gd name="connsiteY29" fmla="*/ 1126331 h 1259681"/>
                        <a:gd name="connsiteX30" fmla="*/ 1066800 w 1559719"/>
                        <a:gd name="connsiteY30" fmla="*/ 1157287 h 1259681"/>
                        <a:gd name="connsiteX31" fmla="*/ 1028700 w 1559719"/>
                        <a:gd name="connsiteY31" fmla="*/ 1159669 h 1259681"/>
                        <a:gd name="connsiteX32" fmla="*/ 990600 w 1559719"/>
                        <a:gd name="connsiteY32" fmla="*/ 1112044 h 1259681"/>
                        <a:gd name="connsiteX33" fmla="*/ 935831 w 1559719"/>
                        <a:gd name="connsiteY33" fmla="*/ 1114425 h 1259681"/>
                        <a:gd name="connsiteX34" fmla="*/ 885825 w 1559719"/>
                        <a:gd name="connsiteY34" fmla="*/ 1073944 h 1259681"/>
                        <a:gd name="connsiteX35" fmla="*/ 771525 w 1559719"/>
                        <a:gd name="connsiteY35" fmla="*/ 1083469 h 1259681"/>
                        <a:gd name="connsiteX36" fmla="*/ 745331 w 1559719"/>
                        <a:gd name="connsiteY36" fmla="*/ 1059656 h 1259681"/>
                        <a:gd name="connsiteX37" fmla="*/ 638175 w 1559719"/>
                        <a:gd name="connsiteY37" fmla="*/ 1052512 h 1259681"/>
                        <a:gd name="connsiteX38" fmla="*/ 595313 w 1559719"/>
                        <a:gd name="connsiteY38" fmla="*/ 1081087 h 1259681"/>
                        <a:gd name="connsiteX39" fmla="*/ 528638 w 1559719"/>
                        <a:gd name="connsiteY39" fmla="*/ 1062037 h 1259681"/>
                        <a:gd name="connsiteX40" fmla="*/ 495300 w 1559719"/>
                        <a:gd name="connsiteY40" fmla="*/ 1104900 h 1259681"/>
                        <a:gd name="connsiteX41" fmla="*/ 509588 w 1559719"/>
                        <a:gd name="connsiteY41" fmla="*/ 1143000 h 1259681"/>
                        <a:gd name="connsiteX42" fmla="*/ 473869 w 1559719"/>
                        <a:gd name="connsiteY42" fmla="*/ 1164431 h 1259681"/>
                        <a:gd name="connsiteX43" fmla="*/ 473869 w 1559719"/>
                        <a:gd name="connsiteY43" fmla="*/ 1202531 h 1259681"/>
                        <a:gd name="connsiteX44" fmla="*/ 459581 w 1559719"/>
                        <a:gd name="connsiteY44" fmla="*/ 1259681 h 1259681"/>
                        <a:gd name="connsiteX45" fmla="*/ 342900 w 1559719"/>
                        <a:gd name="connsiteY45" fmla="*/ 1190625 h 1259681"/>
                        <a:gd name="connsiteX46" fmla="*/ 271463 w 1559719"/>
                        <a:gd name="connsiteY46" fmla="*/ 1107281 h 1259681"/>
                        <a:gd name="connsiteX47" fmla="*/ 278606 w 1559719"/>
                        <a:gd name="connsiteY47" fmla="*/ 1045369 h 1259681"/>
                        <a:gd name="connsiteX48" fmla="*/ 202406 w 1559719"/>
                        <a:gd name="connsiteY48" fmla="*/ 940594 h 1259681"/>
                        <a:gd name="connsiteX49" fmla="*/ 157163 w 1559719"/>
                        <a:gd name="connsiteY49" fmla="*/ 938212 h 1259681"/>
                        <a:gd name="connsiteX50" fmla="*/ 109538 w 1559719"/>
                        <a:gd name="connsiteY50" fmla="*/ 864394 h 1259681"/>
                        <a:gd name="connsiteX51" fmla="*/ 100013 w 1559719"/>
                        <a:gd name="connsiteY51" fmla="*/ 809625 h 1259681"/>
                        <a:gd name="connsiteX52" fmla="*/ 157163 w 1559719"/>
                        <a:gd name="connsiteY52" fmla="*/ 678656 h 1259681"/>
                        <a:gd name="connsiteX53" fmla="*/ 159544 w 1559719"/>
                        <a:gd name="connsiteY53" fmla="*/ 478631 h 1259681"/>
                        <a:gd name="connsiteX54" fmla="*/ 0 w 1559719"/>
                        <a:gd name="connsiteY54" fmla="*/ 71437 h 1259681"/>
                        <a:gd name="connsiteX0" fmla="*/ 0 w 1559719"/>
                        <a:gd name="connsiteY0" fmla="*/ 71437 h 1259681"/>
                        <a:gd name="connsiteX1" fmla="*/ 135731 w 1559719"/>
                        <a:gd name="connsiteY1" fmla="*/ 54769 h 1259681"/>
                        <a:gd name="connsiteX2" fmla="*/ 369094 w 1559719"/>
                        <a:gd name="connsiteY2" fmla="*/ 45244 h 1259681"/>
                        <a:gd name="connsiteX3" fmla="*/ 769144 w 1559719"/>
                        <a:gd name="connsiteY3" fmla="*/ 19050 h 1259681"/>
                        <a:gd name="connsiteX4" fmla="*/ 1047750 w 1559719"/>
                        <a:gd name="connsiteY4" fmla="*/ 0 h 1259681"/>
                        <a:gd name="connsiteX5" fmla="*/ 1081088 w 1559719"/>
                        <a:gd name="connsiteY5" fmla="*/ 107156 h 1259681"/>
                        <a:gd name="connsiteX6" fmla="*/ 1119188 w 1559719"/>
                        <a:gd name="connsiteY6" fmla="*/ 250031 h 1259681"/>
                        <a:gd name="connsiteX7" fmla="*/ 1126331 w 1559719"/>
                        <a:gd name="connsiteY7" fmla="*/ 290512 h 1259681"/>
                        <a:gd name="connsiteX8" fmla="*/ 1216819 w 1559719"/>
                        <a:gd name="connsiteY8" fmla="*/ 364331 h 1259681"/>
                        <a:gd name="connsiteX9" fmla="*/ 1235869 w 1559719"/>
                        <a:gd name="connsiteY9" fmla="*/ 404812 h 1259681"/>
                        <a:gd name="connsiteX10" fmla="*/ 1250156 w 1559719"/>
                        <a:gd name="connsiteY10" fmla="*/ 457200 h 1259681"/>
                        <a:gd name="connsiteX11" fmla="*/ 1385888 w 1559719"/>
                        <a:gd name="connsiteY11" fmla="*/ 523875 h 1259681"/>
                        <a:gd name="connsiteX12" fmla="*/ 1438275 w 1559719"/>
                        <a:gd name="connsiteY12" fmla="*/ 566737 h 1259681"/>
                        <a:gd name="connsiteX13" fmla="*/ 1462088 w 1559719"/>
                        <a:gd name="connsiteY13" fmla="*/ 688181 h 1259681"/>
                        <a:gd name="connsiteX14" fmla="*/ 1490663 w 1559719"/>
                        <a:gd name="connsiteY14" fmla="*/ 773906 h 1259681"/>
                        <a:gd name="connsiteX15" fmla="*/ 1543050 w 1559719"/>
                        <a:gd name="connsiteY15" fmla="*/ 866775 h 1259681"/>
                        <a:gd name="connsiteX16" fmla="*/ 1559719 w 1559719"/>
                        <a:gd name="connsiteY16" fmla="*/ 907256 h 1259681"/>
                        <a:gd name="connsiteX17" fmla="*/ 1545431 w 1559719"/>
                        <a:gd name="connsiteY17" fmla="*/ 959644 h 1259681"/>
                        <a:gd name="connsiteX18" fmla="*/ 1535906 w 1559719"/>
                        <a:gd name="connsiteY18" fmla="*/ 983456 h 1259681"/>
                        <a:gd name="connsiteX19" fmla="*/ 1435894 w 1559719"/>
                        <a:gd name="connsiteY19" fmla="*/ 978694 h 1259681"/>
                        <a:gd name="connsiteX20" fmla="*/ 1383506 w 1559719"/>
                        <a:gd name="connsiteY20" fmla="*/ 950119 h 1259681"/>
                        <a:gd name="connsiteX21" fmla="*/ 1333500 w 1559719"/>
                        <a:gd name="connsiteY21" fmla="*/ 923925 h 1259681"/>
                        <a:gd name="connsiteX22" fmla="*/ 1278731 w 1559719"/>
                        <a:gd name="connsiteY22" fmla="*/ 892969 h 1259681"/>
                        <a:gd name="connsiteX23" fmla="*/ 1228725 w 1559719"/>
                        <a:gd name="connsiteY23" fmla="*/ 873919 h 1259681"/>
                        <a:gd name="connsiteX24" fmla="*/ 1159669 w 1559719"/>
                        <a:gd name="connsiteY24" fmla="*/ 890587 h 1259681"/>
                        <a:gd name="connsiteX25" fmla="*/ 1104900 w 1559719"/>
                        <a:gd name="connsiteY25" fmla="*/ 926306 h 1259681"/>
                        <a:gd name="connsiteX26" fmla="*/ 1076325 w 1559719"/>
                        <a:gd name="connsiteY26" fmla="*/ 964406 h 1259681"/>
                        <a:gd name="connsiteX27" fmla="*/ 1052513 w 1559719"/>
                        <a:gd name="connsiteY27" fmla="*/ 1023937 h 1259681"/>
                        <a:gd name="connsiteX28" fmla="*/ 1050131 w 1559719"/>
                        <a:gd name="connsiteY28" fmla="*/ 1083469 h 1259681"/>
                        <a:gd name="connsiteX29" fmla="*/ 1069181 w 1559719"/>
                        <a:gd name="connsiteY29" fmla="*/ 1126331 h 1259681"/>
                        <a:gd name="connsiteX30" fmla="*/ 1066800 w 1559719"/>
                        <a:gd name="connsiteY30" fmla="*/ 1157287 h 1259681"/>
                        <a:gd name="connsiteX31" fmla="*/ 1028700 w 1559719"/>
                        <a:gd name="connsiteY31" fmla="*/ 1159669 h 1259681"/>
                        <a:gd name="connsiteX32" fmla="*/ 990600 w 1559719"/>
                        <a:gd name="connsiteY32" fmla="*/ 1112044 h 1259681"/>
                        <a:gd name="connsiteX33" fmla="*/ 935831 w 1559719"/>
                        <a:gd name="connsiteY33" fmla="*/ 1114425 h 1259681"/>
                        <a:gd name="connsiteX34" fmla="*/ 885825 w 1559719"/>
                        <a:gd name="connsiteY34" fmla="*/ 1073944 h 1259681"/>
                        <a:gd name="connsiteX35" fmla="*/ 771525 w 1559719"/>
                        <a:gd name="connsiteY35" fmla="*/ 1083469 h 1259681"/>
                        <a:gd name="connsiteX36" fmla="*/ 745331 w 1559719"/>
                        <a:gd name="connsiteY36" fmla="*/ 1059656 h 1259681"/>
                        <a:gd name="connsiteX37" fmla="*/ 638175 w 1559719"/>
                        <a:gd name="connsiteY37" fmla="*/ 1052512 h 1259681"/>
                        <a:gd name="connsiteX38" fmla="*/ 595313 w 1559719"/>
                        <a:gd name="connsiteY38" fmla="*/ 1081087 h 1259681"/>
                        <a:gd name="connsiteX39" fmla="*/ 528638 w 1559719"/>
                        <a:gd name="connsiteY39" fmla="*/ 1062037 h 1259681"/>
                        <a:gd name="connsiteX40" fmla="*/ 495300 w 1559719"/>
                        <a:gd name="connsiteY40" fmla="*/ 1104900 h 1259681"/>
                        <a:gd name="connsiteX41" fmla="*/ 509588 w 1559719"/>
                        <a:gd name="connsiteY41" fmla="*/ 1143000 h 1259681"/>
                        <a:gd name="connsiteX42" fmla="*/ 473869 w 1559719"/>
                        <a:gd name="connsiteY42" fmla="*/ 1164431 h 1259681"/>
                        <a:gd name="connsiteX43" fmla="*/ 473869 w 1559719"/>
                        <a:gd name="connsiteY43" fmla="*/ 1202531 h 1259681"/>
                        <a:gd name="connsiteX44" fmla="*/ 459581 w 1559719"/>
                        <a:gd name="connsiteY44" fmla="*/ 1259681 h 1259681"/>
                        <a:gd name="connsiteX45" fmla="*/ 342900 w 1559719"/>
                        <a:gd name="connsiteY45" fmla="*/ 1190625 h 1259681"/>
                        <a:gd name="connsiteX46" fmla="*/ 271463 w 1559719"/>
                        <a:gd name="connsiteY46" fmla="*/ 1107281 h 1259681"/>
                        <a:gd name="connsiteX47" fmla="*/ 278606 w 1559719"/>
                        <a:gd name="connsiteY47" fmla="*/ 1045369 h 1259681"/>
                        <a:gd name="connsiteX48" fmla="*/ 202406 w 1559719"/>
                        <a:gd name="connsiteY48" fmla="*/ 940594 h 1259681"/>
                        <a:gd name="connsiteX49" fmla="*/ 157163 w 1559719"/>
                        <a:gd name="connsiteY49" fmla="*/ 938212 h 1259681"/>
                        <a:gd name="connsiteX50" fmla="*/ 130969 w 1559719"/>
                        <a:gd name="connsiteY50" fmla="*/ 892969 h 1259681"/>
                        <a:gd name="connsiteX51" fmla="*/ 109538 w 1559719"/>
                        <a:gd name="connsiteY51" fmla="*/ 864394 h 1259681"/>
                        <a:gd name="connsiteX52" fmla="*/ 100013 w 1559719"/>
                        <a:gd name="connsiteY52" fmla="*/ 809625 h 1259681"/>
                        <a:gd name="connsiteX53" fmla="*/ 157163 w 1559719"/>
                        <a:gd name="connsiteY53" fmla="*/ 678656 h 1259681"/>
                        <a:gd name="connsiteX54" fmla="*/ 159544 w 1559719"/>
                        <a:gd name="connsiteY54" fmla="*/ 478631 h 1259681"/>
                        <a:gd name="connsiteX55" fmla="*/ 0 w 1559719"/>
                        <a:gd name="connsiteY55" fmla="*/ 71437 h 1259681"/>
                        <a:gd name="connsiteX0" fmla="*/ 0 w 1559719"/>
                        <a:gd name="connsiteY0" fmla="*/ 71437 h 1259681"/>
                        <a:gd name="connsiteX1" fmla="*/ 135731 w 1559719"/>
                        <a:gd name="connsiteY1" fmla="*/ 54769 h 1259681"/>
                        <a:gd name="connsiteX2" fmla="*/ 369094 w 1559719"/>
                        <a:gd name="connsiteY2" fmla="*/ 45244 h 1259681"/>
                        <a:gd name="connsiteX3" fmla="*/ 769144 w 1559719"/>
                        <a:gd name="connsiteY3" fmla="*/ 19050 h 1259681"/>
                        <a:gd name="connsiteX4" fmla="*/ 1047750 w 1559719"/>
                        <a:gd name="connsiteY4" fmla="*/ 0 h 1259681"/>
                        <a:gd name="connsiteX5" fmla="*/ 1081088 w 1559719"/>
                        <a:gd name="connsiteY5" fmla="*/ 107156 h 1259681"/>
                        <a:gd name="connsiteX6" fmla="*/ 1119188 w 1559719"/>
                        <a:gd name="connsiteY6" fmla="*/ 250031 h 1259681"/>
                        <a:gd name="connsiteX7" fmla="*/ 1126331 w 1559719"/>
                        <a:gd name="connsiteY7" fmla="*/ 290512 h 1259681"/>
                        <a:gd name="connsiteX8" fmla="*/ 1216819 w 1559719"/>
                        <a:gd name="connsiteY8" fmla="*/ 364331 h 1259681"/>
                        <a:gd name="connsiteX9" fmla="*/ 1235869 w 1559719"/>
                        <a:gd name="connsiteY9" fmla="*/ 404812 h 1259681"/>
                        <a:gd name="connsiteX10" fmla="*/ 1250156 w 1559719"/>
                        <a:gd name="connsiteY10" fmla="*/ 457200 h 1259681"/>
                        <a:gd name="connsiteX11" fmla="*/ 1385888 w 1559719"/>
                        <a:gd name="connsiteY11" fmla="*/ 523875 h 1259681"/>
                        <a:gd name="connsiteX12" fmla="*/ 1438275 w 1559719"/>
                        <a:gd name="connsiteY12" fmla="*/ 566737 h 1259681"/>
                        <a:gd name="connsiteX13" fmla="*/ 1462088 w 1559719"/>
                        <a:gd name="connsiteY13" fmla="*/ 688181 h 1259681"/>
                        <a:gd name="connsiteX14" fmla="*/ 1490663 w 1559719"/>
                        <a:gd name="connsiteY14" fmla="*/ 773906 h 1259681"/>
                        <a:gd name="connsiteX15" fmla="*/ 1543050 w 1559719"/>
                        <a:gd name="connsiteY15" fmla="*/ 866775 h 1259681"/>
                        <a:gd name="connsiteX16" fmla="*/ 1559719 w 1559719"/>
                        <a:gd name="connsiteY16" fmla="*/ 907256 h 1259681"/>
                        <a:gd name="connsiteX17" fmla="*/ 1545431 w 1559719"/>
                        <a:gd name="connsiteY17" fmla="*/ 959644 h 1259681"/>
                        <a:gd name="connsiteX18" fmla="*/ 1535906 w 1559719"/>
                        <a:gd name="connsiteY18" fmla="*/ 983456 h 1259681"/>
                        <a:gd name="connsiteX19" fmla="*/ 1435894 w 1559719"/>
                        <a:gd name="connsiteY19" fmla="*/ 978694 h 1259681"/>
                        <a:gd name="connsiteX20" fmla="*/ 1383506 w 1559719"/>
                        <a:gd name="connsiteY20" fmla="*/ 950119 h 1259681"/>
                        <a:gd name="connsiteX21" fmla="*/ 1333500 w 1559719"/>
                        <a:gd name="connsiteY21" fmla="*/ 923925 h 1259681"/>
                        <a:gd name="connsiteX22" fmla="*/ 1278731 w 1559719"/>
                        <a:gd name="connsiteY22" fmla="*/ 892969 h 1259681"/>
                        <a:gd name="connsiteX23" fmla="*/ 1228725 w 1559719"/>
                        <a:gd name="connsiteY23" fmla="*/ 873919 h 1259681"/>
                        <a:gd name="connsiteX24" fmla="*/ 1159669 w 1559719"/>
                        <a:gd name="connsiteY24" fmla="*/ 890587 h 1259681"/>
                        <a:gd name="connsiteX25" fmla="*/ 1104900 w 1559719"/>
                        <a:gd name="connsiteY25" fmla="*/ 926306 h 1259681"/>
                        <a:gd name="connsiteX26" fmla="*/ 1076325 w 1559719"/>
                        <a:gd name="connsiteY26" fmla="*/ 964406 h 1259681"/>
                        <a:gd name="connsiteX27" fmla="*/ 1052513 w 1559719"/>
                        <a:gd name="connsiteY27" fmla="*/ 1023937 h 1259681"/>
                        <a:gd name="connsiteX28" fmla="*/ 1050131 w 1559719"/>
                        <a:gd name="connsiteY28" fmla="*/ 1083469 h 1259681"/>
                        <a:gd name="connsiteX29" fmla="*/ 1069181 w 1559719"/>
                        <a:gd name="connsiteY29" fmla="*/ 1126331 h 1259681"/>
                        <a:gd name="connsiteX30" fmla="*/ 1066800 w 1559719"/>
                        <a:gd name="connsiteY30" fmla="*/ 1157287 h 1259681"/>
                        <a:gd name="connsiteX31" fmla="*/ 1028700 w 1559719"/>
                        <a:gd name="connsiteY31" fmla="*/ 1159669 h 1259681"/>
                        <a:gd name="connsiteX32" fmla="*/ 990600 w 1559719"/>
                        <a:gd name="connsiteY32" fmla="*/ 1112044 h 1259681"/>
                        <a:gd name="connsiteX33" fmla="*/ 935831 w 1559719"/>
                        <a:gd name="connsiteY33" fmla="*/ 1114425 h 1259681"/>
                        <a:gd name="connsiteX34" fmla="*/ 885825 w 1559719"/>
                        <a:gd name="connsiteY34" fmla="*/ 1073944 h 1259681"/>
                        <a:gd name="connsiteX35" fmla="*/ 771525 w 1559719"/>
                        <a:gd name="connsiteY35" fmla="*/ 1083469 h 1259681"/>
                        <a:gd name="connsiteX36" fmla="*/ 745331 w 1559719"/>
                        <a:gd name="connsiteY36" fmla="*/ 1059656 h 1259681"/>
                        <a:gd name="connsiteX37" fmla="*/ 638175 w 1559719"/>
                        <a:gd name="connsiteY37" fmla="*/ 1052512 h 1259681"/>
                        <a:gd name="connsiteX38" fmla="*/ 595313 w 1559719"/>
                        <a:gd name="connsiteY38" fmla="*/ 1081087 h 1259681"/>
                        <a:gd name="connsiteX39" fmla="*/ 528638 w 1559719"/>
                        <a:gd name="connsiteY39" fmla="*/ 1062037 h 1259681"/>
                        <a:gd name="connsiteX40" fmla="*/ 495300 w 1559719"/>
                        <a:gd name="connsiteY40" fmla="*/ 1104900 h 1259681"/>
                        <a:gd name="connsiteX41" fmla="*/ 509588 w 1559719"/>
                        <a:gd name="connsiteY41" fmla="*/ 1143000 h 1259681"/>
                        <a:gd name="connsiteX42" fmla="*/ 473869 w 1559719"/>
                        <a:gd name="connsiteY42" fmla="*/ 1164431 h 1259681"/>
                        <a:gd name="connsiteX43" fmla="*/ 473869 w 1559719"/>
                        <a:gd name="connsiteY43" fmla="*/ 1202531 h 1259681"/>
                        <a:gd name="connsiteX44" fmla="*/ 459581 w 1559719"/>
                        <a:gd name="connsiteY44" fmla="*/ 1259681 h 1259681"/>
                        <a:gd name="connsiteX45" fmla="*/ 342900 w 1559719"/>
                        <a:gd name="connsiteY45" fmla="*/ 1190625 h 1259681"/>
                        <a:gd name="connsiteX46" fmla="*/ 271463 w 1559719"/>
                        <a:gd name="connsiteY46" fmla="*/ 1107281 h 1259681"/>
                        <a:gd name="connsiteX47" fmla="*/ 278606 w 1559719"/>
                        <a:gd name="connsiteY47" fmla="*/ 1045369 h 1259681"/>
                        <a:gd name="connsiteX48" fmla="*/ 202406 w 1559719"/>
                        <a:gd name="connsiteY48" fmla="*/ 940594 h 1259681"/>
                        <a:gd name="connsiteX49" fmla="*/ 157163 w 1559719"/>
                        <a:gd name="connsiteY49" fmla="*/ 938212 h 1259681"/>
                        <a:gd name="connsiteX50" fmla="*/ 123825 w 1559719"/>
                        <a:gd name="connsiteY50" fmla="*/ 916781 h 1259681"/>
                        <a:gd name="connsiteX51" fmla="*/ 109538 w 1559719"/>
                        <a:gd name="connsiteY51" fmla="*/ 864394 h 1259681"/>
                        <a:gd name="connsiteX52" fmla="*/ 100013 w 1559719"/>
                        <a:gd name="connsiteY52" fmla="*/ 809625 h 1259681"/>
                        <a:gd name="connsiteX53" fmla="*/ 157163 w 1559719"/>
                        <a:gd name="connsiteY53" fmla="*/ 678656 h 1259681"/>
                        <a:gd name="connsiteX54" fmla="*/ 159544 w 1559719"/>
                        <a:gd name="connsiteY54" fmla="*/ 478631 h 1259681"/>
                        <a:gd name="connsiteX55" fmla="*/ 0 w 1559719"/>
                        <a:gd name="connsiteY55" fmla="*/ 71437 h 1259681"/>
                        <a:gd name="connsiteX0" fmla="*/ 0 w 1562101"/>
                        <a:gd name="connsiteY0" fmla="*/ 85725 h 1259681"/>
                        <a:gd name="connsiteX1" fmla="*/ 138113 w 1562101"/>
                        <a:gd name="connsiteY1" fmla="*/ 54769 h 1259681"/>
                        <a:gd name="connsiteX2" fmla="*/ 371476 w 1562101"/>
                        <a:gd name="connsiteY2" fmla="*/ 45244 h 1259681"/>
                        <a:gd name="connsiteX3" fmla="*/ 771526 w 1562101"/>
                        <a:gd name="connsiteY3" fmla="*/ 19050 h 1259681"/>
                        <a:gd name="connsiteX4" fmla="*/ 1050132 w 1562101"/>
                        <a:gd name="connsiteY4" fmla="*/ 0 h 1259681"/>
                        <a:gd name="connsiteX5" fmla="*/ 1083470 w 1562101"/>
                        <a:gd name="connsiteY5" fmla="*/ 107156 h 1259681"/>
                        <a:gd name="connsiteX6" fmla="*/ 1121570 w 1562101"/>
                        <a:gd name="connsiteY6" fmla="*/ 250031 h 1259681"/>
                        <a:gd name="connsiteX7" fmla="*/ 1128713 w 1562101"/>
                        <a:gd name="connsiteY7" fmla="*/ 290512 h 1259681"/>
                        <a:gd name="connsiteX8" fmla="*/ 1219201 w 1562101"/>
                        <a:gd name="connsiteY8" fmla="*/ 364331 h 1259681"/>
                        <a:gd name="connsiteX9" fmla="*/ 1238251 w 1562101"/>
                        <a:gd name="connsiteY9" fmla="*/ 404812 h 1259681"/>
                        <a:gd name="connsiteX10" fmla="*/ 1252538 w 1562101"/>
                        <a:gd name="connsiteY10" fmla="*/ 457200 h 1259681"/>
                        <a:gd name="connsiteX11" fmla="*/ 1388270 w 1562101"/>
                        <a:gd name="connsiteY11" fmla="*/ 523875 h 1259681"/>
                        <a:gd name="connsiteX12" fmla="*/ 1440657 w 1562101"/>
                        <a:gd name="connsiteY12" fmla="*/ 566737 h 1259681"/>
                        <a:gd name="connsiteX13" fmla="*/ 1464470 w 1562101"/>
                        <a:gd name="connsiteY13" fmla="*/ 688181 h 1259681"/>
                        <a:gd name="connsiteX14" fmla="*/ 1493045 w 1562101"/>
                        <a:gd name="connsiteY14" fmla="*/ 773906 h 1259681"/>
                        <a:gd name="connsiteX15" fmla="*/ 1545432 w 1562101"/>
                        <a:gd name="connsiteY15" fmla="*/ 866775 h 1259681"/>
                        <a:gd name="connsiteX16" fmla="*/ 1562101 w 1562101"/>
                        <a:gd name="connsiteY16" fmla="*/ 907256 h 1259681"/>
                        <a:gd name="connsiteX17" fmla="*/ 1547813 w 1562101"/>
                        <a:gd name="connsiteY17" fmla="*/ 959644 h 1259681"/>
                        <a:gd name="connsiteX18" fmla="*/ 1538288 w 1562101"/>
                        <a:gd name="connsiteY18" fmla="*/ 983456 h 1259681"/>
                        <a:gd name="connsiteX19" fmla="*/ 1438276 w 1562101"/>
                        <a:gd name="connsiteY19" fmla="*/ 978694 h 1259681"/>
                        <a:gd name="connsiteX20" fmla="*/ 1385888 w 1562101"/>
                        <a:gd name="connsiteY20" fmla="*/ 950119 h 1259681"/>
                        <a:gd name="connsiteX21" fmla="*/ 1335882 w 1562101"/>
                        <a:gd name="connsiteY21" fmla="*/ 923925 h 1259681"/>
                        <a:gd name="connsiteX22" fmla="*/ 1281113 w 1562101"/>
                        <a:gd name="connsiteY22" fmla="*/ 892969 h 1259681"/>
                        <a:gd name="connsiteX23" fmla="*/ 1231107 w 1562101"/>
                        <a:gd name="connsiteY23" fmla="*/ 873919 h 1259681"/>
                        <a:gd name="connsiteX24" fmla="*/ 1162051 w 1562101"/>
                        <a:gd name="connsiteY24" fmla="*/ 890587 h 1259681"/>
                        <a:gd name="connsiteX25" fmla="*/ 1107282 w 1562101"/>
                        <a:gd name="connsiteY25" fmla="*/ 926306 h 1259681"/>
                        <a:gd name="connsiteX26" fmla="*/ 1078707 w 1562101"/>
                        <a:gd name="connsiteY26" fmla="*/ 964406 h 1259681"/>
                        <a:gd name="connsiteX27" fmla="*/ 1054895 w 1562101"/>
                        <a:gd name="connsiteY27" fmla="*/ 1023937 h 1259681"/>
                        <a:gd name="connsiteX28" fmla="*/ 1052513 w 1562101"/>
                        <a:gd name="connsiteY28" fmla="*/ 1083469 h 1259681"/>
                        <a:gd name="connsiteX29" fmla="*/ 1071563 w 1562101"/>
                        <a:gd name="connsiteY29" fmla="*/ 1126331 h 1259681"/>
                        <a:gd name="connsiteX30" fmla="*/ 1069182 w 1562101"/>
                        <a:gd name="connsiteY30" fmla="*/ 1157287 h 1259681"/>
                        <a:gd name="connsiteX31" fmla="*/ 1031082 w 1562101"/>
                        <a:gd name="connsiteY31" fmla="*/ 1159669 h 1259681"/>
                        <a:gd name="connsiteX32" fmla="*/ 992982 w 1562101"/>
                        <a:gd name="connsiteY32" fmla="*/ 1112044 h 1259681"/>
                        <a:gd name="connsiteX33" fmla="*/ 938213 w 1562101"/>
                        <a:gd name="connsiteY33" fmla="*/ 1114425 h 1259681"/>
                        <a:gd name="connsiteX34" fmla="*/ 888207 w 1562101"/>
                        <a:gd name="connsiteY34" fmla="*/ 1073944 h 1259681"/>
                        <a:gd name="connsiteX35" fmla="*/ 773907 w 1562101"/>
                        <a:gd name="connsiteY35" fmla="*/ 1083469 h 1259681"/>
                        <a:gd name="connsiteX36" fmla="*/ 747713 w 1562101"/>
                        <a:gd name="connsiteY36" fmla="*/ 1059656 h 1259681"/>
                        <a:gd name="connsiteX37" fmla="*/ 640557 w 1562101"/>
                        <a:gd name="connsiteY37" fmla="*/ 1052512 h 1259681"/>
                        <a:gd name="connsiteX38" fmla="*/ 597695 w 1562101"/>
                        <a:gd name="connsiteY38" fmla="*/ 1081087 h 1259681"/>
                        <a:gd name="connsiteX39" fmla="*/ 531020 w 1562101"/>
                        <a:gd name="connsiteY39" fmla="*/ 1062037 h 1259681"/>
                        <a:gd name="connsiteX40" fmla="*/ 497682 w 1562101"/>
                        <a:gd name="connsiteY40" fmla="*/ 1104900 h 1259681"/>
                        <a:gd name="connsiteX41" fmla="*/ 511970 w 1562101"/>
                        <a:gd name="connsiteY41" fmla="*/ 1143000 h 1259681"/>
                        <a:gd name="connsiteX42" fmla="*/ 476251 w 1562101"/>
                        <a:gd name="connsiteY42" fmla="*/ 1164431 h 1259681"/>
                        <a:gd name="connsiteX43" fmla="*/ 476251 w 1562101"/>
                        <a:gd name="connsiteY43" fmla="*/ 1202531 h 1259681"/>
                        <a:gd name="connsiteX44" fmla="*/ 461963 w 1562101"/>
                        <a:gd name="connsiteY44" fmla="*/ 1259681 h 1259681"/>
                        <a:gd name="connsiteX45" fmla="*/ 345282 w 1562101"/>
                        <a:gd name="connsiteY45" fmla="*/ 1190625 h 1259681"/>
                        <a:gd name="connsiteX46" fmla="*/ 273845 w 1562101"/>
                        <a:gd name="connsiteY46" fmla="*/ 1107281 h 1259681"/>
                        <a:gd name="connsiteX47" fmla="*/ 280988 w 1562101"/>
                        <a:gd name="connsiteY47" fmla="*/ 1045369 h 1259681"/>
                        <a:gd name="connsiteX48" fmla="*/ 204788 w 1562101"/>
                        <a:gd name="connsiteY48" fmla="*/ 940594 h 1259681"/>
                        <a:gd name="connsiteX49" fmla="*/ 159545 w 1562101"/>
                        <a:gd name="connsiteY49" fmla="*/ 938212 h 1259681"/>
                        <a:gd name="connsiteX50" fmla="*/ 126207 w 1562101"/>
                        <a:gd name="connsiteY50" fmla="*/ 916781 h 1259681"/>
                        <a:gd name="connsiteX51" fmla="*/ 111920 w 1562101"/>
                        <a:gd name="connsiteY51" fmla="*/ 864394 h 1259681"/>
                        <a:gd name="connsiteX52" fmla="*/ 102395 w 1562101"/>
                        <a:gd name="connsiteY52" fmla="*/ 809625 h 1259681"/>
                        <a:gd name="connsiteX53" fmla="*/ 159545 w 1562101"/>
                        <a:gd name="connsiteY53" fmla="*/ 678656 h 1259681"/>
                        <a:gd name="connsiteX54" fmla="*/ 161926 w 1562101"/>
                        <a:gd name="connsiteY54" fmla="*/ 478631 h 1259681"/>
                        <a:gd name="connsiteX55" fmla="*/ 0 w 1562101"/>
                        <a:gd name="connsiteY55" fmla="*/ 85725 h 1259681"/>
                        <a:gd name="connsiteX0" fmla="*/ 0 w 1564482"/>
                        <a:gd name="connsiteY0" fmla="*/ 80963 h 1259681"/>
                        <a:gd name="connsiteX1" fmla="*/ 140494 w 1564482"/>
                        <a:gd name="connsiteY1" fmla="*/ 54769 h 1259681"/>
                        <a:gd name="connsiteX2" fmla="*/ 373857 w 1564482"/>
                        <a:gd name="connsiteY2" fmla="*/ 45244 h 1259681"/>
                        <a:gd name="connsiteX3" fmla="*/ 773907 w 1564482"/>
                        <a:gd name="connsiteY3" fmla="*/ 19050 h 1259681"/>
                        <a:gd name="connsiteX4" fmla="*/ 1052513 w 1564482"/>
                        <a:gd name="connsiteY4" fmla="*/ 0 h 1259681"/>
                        <a:gd name="connsiteX5" fmla="*/ 1085851 w 1564482"/>
                        <a:gd name="connsiteY5" fmla="*/ 107156 h 1259681"/>
                        <a:gd name="connsiteX6" fmla="*/ 1123951 w 1564482"/>
                        <a:gd name="connsiteY6" fmla="*/ 250031 h 1259681"/>
                        <a:gd name="connsiteX7" fmla="*/ 1131094 w 1564482"/>
                        <a:gd name="connsiteY7" fmla="*/ 290512 h 1259681"/>
                        <a:gd name="connsiteX8" fmla="*/ 1221582 w 1564482"/>
                        <a:gd name="connsiteY8" fmla="*/ 364331 h 1259681"/>
                        <a:gd name="connsiteX9" fmla="*/ 1240632 w 1564482"/>
                        <a:gd name="connsiteY9" fmla="*/ 404812 h 1259681"/>
                        <a:gd name="connsiteX10" fmla="*/ 1254919 w 1564482"/>
                        <a:gd name="connsiteY10" fmla="*/ 457200 h 1259681"/>
                        <a:gd name="connsiteX11" fmla="*/ 1390651 w 1564482"/>
                        <a:gd name="connsiteY11" fmla="*/ 523875 h 1259681"/>
                        <a:gd name="connsiteX12" fmla="*/ 1443038 w 1564482"/>
                        <a:gd name="connsiteY12" fmla="*/ 566737 h 1259681"/>
                        <a:gd name="connsiteX13" fmla="*/ 1466851 w 1564482"/>
                        <a:gd name="connsiteY13" fmla="*/ 688181 h 1259681"/>
                        <a:gd name="connsiteX14" fmla="*/ 1495426 w 1564482"/>
                        <a:gd name="connsiteY14" fmla="*/ 773906 h 1259681"/>
                        <a:gd name="connsiteX15" fmla="*/ 1547813 w 1564482"/>
                        <a:gd name="connsiteY15" fmla="*/ 866775 h 1259681"/>
                        <a:gd name="connsiteX16" fmla="*/ 1564482 w 1564482"/>
                        <a:gd name="connsiteY16" fmla="*/ 907256 h 1259681"/>
                        <a:gd name="connsiteX17" fmla="*/ 1550194 w 1564482"/>
                        <a:gd name="connsiteY17" fmla="*/ 959644 h 1259681"/>
                        <a:gd name="connsiteX18" fmla="*/ 1540669 w 1564482"/>
                        <a:gd name="connsiteY18" fmla="*/ 983456 h 1259681"/>
                        <a:gd name="connsiteX19" fmla="*/ 1440657 w 1564482"/>
                        <a:gd name="connsiteY19" fmla="*/ 978694 h 1259681"/>
                        <a:gd name="connsiteX20" fmla="*/ 1388269 w 1564482"/>
                        <a:gd name="connsiteY20" fmla="*/ 950119 h 1259681"/>
                        <a:gd name="connsiteX21" fmla="*/ 1338263 w 1564482"/>
                        <a:gd name="connsiteY21" fmla="*/ 923925 h 1259681"/>
                        <a:gd name="connsiteX22" fmla="*/ 1283494 w 1564482"/>
                        <a:gd name="connsiteY22" fmla="*/ 892969 h 1259681"/>
                        <a:gd name="connsiteX23" fmla="*/ 1233488 w 1564482"/>
                        <a:gd name="connsiteY23" fmla="*/ 873919 h 1259681"/>
                        <a:gd name="connsiteX24" fmla="*/ 1164432 w 1564482"/>
                        <a:gd name="connsiteY24" fmla="*/ 890587 h 1259681"/>
                        <a:gd name="connsiteX25" fmla="*/ 1109663 w 1564482"/>
                        <a:gd name="connsiteY25" fmla="*/ 926306 h 1259681"/>
                        <a:gd name="connsiteX26" fmla="*/ 1081088 w 1564482"/>
                        <a:gd name="connsiteY26" fmla="*/ 964406 h 1259681"/>
                        <a:gd name="connsiteX27" fmla="*/ 1057276 w 1564482"/>
                        <a:gd name="connsiteY27" fmla="*/ 1023937 h 1259681"/>
                        <a:gd name="connsiteX28" fmla="*/ 1054894 w 1564482"/>
                        <a:gd name="connsiteY28" fmla="*/ 1083469 h 1259681"/>
                        <a:gd name="connsiteX29" fmla="*/ 1073944 w 1564482"/>
                        <a:gd name="connsiteY29" fmla="*/ 1126331 h 1259681"/>
                        <a:gd name="connsiteX30" fmla="*/ 1071563 w 1564482"/>
                        <a:gd name="connsiteY30" fmla="*/ 1157287 h 1259681"/>
                        <a:gd name="connsiteX31" fmla="*/ 1033463 w 1564482"/>
                        <a:gd name="connsiteY31" fmla="*/ 1159669 h 1259681"/>
                        <a:gd name="connsiteX32" fmla="*/ 995363 w 1564482"/>
                        <a:gd name="connsiteY32" fmla="*/ 1112044 h 1259681"/>
                        <a:gd name="connsiteX33" fmla="*/ 940594 w 1564482"/>
                        <a:gd name="connsiteY33" fmla="*/ 1114425 h 1259681"/>
                        <a:gd name="connsiteX34" fmla="*/ 890588 w 1564482"/>
                        <a:gd name="connsiteY34" fmla="*/ 1073944 h 1259681"/>
                        <a:gd name="connsiteX35" fmla="*/ 776288 w 1564482"/>
                        <a:gd name="connsiteY35" fmla="*/ 1083469 h 1259681"/>
                        <a:gd name="connsiteX36" fmla="*/ 750094 w 1564482"/>
                        <a:gd name="connsiteY36" fmla="*/ 1059656 h 1259681"/>
                        <a:gd name="connsiteX37" fmla="*/ 642938 w 1564482"/>
                        <a:gd name="connsiteY37" fmla="*/ 1052512 h 1259681"/>
                        <a:gd name="connsiteX38" fmla="*/ 600076 w 1564482"/>
                        <a:gd name="connsiteY38" fmla="*/ 1081087 h 1259681"/>
                        <a:gd name="connsiteX39" fmla="*/ 533401 w 1564482"/>
                        <a:gd name="connsiteY39" fmla="*/ 1062037 h 1259681"/>
                        <a:gd name="connsiteX40" fmla="*/ 500063 w 1564482"/>
                        <a:gd name="connsiteY40" fmla="*/ 1104900 h 1259681"/>
                        <a:gd name="connsiteX41" fmla="*/ 514351 w 1564482"/>
                        <a:gd name="connsiteY41" fmla="*/ 1143000 h 1259681"/>
                        <a:gd name="connsiteX42" fmla="*/ 478632 w 1564482"/>
                        <a:gd name="connsiteY42" fmla="*/ 1164431 h 1259681"/>
                        <a:gd name="connsiteX43" fmla="*/ 478632 w 1564482"/>
                        <a:gd name="connsiteY43" fmla="*/ 1202531 h 1259681"/>
                        <a:gd name="connsiteX44" fmla="*/ 464344 w 1564482"/>
                        <a:gd name="connsiteY44" fmla="*/ 1259681 h 1259681"/>
                        <a:gd name="connsiteX45" fmla="*/ 347663 w 1564482"/>
                        <a:gd name="connsiteY45" fmla="*/ 1190625 h 1259681"/>
                        <a:gd name="connsiteX46" fmla="*/ 276226 w 1564482"/>
                        <a:gd name="connsiteY46" fmla="*/ 1107281 h 1259681"/>
                        <a:gd name="connsiteX47" fmla="*/ 283369 w 1564482"/>
                        <a:gd name="connsiteY47" fmla="*/ 1045369 h 1259681"/>
                        <a:gd name="connsiteX48" fmla="*/ 207169 w 1564482"/>
                        <a:gd name="connsiteY48" fmla="*/ 940594 h 1259681"/>
                        <a:gd name="connsiteX49" fmla="*/ 161926 w 1564482"/>
                        <a:gd name="connsiteY49" fmla="*/ 938212 h 1259681"/>
                        <a:gd name="connsiteX50" fmla="*/ 128588 w 1564482"/>
                        <a:gd name="connsiteY50" fmla="*/ 916781 h 1259681"/>
                        <a:gd name="connsiteX51" fmla="*/ 114301 w 1564482"/>
                        <a:gd name="connsiteY51" fmla="*/ 864394 h 1259681"/>
                        <a:gd name="connsiteX52" fmla="*/ 104776 w 1564482"/>
                        <a:gd name="connsiteY52" fmla="*/ 809625 h 1259681"/>
                        <a:gd name="connsiteX53" fmla="*/ 161926 w 1564482"/>
                        <a:gd name="connsiteY53" fmla="*/ 678656 h 1259681"/>
                        <a:gd name="connsiteX54" fmla="*/ 164307 w 1564482"/>
                        <a:gd name="connsiteY54" fmla="*/ 478631 h 1259681"/>
                        <a:gd name="connsiteX55" fmla="*/ 0 w 1564482"/>
                        <a:gd name="connsiteY55" fmla="*/ 80963 h 12596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</a:cxnLst>
                      <a:rect l="l" t="t" r="r" b="b"/>
                      <a:pathLst>
                        <a:path w="1564482" h="1259681">
                          <a:moveTo>
                            <a:pt x="0" y="80963"/>
                          </a:moveTo>
                          <a:lnTo>
                            <a:pt x="140494" y="54769"/>
                          </a:lnTo>
                          <a:lnTo>
                            <a:pt x="373857" y="45244"/>
                          </a:lnTo>
                          <a:lnTo>
                            <a:pt x="773907" y="19050"/>
                          </a:lnTo>
                          <a:lnTo>
                            <a:pt x="1052513" y="0"/>
                          </a:lnTo>
                          <a:lnTo>
                            <a:pt x="1085851" y="107156"/>
                          </a:lnTo>
                          <a:lnTo>
                            <a:pt x="1123951" y="250031"/>
                          </a:lnTo>
                          <a:lnTo>
                            <a:pt x="1131094" y="290512"/>
                          </a:lnTo>
                          <a:lnTo>
                            <a:pt x="1221582" y="364331"/>
                          </a:lnTo>
                          <a:lnTo>
                            <a:pt x="1240632" y="404812"/>
                          </a:lnTo>
                          <a:lnTo>
                            <a:pt x="1254919" y="457200"/>
                          </a:lnTo>
                          <a:lnTo>
                            <a:pt x="1390651" y="523875"/>
                          </a:lnTo>
                          <a:lnTo>
                            <a:pt x="1443038" y="566737"/>
                          </a:lnTo>
                          <a:lnTo>
                            <a:pt x="1466851" y="688181"/>
                          </a:lnTo>
                          <a:lnTo>
                            <a:pt x="1495426" y="773906"/>
                          </a:lnTo>
                          <a:lnTo>
                            <a:pt x="1547813" y="866775"/>
                          </a:lnTo>
                          <a:lnTo>
                            <a:pt x="1564482" y="907256"/>
                          </a:lnTo>
                          <a:lnTo>
                            <a:pt x="1550194" y="959644"/>
                          </a:lnTo>
                          <a:lnTo>
                            <a:pt x="1540669" y="983456"/>
                          </a:lnTo>
                          <a:lnTo>
                            <a:pt x="1440657" y="978694"/>
                          </a:lnTo>
                          <a:lnTo>
                            <a:pt x="1388269" y="950119"/>
                          </a:lnTo>
                          <a:lnTo>
                            <a:pt x="1338263" y="923925"/>
                          </a:lnTo>
                          <a:lnTo>
                            <a:pt x="1283494" y="892969"/>
                          </a:lnTo>
                          <a:lnTo>
                            <a:pt x="1233488" y="873919"/>
                          </a:lnTo>
                          <a:lnTo>
                            <a:pt x="1164432" y="890587"/>
                          </a:lnTo>
                          <a:lnTo>
                            <a:pt x="1109663" y="926306"/>
                          </a:lnTo>
                          <a:lnTo>
                            <a:pt x="1081088" y="964406"/>
                          </a:lnTo>
                          <a:lnTo>
                            <a:pt x="1057276" y="1023937"/>
                          </a:lnTo>
                          <a:lnTo>
                            <a:pt x="1054894" y="1083469"/>
                          </a:lnTo>
                          <a:lnTo>
                            <a:pt x="1073944" y="1126331"/>
                          </a:lnTo>
                          <a:lnTo>
                            <a:pt x="1071563" y="1157287"/>
                          </a:lnTo>
                          <a:lnTo>
                            <a:pt x="1033463" y="1159669"/>
                          </a:lnTo>
                          <a:lnTo>
                            <a:pt x="995363" y="1112044"/>
                          </a:lnTo>
                          <a:lnTo>
                            <a:pt x="940594" y="1114425"/>
                          </a:lnTo>
                          <a:lnTo>
                            <a:pt x="890588" y="1073944"/>
                          </a:lnTo>
                          <a:lnTo>
                            <a:pt x="776288" y="1083469"/>
                          </a:lnTo>
                          <a:lnTo>
                            <a:pt x="750094" y="1059656"/>
                          </a:lnTo>
                          <a:lnTo>
                            <a:pt x="642938" y="1052512"/>
                          </a:lnTo>
                          <a:lnTo>
                            <a:pt x="600076" y="1081087"/>
                          </a:lnTo>
                          <a:lnTo>
                            <a:pt x="533401" y="1062037"/>
                          </a:lnTo>
                          <a:lnTo>
                            <a:pt x="500063" y="1104900"/>
                          </a:lnTo>
                          <a:lnTo>
                            <a:pt x="514351" y="1143000"/>
                          </a:lnTo>
                          <a:lnTo>
                            <a:pt x="478632" y="1164431"/>
                          </a:lnTo>
                          <a:lnTo>
                            <a:pt x="478632" y="1202531"/>
                          </a:lnTo>
                          <a:lnTo>
                            <a:pt x="464344" y="1259681"/>
                          </a:lnTo>
                          <a:lnTo>
                            <a:pt x="347663" y="1190625"/>
                          </a:lnTo>
                          <a:lnTo>
                            <a:pt x="276226" y="1107281"/>
                          </a:lnTo>
                          <a:lnTo>
                            <a:pt x="283369" y="1045369"/>
                          </a:lnTo>
                          <a:lnTo>
                            <a:pt x="207169" y="940594"/>
                          </a:lnTo>
                          <a:lnTo>
                            <a:pt x="161926" y="938212"/>
                          </a:lnTo>
                          <a:lnTo>
                            <a:pt x="128588" y="916781"/>
                          </a:lnTo>
                          <a:lnTo>
                            <a:pt x="114301" y="864394"/>
                          </a:lnTo>
                          <a:lnTo>
                            <a:pt x="104776" y="809625"/>
                          </a:lnTo>
                          <a:lnTo>
                            <a:pt x="161926" y="678656"/>
                          </a:lnTo>
                          <a:cubicBezTo>
                            <a:pt x="162720" y="611981"/>
                            <a:pt x="163513" y="545306"/>
                            <a:pt x="164307" y="478631"/>
                          </a:cubicBezTo>
                          <a:lnTo>
                            <a:pt x="0" y="80963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0" name="Freeform 9"/>
                    <p:cNvSpPr/>
                    <p:nvPr/>
                  </p:nvSpPr>
                  <p:spPr>
                    <a:xfrm>
                      <a:off x="1402550" y="2695915"/>
                      <a:ext cx="1083055" cy="1112047"/>
                    </a:xfrm>
                    <a:custGeom>
                      <a:avLst/>
                      <a:gdLst>
                        <a:gd name="connsiteX0" fmla="*/ 1178719 w 1538288"/>
                        <a:gd name="connsiteY0" fmla="*/ 1697831 h 1707356"/>
                        <a:gd name="connsiteX1" fmla="*/ 1345406 w 1538288"/>
                        <a:gd name="connsiteY1" fmla="*/ 519112 h 1707356"/>
                        <a:gd name="connsiteX2" fmla="*/ 1538288 w 1538288"/>
                        <a:gd name="connsiteY2" fmla="*/ 471487 h 1707356"/>
                        <a:gd name="connsiteX3" fmla="*/ 1514475 w 1538288"/>
                        <a:gd name="connsiteY3" fmla="*/ 169069 h 1707356"/>
                        <a:gd name="connsiteX4" fmla="*/ 1478756 w 1538288"/>
                        <a:gd name="connsiteY4" fmla="*/ 185737 h 1707356"/>
                        <a:gd name="connsiteX5" fmla="*/ 1345406 w 1538288"/>
                        <a:gd name="connsiteY5" fmla="*/ 111919 h 1707356"/>
                        <a:gd name="connsiteX6" fmla="*/ 1262063 w 1538288"/>
                        <a:gd name="connsiteY6" fmla="*/ 0 h 1707356"/>
                        <a:gd name="connsiteX7" fmla="*/ 1202531 w 1538288"/>
                        <a:gd name="connsiteY7" fmla="*/ 64294 h 1707356"/>
                        <a:gd name="connsiteX8" fmla="*/ 1138238 w 1538288"/>
                        <a:gd name="connsiteY8" fmla="*/ 14287 h 1707356"/>
                        <a:gd name="connsiteX9" fmla="*/ 1038225 w 1538288"/>
                        <a:gd name="connsiteY9" fmla="*/ 19050 h 1707356"/>
                        <a:gd name="connsiteX10" fmla="*/ 1009650 w 1538288"/>
                        <a:gd name="connsiteY10" fmla="*/ 57150 h 1707356"/>
                        <a:gd name="connsiteX11" fmla="*/ 938213 w 1538288"/>
                        <a:gd name="connsiteY11" fmla="*/ 28575 h 1707356"/>
                        <a:gd name="connsiteX12" fmla="*/ 869156 w 1538288"/>
                        <a:gd name="connsiteY12" fmla="*/ 59531 h 1707356"/>
                        <a:gd name="connsiteX13" fmla="*/ 800100 w 1538288"/>
                        <a:gd name="connsiteY13" fmla="*/ 57150 h 1707356"/>
                        <a:gd name="connsiteX14" fmla="*/ 750094 w 1538288"/>
                        <a:gd name="connsiteY14" fmla="*/ 109537 h 1707356"/>
                        <a:gd name="connsiteX15" fmla="*/ 716756 w 1538288"/>
                        <a:gd name="connsiteY15" fmla="*/ 164306 h 1707356"/>
                        <a:gd name="connsiteX16" fmla="*/ 714375 w 1538288"/>
                        <a:gd name="connsiteY16" fmla="*/ 202406 h 1707356"/>
                        <a:gd name="connsiteX17" fmla="*/ 731044 w 1538288"/>
                        <a:gd name="connsiteY17" fmla="*/ 245269 h 1707356"/>
                        <a:gd name="connsiteX18" fmla="*/ 750094 w 1538288"/>
                        <a:gd name="connsiteY18" fmla="*/ 278606 h 1707356"/>
                        <a:gd name="connsiteX19" fmla="*/ 783431 w 1538288"/>
                        <a:gd name="connsiteY19" fmla="*/ 278606 h 1707356"/>
                        <a:gd name="connsiteX20" fmla="*/ 800100 w 1538288"/>
                        <a:gd name="connsiteY20" fmla="*/ 311944 h 1707356"/>
                        <a:gd name="connsiteX21" fmla="*/ 831056 w 1538288"/>
                        <a:gd name="connsiteY21" fmla="*/ 352425 h 1707356"/>
                        <a:gd name="connsiteX22" fmla="*/ 857250 w 1538288"/>
                        <a:gd name="connsiteY22" fmla="*/ 326231 h 1707356"/>
                        <a:gd name="connsiteX23" fmla="*/ 857250 w 1538288"/>
                        <a:gd name="connsiteY23" fmla="*/ 297656 h 1707356"/>
                        <a:gd name="connsiteX24" fmla="*/ 897731 w 1538288"/>
                        <a:gd name="connsiteY24" fmla="*/ 290512 h 1707356"/>
                        <a:gd name="connsiteX25" fmla="*/ 935831 w 1538288"/>
                        <a:gd name="connsiteY25" fmla="*/ 250031 h 1707356"/>
                        <a:gd name="connsiteX26" fmla="*/ 976313 w 1538288"/>
                        <a:gd name="connsiteY26" fmla="*/ 290512 h 1707356"/>
                        <a:gd name="connsiteX27" fmla="*/ 983456 w 1538288"/>
                        <a:gd name="connsiteY27" fmla="*/ 297656 h 1707356"/>
                        <a:gd name="connsiteX28" fmla="*/ 952500 w 1538288"/>
                        <a:gd name="connsiteY28" fmla="*/ 345281 h 1707356"/>
                        <a:gd name="connsiteX29" fmla="*/ 1000125 w 1538288"/>
                        <a:gd name="connsiteY29" fmla="*/ 426244 h 1707356"/>
                        <a:gd name="connsiteX30" fmla="*/ 945356 w 1538288"/>
                        <a:gd name="connsiteY30" fmla="*/ 435769 h 1707356"/>
                        <a:gd name="connsiteX31" fmla="*/ 895350 w 1538288"/>
                        <a:gd name="connsiteY31" fmla="*/ 438150 h 1707356"/>
                        <a:gd name="connsiteX32" fmla="*/ 866775 w 1538288"/>
                        <a:gd name="connsiteY32" fmla="*/ 416719 h 1707356"/>
                        <a:gd name="connsiteX33" fmla="*/ 888206 w 1538288"/>
                        <a:gd name="connsiteY33" fmla="*/ 383381 h 1707356"/>
                        <a:gd name="connsiteX34" fmla="*/ 916781 w 1538288"/>
                        <a:gd name="connsiteY34" fmla="*/ 388144 h 1707356"/>
                        <a:gd name="connsiteX35" fmla="*/ 938213 w 1538288"/>
                        <a:gd name="connsiteY35" fmla="*/ 354806 h 1707356"/>
                        <a:gd name="connsiteX36" fmla="*/ 931069 w 1538288"/>
                        <a:gd name="connsiteY36" fmla="*/ 333375 h 1707356"/>
                        <a:gd name="connsiteX37" fmla="*/ 845344 w 1538288"/>
                        <a:gd name="connsiteY37" fmla="*/ 342900 h 1707356"/>
                        <a:gd name="connsiteX38" fmla="*/ 826294 w 1538288"/>
                        <a:gd name="connsiteY38" fmla="*/ 352425 h 1707356"/>
                        <a:gd name="connsiteX39" fmla="*/ 783431 w 1538288"/>
                        <a:gd name="connsiteY39" fmla="*/ 328612 h 1707356"/>
                        <a:gd name="connsiteX40" fmla="*/ 747713 w 1538288"/>
                        <a:gd name="connsiteY40" fmla="*/ 338137 h 1707356"/>
                        <a:gd name="connsiteX41" fmla="*/ 626269 w 1538288"/>
                        <a:gd name="connsiteY41" fmla="*/ 278606 h 1707356"/>
                        <a:gd name="connsiteX42" fmla="*/ 471488 w 1538288"/>
                        <a:gd name="connsiteY42" fmla="*/ 221456 h 1707356"/>
                        <a:gd name="connsiteX43" fmla="*/ 419100 w 1538288"/>
                        <a:gd name="connsiteY43" fmla="*/ 190500 h 1707356"/>
                        <a:gd name="connsiteX44" fmla="*/ 376238 w 1538288"/>
                        <a:gd name="connsiteY44" fmla="*/ 216694 h 1707356"/>
                        <a:gd name="connsiteX45" fmla="*/ 333375 w 1538288"/>
                        <a:gd name="connsiteY45" fmla="*/ 195262 h 1707356"/>
                        <a:gd name="connsiteX46" fmla="*/ 297656 w 1538288"/>
                        <a:gd name="connsiteY46" fmla="*/ 240506 h 1707356"/>
                        <a:gd name="connsiteX47" fmla="*/ 283369 w 1538288"/>
                        <a:gd name="connsiteY47" fmla="*/ 278606 h 1707356"/>
                        <a:gd name="connsiteX48" fmla="*/ 271463 w 1538288"/>
                        <a:gd name="connsiteY48" fmla="*/ 295275 h 1707356"/>
                        <a:gd name="connsiteX49" fmla="*/ 230981 w 1538288"/>
                        <a:gd name="connsiteY49" fmla="*/ 292894 h 1707356"/>
                        <a:gd name="connsiteX50" fmla="*/ 202406 w 1538288"/>
                        <a:gd name="connsiteY50" fmla="*/ 300037 h 1707356"/>
                        <a:gd name="connsiteX51" fmla="*/ 209550 w 1538288"/>
                        <a:gd name="connsiteY51" fmla="*/ 340519 h 1707356"/>
                        <a:gd name="connsiteX52" fmla="*/ 273844 w 1538288"/>
                        <a:gd name="connsiteY52" fmla="*/ 423862 h 1707356"/>
                        <a:gd name="connsiteX53" fmla="*/ 309563 w 1538288"/>
                        <a:gd name="connsiteY53" fmla="*/ 471487 h 1707356"/>
                        <a:gd name="connsiteX54" fmla="*/ 264319 w 1538288"/>
                        <a:gd name="connsiteY54" fmla="*/ 457200 h 1707356"/>
                        <a:gd name="connsiteX55" fmla="*/ 214313 w 1538288"/>
                        <a:gd name="connsiteY55" fmla="*/ 466725 h 1707356"/>
                        <a:gd name="connsiteX56" fmla="*/ 173831 w 1538288"/>
                        <a:gd name="connsiteY56" fmla="*/ 411956 h 1707356"/>
                        <a:gd name="connsiteX57" fmla="*/ 114300 w 1538288"/>
                        <a:gd name="connsiteY57" fmla="*/ 392906 h 1707356"/>
                        <a:gd name="connsiteX58" fmla="*/ 50006 w 1538288"/>
                        <a:gd name="connsiteY58" fmla="*/ 371475 h 1707356"/>
                        <a:gd name="connsiteX59" fmla="*/ 21431 w 1538288"/>
                        <a:gd name="connsiteY59" fmla="*/ 395287 h 1707356"/>
                        <a:gd name="connsiteX60" fmla="*/ 0 w 1538288"/>
                        <a:gd name="connsiteY60" fmla="*/ 442912 h 1707356"/>
                        <a:gd name="connsiteX61" fmla="*/ 9525 w 1538288"/>
                        <a:gd name="connsiteY61" fmla="*/ 476250 h 1707356"/>
                        <a:gd name="connsiteX62" fmla="*/ 80963 w 1538288"/>
                        <a:gd name="connsiteY62" fmla="*/ 504825 h 1707356"/>
                        <a:gd name="connsiteX63" fmla="*/ 116681 w 1538288"/>
                        <a:gd name="connsiteY63" fmla="*/ 533400 h 1707356"/>
                        <a:gd name="connsiteX64" fmla="*/ 123825 w 1538288"/>
                        <a:gd name="connsiteY64" fmla="*/ 590550 h 1707356"/>
                        <a:gd name="connsiteX65" fmla="*/ 130969 w 1538288"/>
                        <a:gd name="connsiteY65" fmla="*/ 623887 h 1707356"/>
                        <a:gd name="connsiteX66" fmla="*/ 145256 w 1538288"/>
                        <a:gd name="connsiteY66" fmla="*/ 673894 h 1707356"/>
                        <a:gd name="connsiteX67" fmla="*/ 147638 w 1538288"/>
                        <a:gd name="connsiteY67" fmla="*/ 721519 h 1707356"/>
                        <a:gd name="connsiteX68" fmla="*/ 183356 w 1538288"/>
                        <a:gd name="connsiteY68" fmla="*/ 773906 h 1707356"/>
                        <a:gd name="connsiteX69" fmla="*/ 178594 w 1538288"/>
                        <a:gd name="connsiteY69" fmla="*/ 809625 h 1707356"/>
                        <a:gd name="connsiteX70" fmla="*/ 178594 w 1538288"/>
                        <a:gd name="connsiteY70" fmla="*/ 845344 h 1707356"/>
                        <a:gd name="connsiteX71" fmla="*/ 166688 w 1538288"/>
                        <a:gd name="connsiteY71" fmla="*/ 881062 h 1707356"/>
                        <a:gd name="connsiteX72" fmla="*/ 154781 w 1538288"/>
                        <a:gd name="connsiteY72" fmla="*/ 909637 h 1707356"/>
                        <a:gd name="connsiteX73" fmla="*/ 195263 w 1538288"/>
                        <a:gd name="connsiteY73" fmla="*/ 902494 h 1707356"/>
                        <a:gd name="connsiteX74" fmla="*/ 250031 w 1538288"/>
                        <a:gd name="connsiteY74" fmla="*/ 921544 h 1707356"/>
                        <a:gd name="connsiteX75" fmla="*/ 269081 w 1538288"/>
                        <a:gd name="connsiteY75" fmla="*/ 947737 h 1707356"/>
                        <a:gd name="connsiteX76" fmla="*/ 276225 w 1538288"/>
                        <a:gd name="connsiteY76" fmla="*/ 988219 h 1707356"/>
                        <a:gd name="connsiteX77" fmla="*/ 290513 w 1538288"/>
                        <a:gd name="connsiteY77" fmla="*/ 1026319 h 1707356"/>
                        <a:gd name="connsiteX78" fmla="*/ 330994 w 1538288"/>
                        <a:gd name="connsiteY78" fmla="*/ 1028700 h 1707356"/>
                        <a:gd name="connsiteX79" fmla="*/ 373856 w 1538288"/>
                        <a:gd name="connsiteY79" fmla="*/ 1050131 h 1707356"/>
                        <a:gd name="connsiteX80" fmla="*/ 409575 w 1538288"/>
                        <a:gd name="connsiteY80" fmla="*/ 1054894 h 1707356"/>
                        <a:gd name="connsiteX81" fmla="*/ 459581 w 1538288"/>
                        <a:gd name="connsiteY81" fmla="*/ 1095375 h 1707356"/>
                        <a:gd name="connsiteX82" fmla="*/ 459581 w 1538288"/>
                        <a:gd name="connsiteY82" fmla="*/ 1147762 h 1707356"/>
                        <a:gd name="connsiteX83" fmla="*/ 445294 w 1538288"/>
                        <a:gd name="connsiteY83" fmla="*/ 1183481 h 1707356"/>
                        <a:gd name="connsiteX84" fmla="*/ 426244 w 1538288"/>
                        <a:gd name="connsiteY84" fmla="*/ 1212056 h 1707356"/>
                        <a:gd name="connsiteX85" fmla="*/ 371475 w 1538288"/>
                        <a:gd name="connsiteY85" fmla="*/ 1273969 h 1707356"/>
                        <a:gd name="connsiteX86" fmla="*/ 357188 w 1538288"/>
                        <a:gd name="connsiteY86" fmla="*/ 1300162 h 1707356"/>
                        <a:gd name="connsiteX87" fmla="*/ 373856 w 1538288"/>
                        <a:gd name="connsiteY87" fmla="*/ 1350169 h 1707356"/>
                        <a:gd name="connsiteX88" fmla="*/ 361950 w 1538288"/>
                        <a:gd name="connsiteY88" fmla="*/ 1371600 h 1707356"/>
                        <a:gd name="connsiteX89" fmla="*/ 350044 w 1538288"/>
                        <a:gd name="connsiteY89" fmla="*/ 1409700 h 1707356"/>
                        <a:gd name="connsiteX90" fmla="*/ 428625 w 1538288"/>
                        <a:gd name="connsiteY90" fmla="*/ 1378744 h 1707356"/>
                        <a:gd name="connsiteX91" fmla="*/ 550069 w 1538288"/>
                        <a:gd name="connsiteY91" fmla="*/ 1300162 h 1707356"/>
                        <a:gd name="connsiteX92" fmla="*/ 781050 w 1538288"/>
                        <a:gd name="connsiteY92" fmla="*/ 1297781 h 1707356"/>
                        <a:gd name="connsiteX93" fmla="*/ 909638 w 1538288"/>
                        <a:gd name="connsiteY93" fmla="*/ 1404937 h 1707356"/>
                        <a:gd name="connsiteX94" fmla="*/ 966788 w 1538288"/>
                        <a:gd name="connsiteY94" fmla="*/ 1447800 h 1707356"/>
                        <a:gd name="connsiteX95" fmla="*/ 969169 w 1538288"/>
                        <a:gd name="connsiteY95" fmla="*/ 1516856 h 1707356"/>
                        <a:gd name="connsiteX96" fmla="*/ 1012031 w 1538288"/>
                        <a:gd name="connsiteY96" fmla="*/ 1593056 h 1707356"/>
                        <a:gd name="connsiteX97" fmla="*/ 1054894 w 1538288"/>
                        <a:gd name="connsiteY97" fmla="*/ 1707356 h 1707356"/>
                        <a:gd name="connsiteX98" fmla="*/ 1178719 w 1538288"/>
                        <a:gd name="connsiteY98" fmla="*/ 1697831 h 170735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</a:cxnLst>
                      <a:rect l="l" t="t" r="r" b="b"/>
                      <a:pathLst>
                        <a:path w="1538288" h="1707356">
                          <a:moveTo>
                            <a:pt x="1178719" y="1697831"/>
                          </a:moveTo>
                          <a:lnTo>
                            <a:pt x="1345406" y="519112"/>
                          </a:lnTo>
                          <a:lnTo>
                            <a:pt x="1538288" y="471487"/>
                          </a:lnTo>
                          <a:lnTo>
                            <a:pt x="1514475" y="169069"/>
                          </a:lnTo>
                          <a:lnTo>
                            <a:pt x="1478756" y="185737"/>
                          </a:lnTo>
                          <a:lnTo>
                            <a:pt x="1345406" y="111919"/>
                          </a:lnTo>
                          <a:lnTo>
                            <a:pt x="1262063" y="0"/>
                          </a:lnTo>
                          <a:lnTo>
                            <a:pt x="1202531" y="64294"/>
                          </a:lnTo>
                          <a:lnTo>
                            <a:pt x="1138238" y="14287"/>
                          </a:lnTo>
                          <a:lnTo>
                            <a:pt x="1038225" y="19050"/>
                          </a:lnTo>
                          <a:lnTo>
                            <a:pt x="1009650" y="57150"/>
                          </a:lnTo>
                          <a:lnTo>
                            <a:pt x="938213" y="28575"/>
                          </a:lnTo>
                          <a:lnTo>
                            <a:pt x="869156" y="59531"/>
                          </a:lnTo>
                          <a:lnTo>
                            <a:pt x="800100" y="57150"/>
                          </a:lnTo>
                          <a:lnTo>
                            <a:pt x="750094" y="109537"/>
                          </a:lnTo>
                          <a:lnTo>
                            <a:pt x="716756" y="164306"/>
                          </a:lnTo>
                          <a:lnTo>
                            <a:pt x="714375" y="202406"/>
                          </a:lnTo>
                          <a:lnTo>
                            <a:pt x="731044" y="245269"/>
                          </a:lnTo>
                          <a:lnTo>
                            <a:pt x="750094" y="278606"/>
                          </a:lnTo>
                          <a:lnTo>
                            <a:pt x="783431" y="278606"/>
                          </a:lnTo>
                          <a:lnTo>
                            <a:pt x="800100" y="311944"/>
                          </a:lnTo>
                          <a:lnTo>
                            <a:pt x="831056" y="352425"/>
                          </a:lnTo>
                          <a:lnTo>
                            <a:pt x="857250" y="326231"/>
                          </a:lnTo>
                          <a:lnTo>
                            <a:pt x="857250" y="297656"/>
                          </a:lnTo>
                          <a:lnTo>
                            <a:pt x="897731" y="290512"/>
                          </a:lnTo>
                          <a:lnTo>
                            <a:pt x="935831" y="250031"/>
                          </a:lnTo>
                          <a:lnTo>
                            <a:pt x="976313" y="290512"/>
                          </a:lnTo>
                          <a:lnTo>
                            <a:pt x="983456" y="297656"/>
                          </a:lnTo>
                          <a:lnTo>
                            <a:pt x="952500" y="345281"/>
                          </a:lnTo>
                          <a:lnTo>
                            <a:pt x="1000125" y="426244"/>
                          </a:lnTo>
                          <a:lnTo>
                            <a:pt x="945356" y="435769"/>
                          </a:lnTo>
                          <a:lnTo>
                            <a:pt x="895350" y="438150"/>
                          </a:lnTo>
                          <a:lnTo>
                            <a:pt x="866775" y="416719"/>
                          </a:lnTo>
                          <a:lnTo>
                            <a:pt x="888206" y="383381"/>
                          </a:lnTo>
                          <a:lnTo>
                            <a:pt x="916781" y="388144"/>
                          </a:lnTo>
                          <a:lnTo>
                            <a:pt x="938213" y="354806"/>
                          </a:lnTo>
                          <a:lnTo>
                            <a:pt x="931069" y="333375"/>
                          </a:lnTo>
                          <a:lnTo>
                            <a:pt x="845344" y="342900"/>
                          </a:lnTo>
                          <a:lnTo>
                            <a:pt x="826294" y="352425"/>
                          </a:lnTo>
                          <a:lnTo>
                            <a:pt x="783431" y="328612"/>
                          </a:lnTo>
                          <a:lnTo>
                            <a:pt x="747713" y="338137"/>
                          </a:lnTo>
                          <a:lnTo>
                            <a:pt x="626269" y="278606"/>
                          </a:lnTo>
                          <a:lnTo>
                            <a:pt x="471488" y="221456"/>
                          </a:lnTo>
                          <a:lnTo>
                            <a:pt x="419100" y="190500"/>
                          </a:lnTo>
                          <a:lnTo>
                            <a:pt x="376238" y="216694"/>
                          </a:lnTo>
                          <a:lnTo>
                            <a:pt x="333375" y="195262"/>
                          </a:lnTo>
                          <a:lnTo>
                            <a:pt x="297656" y="240506"/>
                          </a:lnTo>
                          <a:lnTo>
                            <a:pt x="283369" y="278606"/>
                          </a:lnTo>
                          <a:lnTo>
                            <a:pt x="271463" y="295275"/>
                          </a:lnTo>
                          <a:lnTo>
                            <a:pt x="230981" y="292894"/>
                          </a:lnTo>
                          <a:lnTo>
                            <a:pt x="202406" y="300037"/>
                          </a:lnTo>
                          <a:lnTo>
                            <a:pt x="209550" y="340519"/>
                          </a:lnTo>
                          <a:lnTo>
                            <a:pt x="273844" y="423862"/>
                          </a:lnTo>
                          <a:lnTo>
                            <a:pt x="309563" y="471487"/>
                          </a:lnTo>
                          <a:lnTo>
                            <a:pt x="264319" y="457200"/>
                          </a:lnTo>
                          <a:lnTo>
                            <a:pt x="214313" y="466725"/>
                          </a:lnTo>
                          <a:lnTo>
                            <a:pt x="173831" y="411956"/>
                          </a:lnTo>
                          <a:lnTo>
                            <a:pt x="114300" y="392906"/>
                          </a:lnTo>
                          <a:lnTo>
                            <a:pt x="50006" y="371475"/>
                          </a:lnTo>
                          <a:lnTo>
                            <a:pt x="21431" y="395287"/>
                          </a:lnTo>
                          <a:lnTo>
                            <a:pt x="0" y="442912"/>
                          </a:lnTo>
                          <a:lnTo>
                            <a:pt x="9525" y="476250"/>
                          </a:lnTo>
                          <a:lnTo>
                            <a:pt x="80963" y="504825"/>
                          </a:lnTo>
                          <a:lnTo>
                            <a:pt x="116681" y="533400"/>
                          </a:lnTo>
                          <a:lnTo>
                            <a:pt x="123825" y="590550"/>
                          </a:lnTo>
                          <a:lnTo>
                            <a:pt x="130969" y="623887"/>
                          </a:lnTo>
                          <a:lnTo>
                            <a:pt x="145256" y="673894"/>
                          </a:lnTo>
                          <a:lnTo>
                            <a:pt x="147638" y="721519"/>
                          </a:lnTo>
                          <a:lnTo>
                            <a:pt x="183356" y="773906"/>
                          </a:lnTo>
                          <a:lnTo>
                            <a:pt x="178594" y="809625"/>
                          </a:lnTo>
                          <a:lnTo>
                            <a:pt x="178594" y="845344"/>
                          </a:lnTo>
                          <a:lnTo>
                            <a:pt x="166688" y="881062"/>
                          </a:lnTo>
                          <a:lnTo>
                            <a:pt x="154781" y="909637"/>
                          </a:lnTo>
                          <a:lnTo>
                            <a:pt x="195263" y="902494"/>
                          </a:lnTo>
                          <a:lnTo>
                            <a:pt x="250031" y="921544"/>
                          </a:lnTo>
                          <a:lnTo>
                            <a:pt x="269081" y="947737"/>
                          </a:lnTo>
                          <a:lnTo>
                            <a:pt x="276225" y="988219"/>
                          </a:lnTo>
                          <a:lnTo>
                            <a:pt x="290513" y="1026319"/>
                          </a:lnTo>
                          <a:lnTo>
                            <a:pt x="330994" y="1028700"/>
                          </a:lnTo>
                          <a:lnTo>
                            <a:pt x="373856" y="1050131"/>
                          </a:lnTo>
                          <a:lnTo>
                            <a:pt x="409575" y="1054894"/>
                          </a:lnTo>
                          <a:lnTo>
                            <a:pt x="459581" y="1095375"/>
                          </a:lnTo>
                          <a:lnTo>
                            <a:pt x="459581" y="1147762"/>
                          </a:lnTo>
                          <a:lnTo>
                            <a:pt x="445294" y="1183481"/>
                          </a:lnTo>
                          <a:lnTo>
                            <a:pt x="426244" y="1212056"/>
                          </a:lnTo>
                          <a:lnTo>
                            <a:pt x="371475" y="1273969"/>
                          </a:lnTo>
                          <a:lnTo>
                            <a:pt x="357188" y="1300162"/>
                          </a:lnTo>
                          <a:lnTo>
                            <a:pt x="373856" y="1350169"/>
                          </a:lnTo>
                          <a:lnTo>
                            <a:pt x="361950" y="1371600"/>
                          </a:lnTo>
                          <a:lnTo>
                            <a:pt x="350044" y="1409700"/>
                          </a:lnTo>
                          <a:lnTo>
                            <a:pt x="428625" y="1378744"/>
                          </a:lnTo>
                          <a:lnTo>
                            <a:pt x="550069" y="1300162"/>
                          </a:lnTo>
                          <a:lnTo>
                            <a:pt x="781050" y="1297781"/>
                          </a:lnTo>
                          <a:lnTo>
                            <a:pt x="909638" y="1404937"/>
                          </a:lnTo>
                          <a:lnTo>
                            <a:pt x="966788" y="1447800"/>
                          </a:lnTo>
                          <a:cubicBezTo>
                            <a:pt x="967582" y="1470819"/>
                            <a:pt x="968375" y="1493837"/>
                            <a:pt x="969169" y="1516856"/>
                          </a:cubicBezTo>
                          <a:lnTo>
                            <a:pt x="1012031" y="1593056"/>
                          </a:lnTo>
                          <a:lnTo>
                            <a:pt x="1054894" y="1707356"/>
                          </a:lnTo>
                          <a:lnTo>
                            <a:pt x="1178719" y="1697831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1" name="Freeform 12"/>
                    <p:cNvSpPr/>
                    <p:nvPr/>
                  </p:nvSpPr>
                  <p:spPr>
                    <a:xfrm>
                      <a:off x="3993955" y="2954098"/>
                      <a:ext cx="832565" cy="1132298"/>
                    </a:xfrm>
                    <a:custGeom>
                      <a:avLst/>
                      <a:gdLst>
                        <a:gd name="connsiteX0" fmla="*/ 409575 w 1183481"/>
                        <a:gd name="connsiteY0" fmla="*/ 888207 h 1738313"/>
                        <a:gd name="connsiteX1" fmla="*/ 309563 w 1183481"/>
                        <a:gd name="connsiteY1" fmla="*/ 962025 h 1738313"/>
                        <a:gd name="connsiteX2" fmla="*/ 273844 w 1183481"/>
                        <a:gd name="connsiteY2" fmla="*/ 992982 h 1738313"/>
                        <a:gd name="connsiteX3" fmla="*/ 197644 w 1183481"/>
                        <a:gd name="connsiteY3" fmla="*/ 1021557 h 1738313"/>
                        <a:gd name="connsiteX4" fmla="*/ 0 w 1183481"/>
                        <a:gd name="connsiteY4" fmla="*/ 1166813 h 1738313"/>
                        <a:gd name="connsiteX5" fmla="*/ 0 w 1183481"/>
                        <a:gd name="connsiteY5" fmla="*/ 1273969 h 1738313"/>
                        <a:gd name="connsiteX6" fmla="*/ 71438 w 1183481"/>
                        <a:gd name="connsiteY6" fmla="*/ 1273969 h 1738313"/>
                        <a:gd name="connsiteX7" fmla="*/ 107156 w 1183481"/>
                        <a:gd name="connsiteY7" fmla="*/ 1290638 h 1738313"/>
                        <a:gd name="connsiteX8" fmla="*/ 126206 w 1183481"/>
                        <a:gd name="connsiteY8" fmla="*/ 1388269 h 1738313"/>
                        <a:gd name="connsiteX9" fmla="*/ 164306 w 1183481"/>
                        <a:gd name="connsiteY9" fmla="*/ 1562100 h 1738313"/>
                        <a:gd name="connsiteX10" fmla="*/ 304800 w 1183481"/>
                        <a:gd name="connsiteY10" fmla="*/ 1569244 h 1738313"/>
                        <a:gd name="connsiteX11" fmla="*/ 426244 w 1183481"/>
                        <a:gd name="connsiteY11" fmla="*/ 1535907 h 1738313"/>
                        <a:gd name="connsiteX12" fmla="*/ 509588 w 1183481"/>
                        <a:gd name="connsiteY12" fmla="*/ 1602582 h 1738313"/>
                        <a:gd name="connsiteX13" fmla="*/ 502444 w 1183481"/>
                        <a:gd name="connsiteY13" fmla="*/ 1638300 h 1738313"/>
                        <a:gd name="connsiteX14" fmla="*/ 483394 w 1183481"/>
                        <a:gd name="connsiteY14" fmla="*/ 1662113 h 1738313"/>
                        <a:gd name="connsiteX15" fmla="*/ 573881 w 1183481"/>
                        <a:gd name="connsiteY15" fmla="*/ 1738313 h 1738313"/>
                        <a:gd name="connsiteX16" fmla="*/ 623888 w 1183481"/>
                        <a:gd name="connsiteY16" fmla="*/ 1738313 h 1738313"/>
                        <a:gd name="connsiteX17" fmla="*/ 626269 w 1183481"/>
                        <a:gd name="connsiteY17" fmla="*/ 1643063 h 1738313"/>
                        <a:gd name="connsiteX18" fmla="*/ 702469 w 1183481"/>
                        <a:gd name="connsiteY18" fmla="*/ 1545432 h 1738313"/>
                        <a:gd name="connsiteX19" fmla="*/ 838200 w 1183481"/>
                        <a:gd name="connsiteY19" fmla="*/ 1431132 h 1738313"/>
                        <a:gd name="connsiteX20" fmla="*/ 878681 w 1183481"/>
                        <a:gd name="connsiteY20" fmla="*/ 1381125 h 1738313"/>
                        <a:gd name="connsiteX21" fmla="*/ 957263 w 1183481"/>
                        <a:gd name="connsiteY21" fmla="*/ 1378744 h 1738313"/>
                        <a:gd name="connsiteX22" fmla="*/ 1047750 w 1183481"/>
                        <a:gd name="connsiteY22" fmla="*/ 1257300 h 1738313"/>
                        <a:gd name="connsiteX23" fmla="*/ 1064419 w 1183481"/>
                        <a:gd name="connsiteY23" fmla="*/ 1243013 h 1738313"/>
                        <a:gd name="connsiteX24" fmla="*/ 1121569 w 1183481"/>
                        <a:gd name="connsiteY24" fmla="*/ 1271588 h 1738313"/>
                        <a:gd name="connsiteX25" fmla="*/ 1133475 w 1183481"/>
                        <a:gd name="connsiteY25" fmla="*/ 1212057 h 1738313"/>
                        <a:gd name="connsiteX26" fmla="*/ 1176338 w 1183481"/>
                        <a:gd name="connsiteY26" fmla="*/ 1212057 h 1738313"/>
                        <a:gd name="connsiteX27" fmla="*/ 1183481 w 1183481"/>
                        <a:gd name="connsiteY27" fmla="*/ 1176338 h 1738313"/>
                        <a:gd name="connsiteX28" fmla="*/ 1069181 w 1183481"/>
                        <a:gd name="connsiteY28" fmla="*/ 1112044 h 1738313"/>
                        <a:gd name="connsiteX29" fmla="*/ 997744 w 1183481"/>
                        <a:gd name="connsiteY29" fmla="*/ 1028700 h 1738313"/>
                        <a:gd name="connsiteX30" fmla="*/ 997744 w 1183481"/>
                        <a:gd name="connsiteY30" fmla="*/ 971550 h 1738313"/>
                        <a:gd name="connsiteX31" fmla="*/ 921544 w 1183481"/>
                        <a:gd name="connsiteY31" fmla="*/ 862013 h 1738313"/>
                        <a:gd name="connsiteX32" fmla="*/ 873919 w 1183481"/>
                        <a:gd name="connsiteY32" fmla="*/ 862013 h 1738313"/>
                        <a:gd name="connsiteX33" fmla="*/ 838200 w 1183481"/>
                        <a:gd name="connsiteY33" fmla="*/ 816769 h 1738313"/>
                        <a:gd name="connsiteX34" fmla="*/ 823913 w 1183481"/>
                        <a:gd name="connsiteY34" fmla="*/ 742950 h 1738313"/>
                        <a:gd name="connsiteX35" fmla="*/ 850106 w 1183481"/>
                        <a:gd name="connsiteY35" fmla="*/ 664369 h 1738313"/>
                        <a:gd name="connsiteX36" fmla="*/ 885825 w 1183481"/>
                        <a:gd name="connsiteY36" fmla="*/ 600075 h 1738313"/>
                        <a:gd name="connsiteX37" fmla="*/ 881063 w 1183481"/>
                        <a:gd name="connsiteY37" fmla="*/ 466725 h 1738313"/>
                        <a:gd name="connsiteX38" fmla="*/ 888206 w 1183481"/>
                        <a:gd name="connsiteY38" fmla="*/ 381000 h 1738313"/>
                        <a:gd name="connsiteX39" fmla="*/ 778669 w 1183481"/>
                        <a:gd name="connsiteY39" fmla="*/ 154782 h 1738313"/>
                        <a:gd name="connsiteX40" fmla="*/ 723900 w 1183481"/>
                        <a:gd name="connsiteY40" fmla="*/ 0 h 1738313"/>
                        <a:gd name="connsiteX41" fmla="*/ 311944 w 1183481"/>
                        <a:gd name="connsiteY41" fmla="*/ 2382 h 1738313"/>
                        <a:gd name="connsiteX42" fmla="*/ 273844 w 1183481"/>
                        <a:gd name="connsiteY42" fmla="*/ 195263 h 1738313"/>
                        <a:gd name="connsiteX43" fmla="*/ 347663 w 1183481"/>
                        <a:gd name="connsiteY43" fmla="*/ 288132 h 1738313"/>
                        <a:gd name="connsiteX44" fmla="*/ 345281 w 1183481"/>
                        <a:gd name="connsiteY44" fmla="*/ 519113 h 1738313"/>
                        <a:gd name="connsiteX45" fmla="*/ 454819 w 1183481"/>
                        <a:gd name="connsiteY45" fmla="*/ 604838 h 1738313"/>
                        <a:gd name="connsiteX46" fmla="*/ 447675 w 1183481"/>
                        <a:gd name="connsiteY46" fmla="*/ 688182 h 1738313"/>
                        <a:gd name="connsiteX47" fmla="*/ 457200 w 1183481"/>
                        <a:gd name="connsiteY47" fmla="*/ 735807 h 1738313"/>
                        <a:gd name="connsiteX48" fmla="*/ 361950 w 1183481"/>
                        <a:gd name="connsiteY48" fmla="*/ 816769 h 1738313"/>
                        <a:gd name="connsiteX49" fmla="*/ 409575 w 1183481"/>
                        <a:gd name="connsiteY49" fmla="*/ 888207 h 1738313"/>
                        <a:gd name="connsiteX0" fmla="*/ 409575 w 1183481"/>
                        <a:gd name="connsiteY0" fmla="*/ 888207 h 1738313"/>
                        <a:gd name="connsiteX1" fmla="*/ 309563 w 1183481"/>
                        <a:gd name="connsiteY1" fmla="*/ 962025 h 1738313"/>
                        <a:gd name="connsiteX2" fmla="*/ 273844 w 1183481"/>
                        <a:gd name="connsiteY2" fmla="*/ 992982 h 1738313"/>
                        <a:gd name="connsiteX3" fmla="*/ 197644 w 1183481"/>
                        <a:gd name="connsiteY3" fmla="*/ 1021557 h 1738313"/>
                        <a:gd name="connsiteX4" fmla="*/ 0 w 1183481"/>
                        <a:gd name="connsiteY4" fmla="*/ 1166813 h 1738313"/>
                        <a:gd name="connsiteX5" fmla="*/ 0 w 1183481"/>
                        <a:gd name="connsiteY5" fmla="*/ 1273969 h 1738313"/>
                        <a:gd name="connsiteX6" fmla="*/ 71438 w 1183481"/>
                        <a:gd name="connsiteY6" fmla="*/ 1273969 h 1738313"/>
                        <a:gd name="connsiteX7" fmla="*/ 107156 w 1183481"/>
                        <a:gd name="connsiteY7" fmla="*/ 1290638 h 1738313"/>
                        <a:gd name="connsiteX8" fmla="*/ 126206 w 1183481"/>
                        <a:gd name="connsiteY8" fmla="*/ 1388269 h 1738313"/>
                        <a:gd name="connsiteX9" fmla="*/ 164306 w 1183481"/>
                        <a:gd name="connsiteY9" fmla="*/ 1562100 h 1738313"/>
                        <a:gd name="connsiteX10" fmla="*/ 304800 w 1183481"/>
                        <a:gd name="connsiteY10" fmla="*/ 1569244 h 1738313"/>
                        <a:gd name="connsiteX11" fmla="*/ 426244 w 1183481"/>
                        <a:gd name="connsiteY11" fmla="*/ 1535907 h 1738313"/>
                        <a:gd name="connsiteX12" fmla="*/ 509588 w 1183481"/>
                        <a:gd name="connsiteY12" fmla="*/ 1602582 h 1738313"/>
                        <a:gd name="connsiteX13" fmla="*/ 502444 w 1183481"/>
                        <a:gd name="connsiteY13" fmla="*/ 1638300 h 1738313"/>
                        <a:gd name="connsiteX14" fmla="*/ 483394 w 1183481"/>
                        <a:gd name="connsiteY14" fmla="*/ 1662113 h 1738313"/>
                        <a:gd name="connsiteX15" fmla="*/ 573881 w 1183481"/>
                        <a:gd name="connsiteY15" fmla="*/ 1738313 h 1738313"/>
                        <a:gd name="connsiteX16" fmla="*/ 623888 w 1183481"/>
                        <a:gd name="connsiteY16" fmla="*/ 1738313 h 1738313"/>
                        <a:gd name="connsiteX17" fmla="*/ 626269 w 1183481"/>
                        <a:gd name="connsiteY17" fmla="*/ 1643063 h 1738313"/>
                        <a:gd name="connsiteX18" fmla="*/ 702469 w 1183481"/>
                        <a:gd name="connsiteY18" fmla="*/ 1545432 h 1738313"/>
                        <a:gd name="connsiteX19" fmla="*/ 838200 w 1183481"/>
                        <a:gd name="connsiteY19" fmla="*/ 1431132 h 1738313"/>
                        <a:gd name="connsiteX20" fmla="*/ 878681 w 1183481"/>
                        <a:gd name="connsiteY20" fmla="*/ 1381125 h 1738313"/>
                        <a:gd name="connsiteX21" fmla="*/ 957263 w 1183481"/>
                        <a:gd name="connsiteY21" fmla="*/ 1378744 h 1738313"/>
                        <a:gd name="connsiteX22" fmla="*/ 1047750 w 1183481"/>
                        <a:gd name="connsiteY22" fmla="*/ 1257300 h 1738313"/>
                        <a:gd name="connsiteX23" fmla="*/ 1064419 w 1183481"/>
                        <a:gd name="connsiteY23" fmla="*/ 1243013 h 1738313"/>
                        <a:gd name="connsiteX24" fmla="*/ 1121569 w 1183481"/>
                        <a:gd name="connsiteY24" fmla="*/ 1271588 h 1738313"/>
                        <a:gd name="connsiteX25" fmla="*/ 1133475 w 1183481"/>
                        <a:gd name="connsiteY25" fmla="*/ 1212057 h 1738313"/>
                        <a:gd name="connsiteX26" fmla="*/ 1176338 w 1183481"/>
                        <a:gd name="connsiteY26" fmla="*/ 1212057 h 1738313"/>
                        <a:gd name="connsiteX27" fmla="*/ 1183481 w 1183481"/>
                        <a:gd name="connsiteY27" fmla="*/ 1176338 h 1738313"/>
                        <a:gd name="connsiteX28" fmla="*/ 1069181 w 1183481"/>
                        <a:gd name="connsiteY28" fmla="*/ 1112044 h 1738313"/>
                        <a:gd name="connsiteX29" fmla="*/ 997744 w 1183481"/>
                        <a:gd name="connsiteY29" fmla="*/ 1028700 h 1738313"/>
                        <a:gd name="connsiteX30" fmla="*/ 997744 w 1183481"/>
                        <a:gd name="connsiteY30" fmla="*/ 971550 h 1738313"/>
                        <a:gd name="connsiteX31" fmla="*/ 921544 w 1183481"/>
                        <a:gd name="connsiteY31" fmla="*/ 862013 h 1738313"/>
                        <a:gd name="connsiteX32" fmla="*/ 873919 w 1183481"/>
                        <a:gd name="connsiteY32" fmla="*/ 862013 h 1738313"/>
                        <a:gd name="connsiteX33" fmla="*/ 838200 w 1183481"/>
                        <a:gd name="connsiteY33" fmla="*/ 816769 h 1738313"/>
                        <a:gd name="connsiteX34" fmla="*/ 823913 w 1183481"/>
                        <a:gd name="connsiteY34" fmla="*/ 742950 h 1738313"/>
                        <a:gd name="connsiteX35" fmla="*/ 850106 w 1183481"/>
                        <a:gd name="connsiteY35" fmla="*/ 664369 h 1738313"/>
                        <a:gd name="connsiteX36" fmla="*/ 885825 w 1183481"/>
                        <a:gd name="connsiteY36" fmla="*/ 600075 h 1738313"/>
                        <a:gd name="connsiteX37" fmla="*/ 881063 w 1183481"/>
                        <a:gd name="connsiteY37" fmla="*/ 466725 h 1738313"/>
                        <a:gd name="connsiteX38" fmla="*/ 888206 w 1183481"/>
                        <a:gd name="connsiteY38" fmla="*/ 381000 h 1738313"/>
                        <a:gd name="connsiteX39" fmla="*/ 778669 w 1183481"/>
                        <a:gd name="connsiteY39" fmla="*/ 154782 h 1738313"/>
                        <a:gd name="connsiteX40" fmla="*/ 723900 w 1183481"/>
                        <a:gd name="connsiteY40" fmla="*/ 0 h 1738313"/>
                        <a:gd name="connsiteX41" fmla="*/ 307182 w 1183481"/>
                        <a:gd name="connsiteY41" fmla="*/ 4763 h 1738313"/>
                        <a:gd name="connsiteX42" fmla="*/ 273844 w 1183481"/>
                        <a:gd name="connsiteY42" fmla="*/ 195263 h 1738313"/>
                        <a:gd name="connsiteX43" fmla="*/ 347663 w 1183481"/>
                        <a:gd name="connsiteY43" fmla="*/ 288132 h 1738313"/>
                        <a:gd name="connsiteX44" fmla="*/ 345281 w 1183481"/>
                        <a:gd name="connsiteY44" fmla="*/ 519113 h 1738313"/>
                        <a:gd name="connsiteX45" fmla="*/ 454819 w 1183481"/>
                        <a:gd name="connsiteY45" fmla="*/ 604838 h 1738313"/>
                        <a:gd name="connsiteX46" fmla="*/ 447675 w 1183481"/>
                        <a:gd name="connsiteY46" fmla="*/ 688182 h 1738313"/>
                        <a:gd name="connsiteX47" fmla="*/ 457200 w 1183481"/>
                        <a:gd name="connsiteY47" fmla="*/ 735807 h 1738313"/>
                        <a:gd name="connsiteX48" fmla="*/ 361950 w 1183481"/>
                        <a:gd name="connsiteY48" fmla="*/ 816769 h 1738313"/>
                        <a:gd name="connsiteX49" fmla="*/ 409575 w 1183481"/>
                        <a:gd name="connsiteY49" fmla="*/ 888207 h 173831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</a:cxnLst>
                      <a:rect l="l" t="t" r="r" b="b"/>
                      <a:pathLst>
                        <a:path w="1183481" h="1738313">
                          <a:moveTo>
                            <a:pt x="409575" y="888207"/>
                          </a:moveTo>
                          <a:lnTo>
                            <a:pt x="309563" y="962025"/>
                          </a:lnTo>
                          <a:lnTo>
                            <a:pt x="273844" y="992982"/>
                          </a:lnTo>
                          <a:lnTo>
                            <a:pt x="197644" y="1021557"/>
                          </a:lnTo>
                          <a:lnTo>
                            <a:pt x="0" y="1166813"/>
                          </a:lnTo>
                          <a:lnTo>
                            <a:pt x="0" y="1273969"/>
                          </a:lnTo>
                          <a:lnTo>
                            <a:pt x="71438" y="1273969"/>
                          </a:lnTo>
                          <a:lnTo>
                            <a:pt x="107156" y="1290638"/>
                          </a:lnTo>
                          <a:lnTo>
                            <a:pt x="126206" y="1388269"/>
                          </a:lnTo>
                          <a:lnTo>
                            <a:pt x="164306" y="1562100"/>
                          </a:lnTo>
                          <a:lnTo>
                            <a:pt x="304800" y="1569244"/>
                          </a:lnTo>
                          <a:lnTo>
                            <a:pt x="426244" y="1535907"/>
                          </a:lnTo>
                          <a:lnTo>
                            <a:pt x="509588" y="1602582"/>
                          </a:lnTo>
                          <a:lnTo>
                            <a:pt x="502444" y="1638300"/>
                          </a:lnTo>
                          <a:lnTo>
                            <a:pt x="483394" y="1662113"/>
                          </a:lnTo>
                          <a:lnTo>
                            <a:pt x="573881" y="1738313"/>
                          </a:lnTo>
                          <a:lnTo>
                            <a:pt x="623888" y="1738313"/>
                          </a:lnTo>
                          <a:cubicBezTo>
                            <a:pt x="624682" y="1706563"/>
                            <a:pt x="625475" y="1674813"/>
                            <a:pt x="626269" y="1643063"/>
                          </a:cubicBezTo>
                          <a:lnTo>
                            <a:pt x="702469" y="1545432"/>
                          </a:lnTo>
                          <a:lnTo>
                            <a:pt x="838200" y="1431132"/>
                          </a:lnTo>
                          <a:lnTo>
                            <a:pt x="878681" y="1381125"/>
                          </a:lnTo>
                          <a:lnTo>
                            <a:pt x="957263" y="1378744"/>
                          </a:lnTo>
                          <a:lnTo>
                            <a:pt x="1047750" y="1257300"/>
                          </a:lnTo>
                          <a:lnTo>
                            <a:pt x="1064419" y="1243013"/>
                          </a:lnTo>
                          <a:lnTo>
                            <a:pt x="1121569" y="1271588"/>
                          </a:lnTo>
                          <a:lnTo>
                            <a:pt x="1133475" y="1212057"/>
                          </a:lnTo>
                          <a:lnTo>
                            <a:pt x="1176338" y="1212057"/>
                          </a:lnTo>
                          <a:lnTo>
                            <a:pt x="1183481" y="1176338"/>
                          </a:lnTo>
                          <a:lnTo>
                            <a:pt x="1069181" y="1112044"/>
                          </a:lnTo>
                          <a:lnTo>
                            <a:pt x="997744" y="1028700"/>
                          </a:lnTo>
                          <a:lnTo>
                            <a:pt x="997744" y="971550"/>
                          </a:lnTo>
                          <a:lnTo>
                            <a:pt x="921544" y="862013"/>
                          </a:lnTo>
                          <a:lnTo>
                            <a:pt x="873919" y="862013"/>
                          </a:lnTo>
                          <a:lnTo>
                            <a:pt x="838200" y="816769"/>
                          </a:lnTo>
                          <a:lnTo>
                            <a:pt x="823913" y="742950"/>
                          </a:lnTo>
                          <a:lnTo>
                            <a:pt x="850106" y="664369"/>
                          </a:lnTo>
                          <a:lnTo>
                            <a:pt x="885825" y="600075"/>
                          </a:lnTo>
                          <a:lnTo>
                            <a:pt x="881063" y="466725"/>
                          </a:lnTo>
                          <a:lnTo>
                            <a:pt x="888206" y="381000"/>
                          </a:lnTo>
                          <a:lnTo>
                            <a:pt x="778669" y="154782"/>
                          </a:lnTo>
                          <a:lnTo>
                            <a:pt x="723900" y="0"/>
                          </a:lnTo>
                          <a:lnTo>
                            <a:pt x="307182" y="4763"/>
                          </a:lnTo>
                          <a:lnTo>
                            <a:pt x="273844" y="195263"/>
                          </a:lnTo>
                          <a:lnTo>
                            <a:pt x="347663" y="288132"/>
                          </a:lnTo>
                          <a:lnTo>
                            <a:pt x="345281" y="519113"/>
                          </a:lnTo>
                          <a:lnTo>
                            <a:pt x="454819" y="604838"/>
                          </a:lnTo>
                          <a:lnTo>
                            <a:pt x="447675" y="688182"/>
                          </a:lnTo>
                          <a:lnTo>
                            <a:pt x="457200" y="735807"/>
                          </a:lnTo>
                          <a:lnTo>
                            <a:pt x="361950" y="816769"/>
                          </a:lnTo>
                          <a:lnTo>
                            <a:pt x="409575" y="888207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2" name="Freeform 15"/>
                    <p:cNvSpPr/>
                    <p:nvPr/>
                  </p:nvSpPr>
                  <p:spPr>
                    <a:xfrm>
                      <a:off x="5657283" y="1561930"/>
                      <a:ext cx="1524568" cy="1214983"/>
                    </a:xfrm>
                    <a:custGeom>
                      <a:avLst/>
                      <a:gdLst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73969 w 2169319"/>
                        <a:gd name="connsiteY106" fmla="*/ 1783557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02582 h 1862138"/>
                        <a:gd name="connsiteX110" fmla="*/ 1097757 w 2169319"/>
                        <a:gd name="connsiteY110" fmla="*/ 1554957 h 1862138"/>
                        <a:gd name="connsiteX111" fmla="*/ 1057275 w 2169319"/>
                        <a:gd name="connsiteY111" fmla="*/ 1569244 h 1862138"/>
                        <a:gd name="connsiteX112" fmla="*/ 1057275 w 2169319"/>
                        <a:gd name="connsiteY112" fmla="*/ 1569244 h 1862138"/>
                        <a:gd name="connsiteX113" fmla="*/ 1028700 w 2169319"/>
                        <a:gd name="connsiteY113" fmla="*/ 1583532 h 1862138"/>
                        <a:gd name="connsiteX114" fmla="*/ 873919 w 2169319"/>
                        <a:gd name="connsiteY114" fmla="*/ 1581150 h 1862138"/>
                        <a:gd name="connsiteX115" fmla="*/ 845344 w 2169319"/>
                        <a:gd name="connsiteY115" fmla="*/ 1571625 h 1862138"/>
                        <a:gd name="connsiteX116" fmla="*/ 788194 w 2169319"/>
                        <a:gd name="connsiteY116" fmla="*/ 1512094 h 1862138"/>
                        <a:gd name="connsiteX117" fmla="*/ 752475 w 2169319"/>
                        <a:gd name="connsiteY117" fmla="*/ 1516857 h 1862138"/>
                        <a:gd name="connsiteX118" fmla="*/ 685800 w 2169319"/>
                        <a:gd name="connsiteY118" fmla="*/ 1571625 h 1862138"/>
                        <a:gd name="connsiteX119" fmla="*/ 638175 w 2169319"/>
                        <a:gd name="connsiteY119" fmla="*/ 1578769 h 1862138"/>
                        <a:gd name="connsiteX120" fmla="*/ 590550 w 2169319"/>
                        <a:gd name="connsiteY120" fmla="*/ 1566863 h 1862138"/>
                        <a:gd name="connsiteX121" fmla="*/ 552450 w 2169319"/>
                        <a:gd name="connsiteY121" fmla="*/ 1514475 h 1862138"/>
                        <a:gd name="connsiteX122" fmla="*/ 483394 w 2169319"/>
                        <a:gd name="connsiteY122" fmla="*/ 1552575 h 1862138"/>
                        <a:gd name="connsiteX123" fmla="*/ 388144 w 2169319"/>
                        <a:gd name="connsiteY123" fmla="*/ 1500188 h 1862138"/>
                        <a:gd name="connsiteX124" fmla="*/ 280988 w 2169319"/>
                        <a:gd name="connsiteY124" fmla="*/ 1516857 h 1862138"/>
                        <a:gd name="connsiteX125" fmla="*/ 207169 w 2169319"/>
                        <a:gd name="connsiteY125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73969 w 2169319"/>
                        <a:gd name="connsiteY106" fmla="*/ 1783557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4907 w 2169319"/>
                        <a:gd name="connsiteY109" fmla="*/ 1640682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8194 w 2169319"/>
                        <a:gd name="connsiteY117" fmla="*/ 1512094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388144 w 2169319"/>
                        <a:gd name="connsiteY124" fmla="*/ 1500188 h 1862138"/>
                        <a:gd name="connsiteX125" fmla="*/ 280988 w 2169319"/>
                        <a:gd name="connsiteY125" fmla="*/ 1516857 h 1862138"/>
                        <a:gd name="connsiteX126" fmla="*/ 207169 w 2169319"/>
                        <a:gd name="connsiteY126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73969 w 2169319"/>
                        <a:gd name="connsiteY106" fmla="*/ 1783557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8194 w 2169319"/>
                        <a:gd name="connsiteY117" fmla="*/ 1512094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388144 w 2169319"/>
                        <a:gd name="connsiteY124" fmla="*/ 1500188 h 1862138"/>
                        <a:gd name="connsiteX125" fmla="*/ 280988 w 2169319"/>
                        <a:gd name="connsiteY125" fmla="*/ 1516857 h 1862138"/>
                        <a:gd name="connsiteX126" fmla="*/ 207169 w 2169319"/>
                        <a:gd name="connsiteY126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8194 w 2169319"/>
                        <a:gd name="connsiteY117" fmla="*/ 1512094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388144 w 2169319"/>
                        <a:gd name="connsiteY124" fmla="*/ 1500188 h 1862138"/>
                        <a:gd name="connsiteX125" fmla="*/ 280988 w 2169319"/>
                        <a:gd name="connsiteY125" fmla="*/ 1516857 h 1862138"/>
                        <a:gd name="connsiteX126" fmla="*/ 207169 w 2169319"/>
                        <a:gd name="connsiteY126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5813 w 2169319"/>
                        <a:gd name="connsiteY117" fmla="*/ 1519238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388144 w 2169319"/>
                        <a:gd name="connsiteY124" fmla="*/ 1500188 h 1862138"/>
                        <a:gd name="connsiteX125" fmla="*/ 280988 w 2169319"/>
                        <a:gd name="connsiteY125" fmla="*/ 1516857 h 1862138"/>
                        <a:gd name="connsiteX126" fmla="*/ 207169 w 2169319"/>
                        <a:gd name="connsiteY126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5813 w 2169319"/>
                        <a:gd name="connsiteY117" fmla="*/ 1519238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419100 w 2169319"/>
                        <a:gd name="connsiteY124" fmla="*/ 1519238 h 1862138"/>
                        <a:gd name="connsiteX125" fmla="*/ 388144 w 2169319"/>
                        <a:gd name="connsiteY125" fmla="*/ 1500188 h 1862138"/>
                        <a:gd name="connsiteX126" fmla="*/ 280988 w 2169319"/>
                        <a:gd name="connsiteY126" fmla="*/ 1516857 h 1862138"/>
                        <a:gd name="connsiteX127" fmla="*/ 207169 w 2169319"/>
                        <a:gd name="connsiteY127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5813 w 2169319"/>
                        <a:gd name="connsiteY117" fmla="*/ 1519238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404813 w 2169319"/>
                        <a:gd name="connsiteY124" fmla="*/ 1521619 h 1862138"/>
                        <a:gd name="connsiteX125" fmla="*/ 388144 w 2169319"/>
                        <a:gd name="connsiteY125" fmla="*/ 1500188 h 1862138"/>
                        <a:gd name="connsiteX126" fmla="*/ 280988 w 2169319"/>
                        <a:gd name="connsiteY126" fmla="*/ 1516857 h 1862138"/>
                        <a:gd name="connsiteX127" fmla="*/ 207169 w 2169319"/>
                        <a:gd name="connsiteY127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5813 w 2169319"/>
                        <a:gd name="connsiteY117" fmla="*/ 1519238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404813 w 2169319"/>
                        <a:gd name="connsiteY124" fmla="*/ 1521619 h 1862138"/>
                        <a:gd name="connsiteX125" fmla="*/ 388144 w 2169319"/>
                        <a:gd name="connsiteY125" fmla="*/ 1500188 h 1862138"/>
                        <a:gd name="connsiteX126" fmla="*/ 273845 w 2169319"/>
                        <a:gd name="connsiteY126" fmla="*/ 1524000 h 1862138"/>
                        <a:gd name="connsiteX127" fmla="*/ 207169 w 2169319"/>
                        <a:gd name="connsiteY127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1919 w 2169319"/>
                        <a:gd name="connsiteY8" fmla="*/ 1288257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5813 w 2169319"/>
                        <a:gd name="connsiteY117" fmla="*/ 1519238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404813 w 2169319"/>
                        <a:gd name="connsiteY124" fmla="*/ 1521619 h 1862138"/>
                        <a:gd name="connsiteX125" fmla="*/ 388144 w 2169319"/>
                        <a:gd name="connsiteY125" fmla="*/ 1500188 h 1862138"/>
                        <a:gd name="connsiteX126" fmla="*/ 273845 w 2169319"/>
                        <a:gd name="connsiteY126" fmla="*/ 1524000 h 1862138"/>
                        <a:gd name="connsiteX127" fmla="*/ 207169 w 2169319"/>
                        <a:gd name="connsiteY127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1919 w 2169319"/>
                        <a:gd name="connsiteY8" fmla="*/ 1288257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61913 w 2169319"/>
                        <a:gd name="connsiteY15" fmla="*/ 1028700 h 1862138"/>
                        <a:gd name="connsiteX16" fmla="*/ 47625 w 2169319"/>
                        <a:gd name="connsiteY16" fmla="*/ 1014413 h 1862138"/>
                        <a:gd name="connsiteX17" fmla="*/ 19050 w 2169319"/>
                        <a:gd name="connsiteY17" fmla="*/ 962025 h 1862138"/>
                        <a:gd name="connsiteX18" fmla="*/ 21432 w 2169319"/>
                        <a:gd name="connsiteY18" fmla="*/ 914400 h 1862138"/>
                        <a:gd name="connsiteX19" fmla="*/ 40482 w 2169319"/>
                        <a:gd name="connsiteY19" fmla="*/ 900113 h 1862138"/>
                        <a:gd name="connsiteX20" fmla="*/ 61913 w 2169319"/>
                        <a:gd name="connsiteY20" fmla="*/ 864394 h 1862138"/>
                        <a:gd name="connsiteX21" fmla="*/ 16669 w 2169319"/>
                        <a:gd name="connsiteY21" fmla="*/ 809625 h 1862138"/>
                        <a:gd name="connsiteX22" fmla="*/ 0 w 2169319"/>
                        <a:gd name="connsiteY22" fmla="*/ 757238 h 1862138"/>
                        <a:gd name="connsiteX23" fmla="*/ 0 w 2169319"/>
                        <a:gd name="connsiteY23" fmla="*/ 683419 h 1862138"/>
                        <a:gd name="connsiteX24" fmla="*/ 28575 w 2169319"/>
                        <a:gd name="connsiteY24" fmla="*/ 640557 h 1862138"/>
                        <a:gd name="connsiteX25" fmla="*/ 76200 w 2169319"/>
                        <a:gd name="connsiteY25" fmla="*/ 600075 h 1862138"/>
                        <a:gd name="connsiteX26" fmla="*/ 107157 w 2169319"/>
                        <a:gd name="connsiteY26" fmla="*/ 583407 h 1862138"/>
                        <a:gd name="connsiteX27" fmla="*/ 135732 w 2169319"/>
                        <a:gd name="connsiteY27" fmla="*/ 600075 h 1862138"/>
                        <a:gd name="connsiteX28" fmla="*/ 164307 w 2169319"/>
                        <a:gd name="connsiteY28" fmla="*/ 602457 h 1862138"/>
                        <a:gd name="connsiteX29" fmla="*/ 180975 w 2169319"/>
                        <a:gd name="connsiteY29" fmla="*/ 600075 h 1862138"/>
                        <a:gd name="connsiteX30" fmla="*/ 226219 w 2169319"/>
                        <a:gd name="connsiteY30" fmla="*/ 590550 h 1862138"/>
                        <a:gd name="connsiteX31" fmla="*/ 252413 w 2169319"/>
                        <a:gd name="connsiteY31" fmla="*/ 559594 h 1862138"/>
                        <a:gd name="connsiteX32" fmla="*/ 280988 w 2169319"/>
                        <a:gd name="connsiteY32" fmla="*/ 514350 h 1862138"/>
                        <a:gd name="connsiteX33" fmla="*/ 290513 w 2169319"/>
                        <a:gd name="connsiteY33" fmla="*/ 483394 h 1862138"/>
                        <a:gd name="connsiteX34" fmla="*/ 273844 w 2169319"/>
                        <a:gd name="connsiteY34" fmla="*/ 447675 h 1862138"/>
                        <a:gd name="connsiteX35" fmla="*/ 276225 w 2169319"/>
                        <a:gd name="connsiteY35" fmla="*/ 407194 h 1862138"/>
                        <a:gd name="connsiteX36" fmla="*/ 226219 w 2169319"/>
                        <a:gd name="connsiteY36" fmla="*/ 350044 h 1862138"/>
                        <a:gd name="connsiteX37" fmla="*/ 157163 w 2169319"/>
                        <a:gd name="connsiteY37" fmla="*/ 280988 h 1862138"/>
                        <a:gd name="connsiteX38" fmla="*/ 152400 w 2169319"/>
                        <a:gd name="connsiteY38" fmla="*/ 233363 h 1862138"/>
                        <a:gd name="connsiteX39" fmla="*/ 192882 w 2169319"/>
                        <a:gd name="connsiteY39" fmla="*/ 195263 h 1862138"/>
                        <a:gd name="connsiteX40" fmla="*/ 242888 w 2169319"/>
                        <a:gd name="connsiteY40" fmla="*/ 123825 h 1862138"/>
                        <a:gd name="connsiteX41" fmla="*/ 290513 w 2169319"/>
                        <a:gd name="connsiteY41" fmla="*/ 83344 h 1862138"/>
                        <a:gd name="connsiteX42" fmla="*/ 319088 w 2169319"/>
                        <a:gd name="connsiteY42" fmla="*/ 0 h 1862138"/>
                        <a:gd name="connsiteX43" fmla="*/ 540544 w 2169319"/>
                        <a:gd name="connsiteY43" fmla="*/ 304800 h 1862138"/>
                        <a:gd name="connsiteX44" fmla="*/ 552450 w 2169319"/>
                        <a:gd name="connsiteY44" fmla="*/ 316707 h 1862138"/>
                        <a:gd name="connsiteX45" fmla="*/ 597694 w 2169319"/>
                        <a:gd name="connsiteY45" fmla="*/ 257175 h 1862138"/>
                        <a:gd name="connsiteX46" fmla="*/ 626269 w 2169319"/>
                        <a:gd name="connsiteY46" fmla="*/ 238125 h 1862138"/>
                        <a:gd name="connsiteX47" fmla="*/ 621507 w 2169319"/>
                        <a:gd name="connsiteY47" fmla="*/ 169069 h 1862138"/>
                        <a:gd name="connsiteX48" fmla="*/ 633413 w 2169319"/>
                        <a:gd name="connsiteY48" fmla="*/ 140494 h 1862138"/>
                        <a:gd name="connsiteX49" fmla="*/ 719138 w 2169319"/>
                        <a:gd name="connsiteY49" fmla="*/ 140494 h 1862138"/>
                        <a:gd name="connsiteX50" fmla="*/ 752475 w 2169319"/>
                        <a:gd name="connsiteY50" fmla="*/ 147638 h 1862138"/>
                        <a:gd name="connsiteX51" fmla="*/ 764382 w 2169319"/>
                        <a:gd name="connsiteY51" fmla="*/ 197644 h 1862138"/>
                        <a:gd name="connsiteX52" fmla="*/ 809625 w 2169319"/>
                        <a:gd name="connsiteY52" fmla="*/ 214313 h 1862138"/>
                        <a:gd name="connsiteX53" fmla="*/ 847725 w 2169319"/>
                        <a:gd name="connsiteY53" fmla="*/ 264319 h 1862138"/>
                        <a:gd name="connsiteX54" fmla="*/ 890588 w 2169319"/>
                        <a:gd name="connsiteY54" fmla="*/ 280988 h 1862138"/>
                        <a:gd name="connsiteX55" fmla="*/ 950119 w 2169319"/>
                        <a:gd name="connsiteY55" fmla="*/ 235744 h 1862138"/>
                        <a:gd name="connsiteX56" fmla="*/ 1028700 w 2169319"/>
                        <a:gd name="connsiteY56" fmla="*/ 238125 h 1862138"/>
                        <a:gd name="connsiteX57" fmla="*/ 1095375 w 2169319"/>
                        <a:gd name="connsiteY57" fmla="*/ 157163 h 1862138"/>
                        <a:gd name="connsiteX58" fmla="*/ 1147763 w 2169319"/>
                        <a:gd name="connsiteY58" fmla="*/ 161925 h 1862138"/>
                        <a:gd name="connsiteX59" fmla="*/ 1166813 w 2169319"/>
                        <a:gd name="connsiteY59" fmla="*/ 145257 h 1862138"/>
                        <a:gd name="connsiteX60" fmla="*/ 1188244 w 2169319"/>
                        <a:gd name="connsiteY60" fmla="*/ 123825 h 1862138"/>
                        <a:gd name="connsiteX61" fmla="*/ 1259682 w 2169319"/>
                        <a:gd name="connsiteY61" fmla="*/ 123825 h 1862138"/>
                        <a:gd name="connsiteX62" fmla="*/ 1359694 w 2169319"/>
                        <a:gd name="connsiteY62" fmla="*/ 154782 h 1862138"/>
                        <a:gd name="connsiteX63" fmla="*/ 1423988 w 2169319"/>
                        <a:gd name="connsiteY63" fmla="*/ 250032 h 1862138"/>
                        <a:gd name="connsiteX64" fmla="*/ 1440657 w 2169319"/>
                        <a:gd name="connsiteY64" fmla="*/ 264319 h 1862138"/>
                        <a:gd name="connsiteX65" fmla="*/ 1454944 w 2169319"/>
                        <a:gd name="connsiteY65" fmla="*/ 304800 h 1862138"/>
                        <a:gd name="connsiteX66" fmla="*/ 1583532 w 2169319"/>
                        <a:gd name="connsiteY66" fmla="*/ 321469 h 1862138"/>
                        <a:gd name="connsiteX67" fmla="*/ 1654969 w 2169319"/>
                        <a:gd name="connsiteY67" fmla="*/ 423863 h 1862138"/>
                        <a:gd name="connsiteX68" fmla="*/ 1728788 w 2169319"/>
                        <a:gd name="connsiteY68" fmla="*/ 454819 h 1862138"/>
                        <a:gd name="connsiteX69" fmla="*/ 1864519 w 2169319"/>
                        <a:gd name="connsiteY69" fmla="*/ 466725 h 1862138"/>
                        <a:gd name="connsiteX70" fmla="*/ 1909763 w 2169319"/>
                        <a:gd name="connsiteY70" fmla="*/ 450057 h 1862138"/>
                        <a:gd name="connsiteX71" fmla="*/ 1995488 w 2169319"/>
                        <a:gd name="connsiteY71" fmla="*/ 364332 h 1862138"/>
                        <a:gd name="connsiteX72" fmla="*/ 2021682 w 2169319"/>
                        <a:gd name="connsiteY72" fmla="*/ 400050 h 1862138"/>
                        <a:gd name="connsiteX73" fmla="*/ 2069307 w 2169319"/>
                        <a:gd name="connsiteY73" fmla="*/ 435769 h 1862138"/>
                        <a:gd name="connsiteX74" fmla="*/ 2093119 w 2169319"/>
                        <a:gd name="connsiteY74" fmla="*/ 466725 h 1862138"/>
                        <a:gd name="connsiteX75" fmla="*/ 2105025 w 2169319"/>
                        <a:gd name="connsiteY75" fmla="*/ 488157 h 1862138"/>
                        <a:gd name="connsiteX76" fmla="*/ 2169319 w 2169319"/>
                        <a:gd name="connsiteY76" fmla="*/ 483394 h 1862138"/>
                        <a:gd name="connsiteX77" fmla="*/ 2169319 w 2169319"/>
                        <a:gd name="connsiteY77" fmla="*/ 521494 h 1862138"/>
                        <a:gd name="connsiteX78" fmla="*/ 2119313 w 2169319"/>
                        <a:gd name="connsiteY78" fmla="*/ 521494 h 1862138"/>
                        <a:gd name="connsiteX79" fmla="*/ 2045494 w 2169319"/>
                        <a:gd name="connsiteY79" fmla="*/ 578644 h 1862138"/>
                        <a:gd name="connsiteX80" fmla="*/ 2090738 w 2169319"/>
                        <a:gd name="connsiteY80" fmla="*/ 633413 h 1862138"/>
                        <a:gd name="connsiteX81" fmla="*/ 2097882 w 2169319"/>
                        <a:gd name="connsiteY81" fmla="*/ 690563 h 1862138"/>
                        <a:gd name="connsiteX82" fmla="*/ 2093119 w 2169319"/>
                        <a:gd name="connsiteY82" fmla="*/ 716757 h 1862138"/>
                        <a:gd name="connsiteX83" fmla="*/ 1905000 w 2169319"/>
                        <a:gd name="connsiteY83" fmla="*/ 831057 h 1862138"/>
                        <a:gd name="connsiteX84" fmla="*/ 1888332 w 2169319"/>
                        <a:gd name="connsiteY84" fmla="*/ 888207 h 1862138"/>
                        <a:gd name="connsiteX85" fmla="*/ 1895475 w 2169319"/>
                        <a:gd name="connsiteY85" fmla="*/ 1012032 h 1862138"/>
                        <a:gd name="connsiteX86" fmla="*/ 1940719 w 2169319"/>
                        <a:gd name="connsiteY86" fmla="*/ 1100138 h 1862138"/>
                        <a:gd name="connsiteX87" fmla="*/ 1978819 w 2169319"/>
                        <a:gd name="connsiteY87" fmla="*/ 1183482 h 1862138"/>
                        <a:gd name="connsiteX88" fmla="*/ 1966913 w 2169319"/>
                        <a:gd name="connsiteY88" fmla="*/ 1216819 h 1862138"/>
                        <a:gd name="connsiteX89" fmla="*/ 1952625 w 2169319"/>
                        <a:gd name="connsiteY89" fmla="*/ 1273969 h 1862138"/>
                        <a:gd name="connsiteX90" fmla="*/ 1907382 w 2169319"/>
                        <a:gd name="connsiteY90" fmla="*/ 1288257 h 1862138"/>
                        <a:gd name="connsiteX91" fmla="*/ 1885950 w 2169319"/>
                        <a:gd name="connsiteY91" fmla="*/ 1302544 h 1862138"/>
                        <a:gd name="connsiteX92" fmla="*/ 1850232 w 2169319"/>
                        <a:gd name="connsiteY92" fmla="*/ 1350169 h 1862138"/>
                        <a:gd name="connsiteX93" fmla="*/ 1828800 w 2169319"/>
                        <a:gd name="connsiteY93" fmla="*/ 1371600 h 1862138"/>
                        <a:gd name="connsiteX94" fmla="*/ 1783557 w 2169319"/>
                        <a:gd name="connsiteY94" fmla="*/ 1369219 h 1862138"/>
                        <a:gd name="connsiteX95" fmla="*/ 1752600 w 2169319"/>
                        <a:gd name="connsiteY95" fmla="*/ 1321594 h 1862138"/>
                        <a:gd name="connsiteX96" fmla="*/ 1674019 w 2169319"/>
                        <a:gd name="connsiteY96" fmla="*/ 1345407 h 1862138"/>
                        <a:gd name="connsiteX97" fmla="*/ 1626394 w 2169319"/>
                        <a:gd name="connsiteY97" fmla="*/ 1366838 h 1862138"/>
                        <a:gd name="connsiteX98" fmla="*/ 1552575 w 2169319"/>
                        <a:gd name="connsiteY98" fmla="*/ 1376363 h 1862138"/>
                        <a:gd name="connsiteX99" fmla="*/ 1507332 w 2169319"/>
                        <a:gd name="connsiteY99" fmla="*/ 1357313 h 1862138"/>
                        <a:gd name="connsiteX100" fmla="*/ 1447800 w 2169319"/>
                        <a:gd name="connsiteY100" fmla="*/ 1321594 h 1862138"/>
                        <a:gd name="connsiteX101" fmla="*/ 1407319 w 2169319"/>
                        <a:gd name="connsiteY101" fmla="*/ 1331119 h 1862138"/>
                        <a:gd name="connsiteX102" fmla="*/ 1390650 w 2169319"/>
                        <a:gd name="connsiteY102" fmla="*/ 1516857 h 1862138"/>
                        <a:gd name="connsiteX103" fmla="*/ 1359694 w 2169319"/>
                        <a:gd name="connsiteY103" fmla="*/ 1859757 h 1862138"/>
                        <a:gd name="connsiteX104" fmla="*/ 1357313 w 2169319"/>
                        <a:gd name="connsiteY104" fmla="*/ 1862138 h 1862138"/>
                        <a:gd name="connsiteX105" fmla="*/ 1312069 w 2169319"/>
                        <a:gd name="connsiteY105" fmla="*/ 1852613 h 1862138"/>
                        <a:gd name="connsiteX106" fmla="*/ 1285875 w 2169319"/>
                        <a:gd name="connsiteY106" fmla="*/ 1802607 h 1862138"/>
                        <a:gd name="connsiteX107" fmla="*/ 1262063 w 2169319"/>
                        <a:gd name="connsiteY107" fmla="*/ 1785938 h 1862138"/>
                        <a:gd name="connsiteX108" fmla="*/ 1204913 w 2169319"/>
                        <a:gd name="connsiteY108" fmla="*/ 1738313 h 1862138"/>
                        <a:gd name="connsiteX109" fmla="*/ 1166813 w 2169319"/>
                        <a:gd name="connsiteY109" fmla="*/ 1681163 h 1862138"/>
                        <a:gd name="connsiteX110" fmla="*/ 1150144 w 2169319"/>
                        <a:gd name="connsiteY110" fmla="*/ 1643064 h 1862138"/>
                        <a:gd name="connsiteX111" fmla="*/ 1150144 w 2169319"/>
                        <a:gd name="connsiteY111" fmla="*/ 1602582 h 1862138"/>
                        <a:gd name="connsiteX112" fmla="*/ 1097757 w 2169319"/>
                        <a:gd name="connsiteY112" fmla="*/ 1554957 h 1862138"/>
                        <a:gd name="connsiteX113" fmla="*/ 1057275 w 2169319"/>
                        <a:gd name="connsiteY113" fmla="*/ 1569244 h 1862138"/>
                        <a:gd name="connsiteX114" fmla="*/ 1057275 w 2169319"/>
                        <a:gd name="connsiteY114" fmla="*/ 1569244 h 1862138"/>
                        <a:gd name="connsiteX115" fmla="*/ 1028700 w 2169319"/>
                        <a:gd name="connsiteY115" fmla="*/ 1583532 h 1862138"/>
                        <a:gd name="connsiteX116" fmla="*/ 873919 w 2169319"/>
                        <a:gd name="connsiteY116" fmla="*/ 1581150 h 1862138"/>
                        <a:gd name="connsiteX117" fmla="*/ 845344 w 2169319"/>
                        <a:gd name="connsiteY117" fmla="*/ 1571625 h 1862138"/>
                        <a:gd name="connsiteX118" fmla="*/ 785813 w 2169319"/>
                        <a:gd name="connsiteY118" fmla="*/ 1519238 h 1862138"/>
                        <a:gd name="connsiteX119" fmla="*/ 752475 w 2169319"/>
                        <a:gd name="connsiteY119" fmla="*/ 1516857 h 1862138"/>
                        <a:gd name="connsiteX120" fmla="*/ 685800 w 2169319"/>
                        <a:gd name="connsiteY120" fmla="*/ 1571625 h 1862138"/>
                        <a:gd name="connsiteX121" fmla="*/ 638175 w 2169319"/>
                        <a:gd name="connsiteY121" fmla="*/ 1578769 h 1862138"/>
                        <a:gd name="connsiteX122" fmla="*/ 590550 w 2169319"/>
                        <a:gd name="connsiteY122" fmla="*/ 1566863 h 1862138"/>
                        <a:gd name="connsiteX123" fmla="*/ 552450 w 2169319"/>
                        <a:gd name="connsiteY123" fmla="*/ 1514475 h 1862138"/>
                        <a:gd name="connsiteX124" fmla="*/ 483394 w 2169319"/>
                        <a:gd name="connsiteY124" fmla="*/ 1552575 h 1862138"/>
                        <a:gd name="connsiteX125" fmla="*/ 404813 w 2169319"/>
                        <a:gd name="connsiteY125" fmla="*/ 1521619 h 1862138"/>
                        <a:gd name="connsiteX126" fmla="*/ 388144 w 2169319"/>
                        <a:gd name="connsiteY126" fmla="*/ 1500188 h 1862138"/>
                        <a:gd name="connsiteX127" fmla="*/ 273845 w 2169319"/>
                        <a:gd name="connsiteY127" fmla="*/ 1524000 h 1862138"/>
                        <a:gd name="connsiteX128" fmla="*/ 207169 w 2169319"/>
                        <a:gd name="connsiteY128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1919 w 2169319"/>
                        <a:gd name="connsiteY8" fmla="*/ 1288257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6 w 2169319"/>
                        <a:gd name="connsiteY15" fmla="*/ 1035844 h 1862138"/>
                        <a:gd name="connsiteX16" fmla="*/ 47625 w 2169319"/>
                        <a:gd name="connsiteY16" fmla="*/ 1014413 h 1862138"/>
                        <a:gd name="connsiteX17" fmla="*/ 19050 w 2169319"/>
                        <a:gd name="connsiteY17" fmla="*/ 962025 h 1862138"/>
                        <a:gd name="connsiteX18" fmla="*/ 21432 w 2169319"/>
                        <a:gd name="connsiteY18" fmla="*/ 914400 h 1862138"/>
                        <a:gd name="connsiteX19" fmla="*/ 40482 w 2169319"/>
                        <a:gd name="connsiteY19" fmla="*/ 900113 h 1862138"/>
                        <a:gd name="connsiteX20" fmla="*/ 61913 w 2169319"/>
                        <a:gd name="connsiteY20" fmla="*/ 864394 h 1862138"/>
                        <a:gd name="connsiteX21" fmla="*/ 16669 w 2169319"/>
                        <a:gd name="connsiteY21" fmla="*/ 809625 h 1862138"/>
                        <a:gd name="connsiteX22" fmla="*/ 0 w 2169319"/>
                        <a:gd name="connsiteY22" fmla="*/ 757238 h 1862138"/>
                        <a:gd name="connsiteX23" fmla="*/ 0 w 2169319"/>
                        <a:gd name="connsiteY23" fmla="*/ 683419 h 1862138"/>
                        <a:gd name="connsiteX24" fmla="*/ 28575 w 2169319"/>
                        <a:gd name="connsiteY24" fmla="*/ 640557 h 1862138"/>
                        <a:gd name="connsiteX25" fmla="*/ 76200 w 2169319"/>
                        <a:gd name="connsiteY25" fmla="*/ 600075 h 1862138"/>
                        <a:gd name="connsiteX26" fmla="*/ 107157 w 2169319"/>
                        <a:gd name="connsiteY26" fmla="*/ 583407 h 1862138"/>
                        <a:gd name="connsiteX27" fmla="*/ 135732 w 2169319"/>
                        <a:gd name="connsiteY27" fmla="*/ 600075 h 1862138"/>
                        <a:gd name="connsiteX28" fmla="*/ 164307 w 2169319"/>
                        <a:gd name="connsiteY28" fmla="*/ 602457 h 1862138"/>
                        <a:gd name="connsiteX29" fmla="*/ 180975 w 2169319"/>
                        <a:gd name="connsiteY29" fmla="*/ 600075 h 1862138"/>
                        <a:gd name="connsiteX30" fmla="*/ 226219 w 2169319"/>
                        <a:gd name="connsiteY30" fmla="*/ 590550 h 1862138"/>
                        <a:gd name="connsiteX31" fmla="*/ 252413 w 2169319"/>
                        <a:gd name="connsiteY31" fmla="*/ 559594 h 1862138"/>
                        <a:gd name="connsiteX32" fmla="*/ 280988 w 2169319"/>
                        <a:gd name="connsiteY32" fmla="*/ 514350 h 1862138"/>
                        <a:gd name="connsiteX33" fmla="*/ 290513 w 2169319"/>
                        <a:gd name="connsiteY33" fmla="*/ 483394 h 1862138"/>
                        <a:gd name="connsiteX34" fmla="*/ 273844 w 2169319"/>
                        <a:gd name="connsiteY34" fmla="*/ 447675 h 1862138"/>
                        <a:gd name="connsiteX35" fmla="*/ 276225 w 2169319"/>
                        <a:gd name="connsiteY35" fmla="*/ 407194 h 1862138"/>
                        <a:gd name="connsiteX36" fmla="*/ 226219 w 2169319"/>
                        <a:gd name="connsiteY36" fmla="*/ 350044 h 1862138"/>
                        <a:gd name="connsiteX37" fmla="*/ 157163 w 2169319"/>
                        <a:gd name="connsiteY37" fmla="*/ 280988 h 1862138"/>
                        <a:gd name="connsiteX38" fmla="*/ 152400 w 2169319"/>
                        <a:gd name="connsiteY38" fmla="*/ 233363 h 1862138"/>
                        <a:gd name="connsiteX39" fmla="*/ 192882 w 2169319"/>
                        <a:gd name="connsiteY39" fmla="*/ 195263 h 1862138"/>
                        <a:gd name="connsiteX40" fmla="*/ 242888 w 2169319"/>
                        <a:gd name="connsiteY40" fmla="*/ 123825 h 1862138"/>
                        <a:gd name="connsiteX41" fmla="*/ 290513 w 2169319"/>
                        <a:gd name="connsiteY41" fmla="*/ 83344 h 1862138"/>
                        <a:gd name="connsiteX42" fmla="*/ 319088 w 2169319"/>
                        <a:gd name="connsiteY42" fmla="*/ 0 h 1862138"/>
                        <a:gd name="connsiteX43" fmla="*/ 540544 w 2169319"/>
                        <a:gd name="connsiteY43" fmla="*/ 304800 h 1862138"/>
                        <a:gd name="connsiteX44" fmla="*/ 552450 w 2169319"/>
                        <a:gd name="connsiteY44" fmla="*/ 316707 h 1862138"/>
                        <a:gd name="connsiteX45" fmla="*/ 597694 w 2169319"/>
                        <a:gd name="connsiteY45" fmla="*/ 257175 h 1862138"/>
                        <a:gd name="connsiteX46" fmla="*/ 626269 w 2169319"/>
                        <a:gd name="connsiteY46" fmla="*/ 238125 h 1862138"/>
                        <a:gd name="connsiteX47" fmla="*/ 621507 w 2169319"/>
                        <a:gd name="connsiteY47" fmla="*/ 169069 h 1862138"/>
                        <a:gd name="connsiteX48" fmla="*/ 633413 w 2169319"/>
                        <a:gd name="connsiteY48" fmla="*/ 140494 h 1862138"/>
                        <a:gd name="connsiteX49" fmla="*/ 719138 w 2169319"/>
                        <a:gd name="connsiteY49" fmla="*/ 140494 h 1862138"/>
                        <a:gd name="connsiteX50" fmla="*/ 752475 w 2169319"/>
                        <a:gd name="connsiteY50" fmla="*/ 147638 h 1862138"/>
                        <a:gd name="connsiteX51" fmla="*/ 764382 w 2169319"/>
                        <a:gd name="connsiteY51" fmla="*/ 197644 h 1862138"/>
                        <a:gd name="connsiteX52" fmla="*/ 809625 w 2169319"/>
                        <a:gd name="connsiteY52" fmla="*/ 214313 h 1862138"/>
                        <a:gd name="connsiteX53" fmla="*/ 847725 w 2169319"/>
                        <a:gd name="connsiteY53" fmla="*/ 264319 h 1862138"/>
                        <a:gd name="connsiteX54" fmla="*/ 890588 w 2169319"/>
                        <a:gd name="connsiteY54" fmla="*/ 280988 h 1862138"/>
                        <a:gd name="connsiteX55" fmla="*/ 950119 w 2169319"/>
                        <a:gd name="connsiteY55" fmla="*/ 235744 h 1862138"/>
                        <a:gd name="connsiteX56" fmla="*/ 1028700 w 2169319"/>
                        <a:gd name="connsiteY56" fmla="*/ 238125 h 1862138"/>
                        <a:gd name="connsiteX57" fmla="*/ 1095375 w 2169319"/>
                        <a:gd name="connsiteY57" fmla="*/ 157163 h 1862138"/>
                        <a:gd name="connsiteX58" fmla="*/ 1147763 w 2169319"/>
                        <a:gd name="connsiteY58" fmla="*/ 161925 h 1862138"/>
                        <a:gd name="connsiteX59" fmla="*/ 1166813 w 2169319"/>
                        <a:gd name="connsiteY59" fmla="*/ 145257 h 1862138"/>
                        <a:gd name="connsiteX60" fmla="*/ 1188244 w 2169319"/>
                        <a:gd name="connsiteY60" fmla="*/ 123825 h 1862138"/>
                        <a:gd name="connsiteX61" fmla="*/ 1259682 w 2169319"/>
                        <a:gd name="connsiteY61" fmla="*/ 123825 h 1862138"/>
                        <a:gd name="connsiteX62" fmla="*/ 1359694 w 2169319"/>
                        <a:gd name="connsiteY62" fmla="*/ 154782 h 1862138"/>
                        <a:gd name="connsiteX63" fmla="*/ 1423988 w 2169319"/>
                        <a:gd name="connsiteY63" fmla="*/ 250032 h 1862138"/>
                        <a:gd name="connsiteX64" fmla="*/ 1440657 w 2169319"/>
                        <a:gd name="connsiteY64" fmla="*/ 264319 h 1862138"/>
                        <a:gd name="connsiteX65" fmla="*/ 1454944 w 2169319"/>
                        <a:gd name="connsiteY65" fmla="*/ 304800 h 1862138"/>
                        <a:gd name="connsiteX66" fmla="*/ 1583532 w 2169319"/>
                        <a:gd name="connsiteY66" fmla="*/ 321469 h 1862138"/>
                        <a:gd name="connsiteX67" fmla="*/ 1654969 w 2169319"/>
                        <a:gd name="connsiteY67" fmla="*/ 423863 h 1862138"/>
                        <a:gd name="connsiteX68" fmla="*/ 1728788 w 2169319"/>
                        <a:gd name="connsiteY68" fmla="*/ 454819 h 1862138"/>
                        <a:gd name="connsiteX69" fmla="*/ 1864519 w 2169319"/>
                        <a:gd name="connsiteY69" fmla="*/ 466725 h 1862138"/>
                        <a:gd name="connsiteX70" fmla="*/ 1909763 w 2169319"/>
                        <a:gd name="connsiteY70" fmla="*/ 450057 h 1862138"/>
                        <a:gd name="connsiteX71" fmla="*/ 1995488 w 2169319"/>
                        <a:gd name="connsiteY71" fmla="*/ 364332 h 1862138"/>
                        <a:gd name="connsiteX72" fmla="*/ 2021682 w 2169319"/>
                        <a:gd name="connsiteY72" fmla="*/ 400050 h 1862138"/>
                        <a:gd name="connsiteX73" fmla="*/ 2069307 w 2169319"/>
                        <a:gd name="connsiteY73" fmla="*/ 435769 h 1862138"/>
                        <a:gd name="connsiteX74" fmla="*/ 2093119 w 2169319"/>
                        <a:gd name="connsiteY74" fmla="*/ 466725 h 1862138"/>
                        <a:gd name="connsiteX75" fmla="*/ 2105025 w 2169319"/>
                        <a:gd name="connsiteY75" fmla="*/ 488157 h 1862138"/>
                        <a:gd name="connsiteX76" fmla="*/ 2169319 w 2169319"/>
                        <a:gd name="connsiteY76" fmla="*/ 483394 h 1862138"/>
                        <a:gd name="connsiteX77" fmla="*/ 2169319 w 2169319"/>
                        <a:gd name="connsiteY77" fmla="*/ 521494 h 1862138"/>
                        <a:gd name="connsiteX78" fmla="*/ 2119313 w 2169319"/>
                        <a:gd name="connsiteY78" fmla="*/ 521494 h 1862138"/>
                        <a:gd name="connsiteX79" fmla="*/ 2045494 w 2169319"/>
                        <a:gd name="connsiteY79" fmla="*/ 578644 h 1862138"/>
                        <a:gd name="connsiteX80" fmla="*/ 2090738 w 2169319"/>
                        <a:gd name="connsiteY80" fmla="*/ 633413 h 1862138"/>
                        <a:gd name="connsiteX81" fmla="*/ 2097882 w 2169319"/>
                        <a:gd name="connsiteY81" fmla="*/ 690563 h 1862138"/>
                        <a:gd name="connsiteX82" fmla="*/ 2093119 w 2169319"/>
                        <a:gd name="connsiteY82" fmla="*/ 716757 h 1862138"/>
                        <a:gd name="connsiteX83" fmla="*/ 1905000 w 2169319"/>
                        <a:gd name="connsiteY83" fmla="*/ 831057 h 1862138"/>
                        <a:gd name="connsiteX84" fmla="*/ 1888332 w 2169319"/>
                        <a:gd name="connsiteY84" fmla="*/ 888207 h 1862138"/>
                        <a:gd name="connsiteX85" fmla="*/ 1895475 w 2169319"/>
                        <a:gd name="connsiteY85" fmla="*/ 1012032 h 1862138"/>
                        <a:gd name="connsiteX86" fmla="*/ 1940719 w 2169319"/>
                        <a:gd name="connsiteY86" fmla="*/ 1100138 h 1862138"/>
                        <a:gd name="connsiteX87" fmla="*/ 1978819 w 2169319"/>
                        <a:gd name="connsiteY87" fmla="*/ 1183482 h 1862138"/>
                        <a:gd name="connsiteX88" fmla="*/ 1966913 w 2169319"/>
                        <a:gd name="connsiteY88" fmla="*/ 1216819 h 1862138"/>
                        <a:gd name="connsiteX89" fmla="*/ 1952625 w 2169319"/>
                        <a:gd name="connsiteY89" fmla="*/ 1273969 h 1862138"/>
                        <a:gd name="connsiteX90" fmla="*/ 1907382 w 2169319"/>
                        <a:gd name="connsiteY90" fmla="*/ 1288257 h 1862138"/>
                        <a:gd name="connsiteX91" fmla="*/ 1885950 w 2169319"/>
                        <a:gd name="connsiteY91" fmla="*/ 1302544 h 1862138"/>
                        <a:gd name="connsiteX92" fmla="*/ 1850232 w 2169319"/>
                        <a:gd name="connsiteY92" fmla="*/ 1350169 h 1862138"/>
                        <a:gd name="connsiteX93" fmla="*/ 1828800 w 2169319"/>
                        <a:gd name="connsiteY93" fmla="*/ 1371600 h 1862138"/>
                        <a:gd name="connsiteX94" fmla="*/ 1783557 w 2169319"/>
                        <a:gd name="connsiteY94" fmla="*/ 1369219 h 1862138"/>
                        <a:gd name="connsiteX95" fmla="*/ 1752600 w 2169319"/>
                        <a:gd name="connsiteY95" fmla="*/ 1321594 h 1862138"/>
                        <a:gd name="connsiteX96" fmla="*/ 1674019 w 2169319"/>
                        <a:gd name="connsiteY96" fmla="*/ 1345407 h 1862138"/>
                        <a:gd name="connsiteX97" fmla="*/ 1626394 w 2169319"/>
                        <a:gd name="connsiteY97" fmla="*/ 1366838 h 1862138"/>
                        <a:gd name="connsiteX98" fmla="*/ 1552575 w 2169319"/>
                        <a:gd name="connsiteY98" fmla="*/ 1376363 h 1862138"/>
                        <a:gd name="connsiteX99" fmla="*/ 1507332 w 2169319"/>
                        <a:gd name="connsiteY99" fmla="*/ 1357313 h 1862138"/>
                        <a:gd name="connsiteX100" fmla="*/ 1447800 w 2169319"/>
                        <a:gd name="connsiteY100" fmla="*/ 1321594 h 1862138"/>
                        <a:gd name="connsiteX101" fmla="*/ 1407319 w 2169319"/>
                        <a:gd name="connsiteY101" fmla="*/ 1331119 h 1862138"/>
                        <a:gd name="connsiteX102" fmla="*/ 1390650 w 2169319"/>
                        <a:gd name="connsiteY102" fmla="*/ 1516857 h 1862138"/>
                        <a:gd name="connsiteX103" fmla="*/ 1359694 w 2169319"/>
                        <a:gd name="connsiteY103" fmla="*/ 1859757 h 1862138"/>
                        <a:gd name="connsiteX104" fmla="*/ 1357313 w 2169319"/>
                        <a:gd name="connsiteY104" fmla="*/ 1862138 h 1862138"/>
                        <a:gd name="connsiteX105" fmla="*/ 1312069 w 2169319"/>
                        <a:gd name="connsiteY105" fmla="*/ 1852613 h 1862138"/>
                        <a:gd name="connsiteX106" fmla="*/ 1285875 w 2169319"/>
                        <a:gd name="connsiteY106" fmla="*/ 1802607 h 1862138"/>
                        <a:gd name="connsiteX107" fmla="*/ 1262063 w 2169319"/>
                        <a:gd name="connsiteY107" fmla="*/ 1785938 h 1862138"/>
                        <a:gd name="connsiteX108" fmla="*/ 1204913 w 2169319"/>
                        <a:gd name="connsiteY108" fmla="*/ 1738313 h 1862138"/>
                        <a:gd name="connsiteX109" fmla="*/ 1166813 w 2169319"/>
                        <a:gd name="connsiteY109" fmla="*/ 1681163 h 1862138"/>
                        <a:gd name="connsiteX110" fmla="*/ 1150144 w 2169319"/>
                        <a:gd name="connsiteY110" fmla="*/ 1643064 h 1862138"/>
                        <a:gd name="connsiteX111" fmla="*/ 1150144 w 2169319"/>
                        <a:gd name="connsiteY111" fmla="*/ 1602582 h 1862138"/>
                        <a:gd name="connsiteX112" fmla="*/ 1097757 w 2169319"/>
                        <a:gd name="connsiteY112" fmla="*/ 1554957 h 1862138"/>
                        <a:gd name="connsiteX113" fmla="*/ 1057275 w 2169319"/>
                        <a:gd name="connsiteY113" fmla="*/ 1569244 h 1862138"/>
                        <a:gd name="connsiteX114" fmla="*/ 1057275 w 2169319"/>
                        <a:gd name="connsiteY114" fmla="*/ 1569244 h 1862138"/>
                        <a:gd name="connsiteX115" fmla="*/ 1028700 w 2169319"/>
                        <a:gd name="connsiteY115" fmla="*/ 1583532 h 1862138"/>
                        <a:gd name="connsiteX116" fmla="*/ 873919 w 2169319"/>
                        <a:gd name="connsiteY116" fmla="*/ 1581150 h 1862138"/>
                        <a:gd name="connsiteX117" fmla="*/ 845344 w 2169319"/>
                        <a:gd name="connsiteY117" fmla="*/ 1571625 h 1862138"/>
                        <a:gd name="connsiteX118" fmla="*/ 785813 w 2169319"/>
                        <a:gd name="connsiteY118" fmla="*/ 1519238 h 1862138"/>
                        <a:gd name="connsiteX119" fmla="*/ 752475 w 2169319"/>
                        <a:gd name="connsiteY119" fmla="*/ 1516857 h 1862138"/>
                        <a:gd name="connsiteX120" fmla="*/ 685800 w 2169319"/>
                        <a:gd name="connsiteY120" fmla="*/ 1571625 h 1862138"/>
                        <a:gd name="connsiteX121" fmla="*/ 638175 w 2169319"/>
                        <a:gd name="connsiteY121" fmla="*/ 1578769 h 1862138"/>
                        <a:gd name="connsiteX122" fmla="*/ 590550 w 2169319"/>
                        <a:gd name="connsiteY122" fmla="*/ 1566863 h 1862138"/>
                        <a:gd name="connsiteX123" fmla="*/ 552450 w 2169319"/>
                        <a:gd name="connsiteY123" fmla="*/ 1514475 h 1862138"/>
                        <a:gd name="connsiteX124" fmla="*/ 483394 w 2169319"/>
                        <a:gd name="connsiteY124" fmla="*/ 1552575 h 1862138"/>
                        <a:gd name="connsiteX125" fmla="*/ 404813 w 2169319"/>
                        <a:gd name="connsiteY125" fmla="*/ 1521619 h 1862138"/>
                        <a:gd name="connsiteX126" fmla="*/ 388144 w 2169319"/>
                        <a:gd name="connsiteY126" fmla="*/ 1500188 h 1862138"/>
                        <a:gd name="connsiteX127" fmla="*/ 273845 w 2169319"/>
                        <a:gd name="connsiteY127" fmla="*/ 1524000 h 1862138"/>
                        <a:gd name="connsiteX128" fmla="*/ 207169 w 2169319"/>
                        <a:gd name="connsiteY128" fmla="*/ 1562100 h 18621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  <a:cxn ang="0">
                          <a:pos x="connsiteX101" y="connsiteY101"/>
                        </a:cxn>
                        <a:cxn ang="0">
                          <a:pos x="connsiteX102" y="connsiteY102"/>
                        </a:cxn>
                        <a:cxn ang="0">
                          <a:pos x="connsiteX103" y="connsiteY103"/>
                        </a:cxn>
                        <a:cxn ang="0">
                          <a:pos x="connsiteX104" y="connsiteY104"/>
                        </a:cxn>
                        <a:cxn ang="0">
                          <a:pos x="connsiteX105" y="connsiteY105"/>
                        </a:cxn>
                        <a:cxn ang="0">
                          <a:pos x="connsiteX106" y="connsiteY106"/>
                        </a:cxn>
                        <a:cxn ang="0">
                          <a:pos x="connsiteX107" y="connsiteY107"/>
                        </a:cxn>
                        <a:cxn ang="0">
                          <a:pos x="connsiteX108" y="connsiteY108"/>
                        </a:cxn>
                        <a:cxn ang="0">
                          <a:pos x="connsiteX109" y="connsiteY109"/>
                        </a:cxn>
                        <a:cxn ang="0">
                          <a:pos x="connsiteX110" y="connsiteY110"/>
                        </a:cxn>
                        <a:cxn ang="0">
                          <a:pos x="connsiteX111" y="connsiteY111"/>
                        </a:cxn>
                        <a:cxn ang="0">
                          <a:pos x="connsiteX112" y="connsiteY112"/>
                        </a:cxn>
                        <a:cxn ang="0">
                          <a:pos x="connsiteX113" y="connsiteY113"/>
                        </a:cxn>
                        <a:cxn ang="0">
                          <a:pos x="connsiteX114" y="connsiteY114"/>
                        </a:cxn>
                        <a:cxn ang="0">
                          <a:pos x="connsiteX115" y="connsiteY115"/>
                        </a:cxn>
                        <a:cxn ang="0">
                          <a:pos x="connsiteX116" y="connsiteY116"/>
                        </a:cxn>
                        <a:cxn ang="0">
                          <a:pos x="connsiteX117" y="connsiteY117"/>
                        </a:cxn>
                        <a:cxn ang="0">
                          <a:pos x="connsiteX118" y="connsiteY118"/>
                        </a:cxn>
                        <a:cxn ang="0">
                          <a:pos x="connsiteX119" y="connsiteY119"/>
                        </a:cxn>
                        <a:cxn ang="0">
                          <a:pos x="connsiteX120" y="connsiteY120"/>
                        </a:cxn>
                        <a:cxn ang="0">
                          <a:pos x="connsiteX121" y="connsiteY121"/>
                        </a:cxn>
                        <a:cxn ang="0">
                          <a:pos x="connsiteX122" y="connsiteY122"/>
                        </a:cxn>
                        <a:cxn ang="0">
                          <a:pos x="connsiteX123" y="connsiteY123"/>
                        </a:cxn>
                        <a:cxn ang="0">
                          <a:pos x="connsiteX124" y="connsiteY124"/>
                        </a:cxn>
                        <a:cxn ang="0">
                          <a:pos x="connsiteX125" y="connsiteY125"/>
                        </a:cxn>
                        <a:cxn ang="0">
                          <a:pos x="connsiteX126" y="connsiteY126"/>
                        </a:cxn>
                        <a:cxn ang="0">
                          <a:pos x="connsiteX127" y="connsiteY127"/>
                        </a:cxn>
                        <a:cxn ang="0">
                          <a:pos x="connsiteX128" y="connsiteY128"/>
                        </a:cxn>
                      </a:cxnLst>
                      <a:rect l="l" t="t" r="r" b="b"/>
                      <a:pathLst>
                        <a:path w="2169319" h="1862138">
                          <a:moveTo>
                            <a:pt x="207169" y="1562100"/>
                          </a:moveTo>
                          <a:lnTo>
                            <a:pt x="138113" y="1569244"/>
                          </a:lnTo>
                          <a:lnTo>
                            <a:pt x="95250" y="1607344"/>
                          </a:lnTo>
                          <a:lnTo>
                            <a:pt x="78582" y="1614488"/>
                          </a:lnTo>
                          <a:lnTo>
                            <a:pt x="16669" y="1538288"/>
                          </a:lnTo>
                          <a:lnTo>
                            <a:pt x="52388" y="1514475"/>
                          </a:lnTo>
                          <a:lnTo>
                            <a:pt x="66675" y="1495425"/>
                          </a:lnTo>
                          <a:lnTo>
                            <a:pt x="66675" y="1345407"/>
                          </a:lnTo>
                          <a:lnTo>
                            <a:pt x="111919" y="1288257"/>
                          </a:lnTo>
                          <a:lnTo>
                            <a:pt x="28575" y="1195388"/>
                          </a:lnTo>
                          <a:lnTo>
                            <a:pt x="16669" y="1154907"/>
                          </a:lnTo>
                          <a:lnTo>
                            <a:pt x="38100" y="1126332"/>
                          </a:lnTo>
                          <a:lnTo>
                            <a:pt x="64294" y="1119188"/>
                          </a:lnTo>
                          <a:lnTo>
                            <a:pt x="76200" y="1102519"/>
                          </a:lnTo>
                          <a:lnTo>
                            <a:pt x="85725" y="1064419"/>
                          </a:lnTo>
                          <a:lnTo>
                            <a:pt x="47626" y="1035844"/>
                          </a:lnTo>
                          <a:cubicBezTo>
                            <a:pt x="47626" y="1028700"/>
                            <a:pt x="47625" y="1021557"/>
                            <a:pt x="47625" y="1014413"/>
                          </a:cubicBezTo>
                          <a:lnTo>
                            <a:pt x="19050" y="962025"/>
                          </a:lnTo>
                          <a:lnTo>
                            <a:pt x="21432" y="914400"/>
                          </a:lnTo>
                          <a:cubicBezTo>
                            <a:pt x="39014" y="901841"/>
                            <a:pt x="33271" y="907321"/>
                            <a:pt x="40482" y="900113"/>
                          </a:cubicBezTo>
                          <a:lnTo>
                            <a:pt x="61913" y="864394"/>
                          </a:lnTo>
                          <a:lnTo>
                            <a:pt x="16669" y="809625"/>
                          </a:lnTo>
                          <a:lnTo>
                            <a:pt x="0" y="757238"/>
                          </a:lnTo>
                          <a:lnTo>
                            <a:pt x="0" y="683419"/>
                          </a:lnTo>
                          <a:lnTo>
                            <a:pt x="28575" y="640557"/>
                          </a:lnTo>
                          <a:lnTo>
                            <a:pt x="76200" y="600075"/>
                          </a:lnTo>
                          <a:lnTo>
                            <a:pt x="107157" y="583407"/>
                          </a:lnTo>
                          <a:lnTo>
                            <a:pt x="135732" y="600075"/>
                          </a:lnTo>
                          <a:cubicBezTo>
                            <a:pt x="159530" y="602720"/>
                            <a:pt x="149975" y="602457"/>
                            <a:pt x="164307" y="602457"/>
                          </a:cubicBezTo>
                          <a:lnTo>
                            <a:pt x="180975" y="600075"/>
                          </a:lnTo>
                          <a:lnTo>
                            <a:pt x="226219" y="590550"/>
                          </a:lnTo>
                          <a:lnTo>
                            <a:pt x="252413" y="559594"/>
                          </a:lnTo>
                          <a:lnTo>
                            <a:pt x="280988" y="514350"/>
                          </a:lnTo>
                          <a:lnTo>
                            <a:pt x="290513" y="483394"/>
                          </a:lnTo>
                          <a:lnTo>
                            <a:pt x="273844" y="447675"/>
                          </a:lnTo>
                          <a:lnTo>
                            <a:pt x="276225" y="407194"/>
                          </a:lnTo>
                          <a:lnTo>
                            <a:pt x="226219" y="350044"/>
                          </a:lnTo>
                          <a:lnTo>
                            <a:pt x="157163" y="280988"/>
                          </a:lnTo>
                          <a:lnTo>
                            <a:pt x="152400" y="233363"/>
                          </a:lnTo>
                          <a:lnTo>
                            <a:pt x="192882" y="195263"/>
                          </a:lnTo>
                          <a:lnTo>
                            <a:pt x="242888" y="123825"/>
                          </a:lnTo>
                          <a:lnTo>
                            <a:pt x="290513" y="83344"/>
                          </a:lnTo>
                          <a:lnTo>
                            <a:pt x="319088" y="0"/>
                          </a:lnTo>
                          <a:lnTo>
                            <a:pt x="540544" y="304800"/>
                          </a:lnTo>
                          <a:lnTo>
                            <a:pt x="552450" y="316707"/>
                          </a:lnTo>
                          <a:lnTo>
                            <a:pt x="597694" y="257175"/>
                          </a:lnTo>
                          <a:lnTo>
                            <a:pt x="626269" y="238125"/>
                          </a:lnTo>
                          <a:lnTo>
                            <a:pt x="621507" y="169069"/>
                          </a:lnTo>
                          <a:lnTo>
                            <a:pt x="633413" y="140494"/>
                          </a:lnTo>
                          <a:lnTo>
                            <a:pt x="719138" y="140494"/>
                          </a:lnTo>
                          <a:lnTo>
                            <a:pt x="752475" y="147638"/>
                          </a:lnTo>
                          <a:lnTo>
                            <a:pt x="764382" y="197644"/>
                          </a:lnTo>
                          <a:lnTo>
                            <a:pt x="809625" y="214313"/>
                          </a:lnTo>
                          <a:lnTo>
                            <a:pt x="847725" y="264319"/>
                          </a:lnTo>
                          <a:lnTo>
                            <a:pt x="890588" y="280988"/>
                          </a:lnTo>
                          <a:lnTo>
                            <a:pt x="950119" y="235744"/>
                          </a:lnTo>
                          <a:lnTo>
                            <a:pt x="1028700" y="238125"/>
                          </a:lnTo>
                          <a:lnTo>
                            <a:pt x="1095375" y="157163"/>
                          </a:lnTo>
                          <a:lnTo>
                            <a:pt x="1147763" y="161925"/>
                          </a:lnTo>
                          <a:lnTo>
                            <a:pt x="1166813" y="145257"/>
                          </a:lnTo>
                          <a:lnTo>
                            <a:pt x="1188244" y="123825"/>
                          </a:lnTo>
                          <a:lnTo>
                            <a:pt x="1259682" y="123825"/>
                          </a:lnTo>
                          <a:lnTo>
                            <a:pt x="1359694" y="154782"/>
                          </a:lnTo>
                          <a:lnTo>
                            <a:pt x="1423988" y="250032"/>
                          </a:lnTo>
                          <a:lnTo>
                            <a:pt x="1440657" y="264319"/>
                          </a:lnTo>
                          <a:lnTo>
                            <a:pt x="1454944" y="304800"/>
                          </a:lnTo>
                          <a:lnTo>
                            <a:pt x="1583532" y="321469"/>
                          </a:lnTo>
                          <a:lnTo>
                            <a:pt x="1654969" y="423863"/>
                          </a:lnTo>
                          <a:lnTo>
                            <a:pt x="1728788" y="454819"/>
                          </a:lnTo>
                          <a:lnTo>
                            <a:pt x="1864519" y="466725"/>
                          </a:lnTo>
                          <a:lnTo>
                            <a:pt x="1909763" y="450057"/>
                          </a:lnTo>
                          <a:lnTo>
                            <a:pt x="1995488" y="364332"/>
                          </a:lnTo>
                          <a:lnTo>
                            <a:pt x="2021682" y="400050"/>
                          </a:lnTo>
                          <a:lnTo>
                            <a:pt x="2069307" y="435769"/>
                          </a:lnTo>
                          <a:lnTo>
                            <a:pt x="2093119" y="466725"/>
                          </a:lnTo>
                          <a:lnTo>
                            <a:pt x="2105025" y="488157"/>
                          </a:lnTo>
                          <a:lnTo>
                            <a:pt x="2169319" y="483394"/>
                          </a:lnTo>
                          <a:lnTo>
                            <a:pt x="2169319" y="521494"/>
                          </a:lnTo>
                          <a:lnTo>
                            <a:pt x="2119313" y="521494"/>
                          </a:lnTo>
                          <a:lnTo>
                            <a:pt x="2045494" y="578644"/>
                          </a:lnTo>
                          <a:lnTo>
                            <a:pt x="2090738" y="633413"/>
                          </a:lnTo>
                          <a:lnTo>
                            <a:pt x="2097882" y="690563"/>
                          </a:lnTo>
                          <a:lnTo>
                            <a:pt x="2093119" y="716757"/>
                          </a:lnTo>
                          <a:lnTo>
                            <a:pt x="1905000" y="831057"/>
                          </a:lnTo>
                          <a:lnTo>
                            <a:pt x="1888332" y="888207"/>
                          </a:lnTo>
                          <a:lnTo>
                            <a:pt x="1895475" y="1012032"/>
                          </a:lnTo>
                          <a:lnTo>
                            <a:pt x="1940719" y="1100138"/>
                          </a:lnTo>
                          <a:lnTo>
                            <a:pt x="1978819" y="1183482"/>
                          </a:lnTo>
                          <a:lnTo>
                            <a:pt x="1966913" y="1216819"/>
                          </a:lnTo>
                          <a:lnTo>
                            <a:pt x="1952625" y="1273969"/>
                          </a:lnTo>
                          <a:lnTo>
                            <a:pt x="1907382" y="1288257"/>
                          </a:lnTo>
                          <a:lnTo>
                            <a:pt x="1885950" y="1302544"/>
                          </a:lnTo>
                          <a:lnTo>
                            <a:pt x="1850232" y="1350169"/>
                          </a:lnTo>
                          <a:lnTo>
                            <a:pt x="1828800" y="1371600"/>
                          </a:lnTo>
                          <a:lnTo>
                            <a:pt x="1783557" y="1369219"/>
                          </a:lnTo>
                          <a:lnTo>
                            <a:pt x="1752600" y="1321594"/>
                          </a:lnTo>
                          <a:lnTo>
                            <a:pt x="1674019" y="1345407"/>
                          </a:lnTo>
                          <a:lnTo>
                            <a:pt x="1626394" y="1366838"/>
                          </a:lnTo>
                          <a:lnTo>
                            <a:pt x="1552575" y="1376363"/>
                          </a:lnTo>
                          <a:lnTo>
                            <a:pt x="1507332" y="1357313"/>
                          </a:lnTo>
                          <a:lnTo>
                            <a:pt x="1447800" y="1321594"/>
                          </a:lnTo>
                          <a:lnTo>
                            <a:pt x="1407319" y="1331119"/>
                          </a:lnTo>
                          <a:lnTo>
                            <a:pt x="1390650" y="1516857"/>
                          </a:lnTo>
                          <a:lnTo>
                            <a:pt x="1359694" y="1859757"/>
                          </a:lnTo>
                          <a:lnTo>
                            <a:pt x="1357313" y="1862138"/>
                          </a:lnTo>
                          <a:lnTo>
                            <a:pt x="1312069" y="1852613"/>
                          </a:lnTo>
                          <a:lnTo>
                            <a:pt x="1285875" y="1802607"/>
                          </a:lnTo>
                          <a:lnTo>
                            <a:pt x="1262063" y="1785938"/>
                          </a:lnTo>
                          <a:lnTo>
                            <a:pt x="1204913" y="1738313"/>
                          </a:lnTo>
                          <a:lnTo>
                            <a:pt x="1166813" y="1681163"/>
                          </a:lnTo>
                          <a:lnTo>
                            <a:pt x="1150144" y="1643064"/>
                          </a:lnTo>
                          <a:lnTo>
                            <a:pt x="1150144" y="1602582"/>
                          </a:lnTo>
                          <a:lnTo>
                            <a:pt x="1097757" y="1554957"/>
                          </a:lnTo>
                          <a:lnTo>
                            <a:pt x="1057275" y="1569244"/>
                          </a:lnTo>
                          <a:lnTo>
                            <a:pt x="1057275" y="1569244"/>
                          </a:lnTo>
                          <a:lnTo>
                            <a:pt x="1028700" y="1583532"/>
                          </a:lnTo>
                          <a:lnTo>
                            <a:pt x="873919" y="1581150"/>
                          </a:lnTo>
                          <a:lnTo>
                            <a:pt x="845344" y="1571625"/>
                          </a:lnTo>
                          <a:lnTo>
                            <a:pt x="785813" y="1519238"/>
                          </a:lnTo>
                          <a:lnTo>
                            <a:pt x="752475" y="1516857"/>
                          </a:lnTo>
                          <a:lnTo>
                            <a:pt x="685800" y="1571625"/>
                          </a:lnTo>
                          <a:lnTo>
                            <a:pt x="638175" y="1578769"/>
                          </a:lnTo>
                          <a:lnTo>
                            <a:pt x="590550" y="1566863"/>
                          </a:lnTo>
                          <a:lnTo>
                            <a:pt x="552450" y="1514475"/>
                          </a:lnTo>
                          <a:lnTo>
                            <a:pt x="483394" y="1552575"/>
                          </a:lnTo>
                          <a:lnTo>
                            <a:pt x="404813" y="1521619"/>
                          </a:lnTo>
                          <a:lnTo>
                            <a:pt x="388144" y="1500188"/>
                          </a:lnTo>
                          <a:lnTo>
                            <a:pt x="273845" y="1524000"/>
                          </a:lnTo>
                          <a:lnTo>
                            <a:pt x="207169" y="1562100"/>
                          </a:lnTo>
                          <a:close/>
                        </a:path>
                      </a:pathLst>
                    </a:custGeom>
                    <a:solidFill>
                      <a:srgbClr val="92D050">
                        <a:alpha val="50000"/>
                      </a:srgb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3" name="Freeform 16"/>
                    <p:cNvSpPr/>
                    <p:nvPr/>
                  </p:nvSpPr>
                  <p:spPr>
                    <a:xfrm>
                      <a:off x="3181212" y="1086062"/>
                      <a:ext cx="1126307" cy="1373606"/>
                    </a:xfrm>
                    <a:custGeom>
                      <a:avLst/>
                      <a:gdLst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400050 w 1602581"/>
                        <a:gd name="connsiteY103" fmla="*/ 1800225 h 2107406"/>
                        <a:gd name="connsiteX104" fmla="*/ 421481 w 1602581"/>
                        <a:gd name="connsiteY104" fmla="*/ 1759743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8637 w 1602581"/>
                        <a:gd name="connsiteY107" fmla="*/ 1540668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26243 w 1602581"/>
                        <a:gd name="connsiteY110" fmla="*/ 1240631 h 2107406"/>
                        <a:gd name="connsiteX111" fmla="*/ 469106 w 1602581"/>
                        <a:gd name="connsiteY111" fmla="*/ 1209675 h 2107406"/>
                        <a:gd name="connsiteX112" fmla="*/ 409575 w 1602581"/>
                        <a:gd name="connsiteY112" fmla="*/ 1109662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400050 w 1602581"/>
                        <a:gd name="connsiteY103" fmla="*/ 1800225 h 2107406"/>
                        <a:gd name="connsiteX104" fmla="*/ 421481 w 1602581"/>
                        <a:gd name="connsiteY104" fmla="*/ 1759743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8637 w 1602581"/>
                        <a:gd name="connsiteY107" fmla="*/ 1540668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26243 w 1602581"/>
                        <a:gd name="connsiteY110" fmla="*/ 1240631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400050 w 1602581"/>
                        <a:gd name="connsiteY103" fmla="*/ 1800225 h 2107406"/>
                        <a:gd name="connsiteX104" fmla="*/ 421481 w 1602581"/>
                        <a:gd name="connsiteY104" fmla="*/ 1759743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8637 w 1602581"/>
                        <a:gd name="connsiteY107" fmla="*/ 1540668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21481 w 1602581"/>
                        <a:gd name="connsiteY104" fmla="*/ 1759743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8637 w 1602581"/>
                        <a:gd name="connsiteY107" fmla="*/ 1540668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8637 w 1602581"/>
                        <a:gd name="connsiteY107" fmla="*/ 1540668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42912 w 1602581"/>
                        <a:gd name="connsiteY112" fmla="*/ 1162050 h 2107406"/>
                        <a:gd name="connsiteX113" fmla="*/ 414338 w 1602581"/>
                        <a:gd name="connsiteY113" fmla="*/ 1121568 h 2107406"/>
                        <a:gd name="connsiteX114" fmla="*/ 357187 w 1602581"/>
                        <a:gd name="connsiteY114" fmla="*/ 1147762 h 2107406"/>
                        <a:gd name="connsiteX115" fmla="*/ 366712 w 1602581"/>
                        <a:gd name="connsiteY115" fmla="*/ 1059656 h 2107406"/>
                        <a:gd name="connsiteX116" fmla="*/ 278606 w 1602581"/>
                        <a:gd name="connsiteY116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35768 w 1602581"/>
                        <a:gd name="connsiteY112" fmla="*/ 1162050 h 2107406"/>
                        <a:gd name="connsiteX113" fmla="*/ 414338 w 1602581"/>
                        <a:gd name="connsiteY113" fmla="*/ 1121568 h 2107406"/>
                        <a:gd name="connsiteX114" fmla="*/ 357187 w 1602581"/>
                        <a:gd name="connsiteY114" fmla="*/ 1147762 h 2107406"/>
                        <a:gd name="connsiteX115" fmla="*/ 366712 w 1602581"/>
                        <a:gd name="connsiteY115" fmla="*/ 1059656 h 2107406"/>
                        <a:gd name="connsiteX116" fmla="*/ 278606 w 1602581"/>
                        <a:gd name="connsiteY116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35768 w 1602581"/>
                        <a:gd name="connsiteY112" fmla="*/ 1162050 h 2107406"/>
                        <a:gd name="connsiteX113" fmla="*/ 402432 w 1602581"/>
                        <a:gd name="connsiteY113" fmla="*/ 1121568 h 2107406"/>
                        <a:gd name="connsiteX114" fmla="*/ 357187 w 1602581"/>
                        <a:gd name="connsiteY114" fmla="*/ 1147762 h 2107406"/>
                        <a:gd name="connsiteX115" fmla="*/ 366712 w 1602581"/>
                        <a:gd name="connsiteY115" fmla="*/ 1059656 h 2107406"/>
                        <a:gd name="connsiteX116" fmla="*/ 278606 w 1602581"/>
                        <a:gd name="connsiteY116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1963 w 1602581"/>
                        <a:gd name="connsiteY111" fmla="*/ 1209675 h 2107406"/>
                        <a:gd name="connsiteX112" fmla="*/ 435768 w 1602581"/>
                        <a:gd name="connsiteY112" fmla="*/ 1162050 h 2107406"/>
                        <a:gd name="connsiteX113" fmla="*/ 402432 w 1602581"/>
                        <a:gd name="connsiteY113" fmla="*/ 1121568 h 2107406"/>
                        <a:gd name="connsiteX114" fmla="*/ 357187 w 1602581"/>
                        <a:gd name="connsiteY114" fmla="*/ 1147762 h 2107406"/>
                        <a:gd name="connsiteX115" fmla="*/ 366712 w 1602581"/>
                        <a:gd name="connsiteY115" fmla="*/ 1059656 h 2107406"/>
                        <a:gd name="connsiteX116" fmla="*/ 278606 w 1602581"/>
                        <a:gd name="connsiteY116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1963 w 1602581"/>
                        <a:gd name="connsiteY111" fmla="*/ 1209675 h 2107406"/>
                        <a:gd name="connsiteX112" fmla="*/ 435768 w 1602581"/>
                        <a:gd name="connsiteY112" fmla="*/ 1162050 h 2107406"/>
                        <a:gd name="connsiteX113" fmla="*/ 402432 w 1602581"/>
                        <a:gd name="connsiteY113" fmla="*/ 1121568 h 2107406"/>
                        <a:gd name="connsiteX114" fmla="*/ 357187 w 1602581"/>
                        <a:gd name="connsiteY114" fmla="*/ 1159668 h 2107406"/>
                        <a:gd name="connsiteX115" fmla="*/ 366712 w 1602581"/>
                        <a:gd name="connsiteY115" fmla="*/ 1059656 h 2107406"/>
                        <a:gd name="connsiteX116" fmla="*/ 278606 w 1602581"/>
                        <a:gd name="connsiteY116" fmla="*/ 1064418 h 2107406"/>
                        <a:gd name="connsiteX0" fmla="*/ 285750 w 1602581"/>
                        <a:gd name="connsiteY0" fmla="*/ 1073943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1963 w 1602581"/>
                        <a:gd name="connsiteY111" fmla="*/ 1209675 h 2107406"/>
                        <a:gd name="connsiteX112" fmla="*/ 435768 w 1602581"/>
                        <a:gd name="connsiteY112" fmla="*/ 1162050 h 2107406"/>
                        <a:gd name="connsiteX113" fmla="*/ 402432 w 1602581"/>
                        <a:gd name="connsiteY113" fmla="*/ 1121568 h 2107406"/>
                        <a:gd name="connsiteX114" fmla="*/ 357187 w 1602581"/>
                        <a:gd name="connsiteY114" fmla="*/ 1159668 h 2107406"/>
                        <a:gd name="connsiteX115" fmla="*/ 366712 w 1602581"/>
                        <a:gd name="connsiteY115" fmla="*/ 1059656 h 2107406"/>
                        <a:gd name="connsiteX116" fmla="*/ 285750 w 1602581"/>
                        <a:gd name="connsiteY116" fmla="*/ 1073943 h 21074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  <a:cxn ang="0">
                          <a:pos x="connsiteX101" y="connsiteY101"/>
                        </a:cxn>
                        <a:cxn ang="0">
                          <a:pos x="connsiteX102" y="connsiteY102"/>
                        </a:cxn>
                        <a:cxn ang="0">
                          <a:pos x="connsiteX103" y="connsiteY103"/>
                        </a:cxn>
                        <a:cxn ang="0">
                          <a:pos x="connsiteX104" y="connsiteY104"/>
                        </a:cxn>
                        <a:cxn ang="0">
                          <a:pos x="connsiteX105" y="connsiteY105"/>
                        </a:cxn>
                        <a:cxn ang="0">
                          <a:pos x="connsiteX106" y="connsiteY106"/>
                        </a:cxn>
                        <a:cxn ang="0">
                          <a:pos x="connsiteX107" y="connsiteY107"/>
                        </a:cxn>
                        <a:cxn ang="0">
                          <a:pos x="connsiteX108" y="connsiteY108"/>
                        </a:cxn>
                        <a:cxn ang="0">
                          <a:pos x="connsiteX109" y="connsiteY109"/>
                        </a:cxn>
                        <a:cxn ang="0">
                          <a:pos x="connsiteX110" y="connsiteY110"/>
                        </a:cxn>
                        <a:cxn ang="0">
                          <a:pos x="connsiteX111" y="connsiteY111"/>
                        </a:cxn>
                        <a:cxn ang="0">
                          <a:pos x="connsiteX112" y="connsiteY112"/>
                        </a:cxn>
                        <a:cxn ang="0">
                          <a:pos x="connsiteX113" y="connsiteY113"/>
                        </a:cxn>
                        <a:cxn ang="0">
                          <a:pos x="connsiteX114" y="connsiteY114"/>
                        </a:cxn>
                        <a:cxn ang="0">
                          <a:pos x="connsiteX115" y="connsiteY115"/>
                        </a:cxn>
                        <a:cxn ang="0">
                          <a:pos x="connsiteX116" y="connsiteY116"/>
                        </a:cxn>
                      </a:cxnLst>
                      <a:rect l="l" t="t" r="r" b="b"/>
                      <a:pathLst>
                        <a:path w="1602581" h="2107406">
                          <a:moveTo>
                            <a:pt x="285750" y="1073943"/>
                          </a:moveTo>
                          <a:lnTo>
                            <a:pt x="247650" y="1016793"/>
                          </a:lnTo>
                          <a:lnTo>
                            <a:pt x="209550" y="1000125"/>
                          </a:lnTo>
                          <a:lnTo>
                            <a:pt x="164306" y="1012031"/>
                          </a:lnTo>
                          <a:lnTo>
                            <a:pt x="135731" y="957262"/>
                          </a:lnTo>
                          <a:lnTo>
                            <a:pt x="76200" y="957262"/>
                          </a:lnTo>
                          <a:lnTo>
                            <a:pt x="47625" y="947737"/>
                          </a:lnTo>
                          <a:lnTo>
                            <a:pt x="50006" y="897731"/>
                          </a:lnTo>
                          <a:lnTo>
                            <a:pt x="21431" y="876300"/>
                          </a:lnTo>
                          <a:lnTo>
                            <a:pt x="0" y="835818"/>
                          </a:lnTo>
                          <a:lnTo>
                            <a:pt x="47625" y="788193"/>
                          </a:lnTo>
                          <a:lnTo>
                            <a:pt x="133350" y="759618"/>
                          </a:lnTo>
                          <a:lnTo>
                            <a:pt x="173831" y="731043"/>
                          </a:lnTo>
                          <a:lnTo>
                            <a:pt x="183356" y="652462"/>
                          </a:lnTo>
                          <a:lnTo>
                            <a:pt x="133350" y="597693"/>
                          </a:lnTo>
                          <a:cubicBezTo>
                            <a:pt x="154062" y="589927"/>
                            <a:pt x="146335" y="593584"/>
                            <a:pt x="157162" y="588168"/>
                          </a:cubicBezTo>
                          <a:lnTo>
                            <a:pt x="207168" y="519112"/>
                          </a:lnTo>
                          <a:lnTo>
                            <a:pt x="250031" y="500062"/>
                          </a:lnTo>
                          <a:lnTo>
                            <a:pt x="321468" y="521493"/>
                          </a:lnTo>
                          <a:lnTo>
                            <a:pt x="402431" y="521493"/>
                          </a:lnTo>
                          <a:lnTo>
                            <a:pt x="419100" y="509587"/>
                          </a:lnTo>
                          <a:lnTo>
                            <a:pt x="416718" y="469106"/>
                          </a:lnTo>
                          <a:lnTo>
                            <a:pt x="354806" y="440531"/>
                          </a:lnTo>
                          <a:lnTo>
                            <a:pt x="309562" y="419100"/>
                          </a:lnTo>
                          <a:lnTo>
                            <a:pt x="247650" y="419100"/>
                          </a:lnTo>
                          <a:lnTo>
                            <a:pt x="228600" y="388143"/>
                          </a:lnTo>
                          <a:lnTo>
                            <a:pt x="250031" y="364331"/>
                          </a:lnTo>
                          <a:lnTo>
                            <a:pt x="314325" y="345281"/>
                          </a:lnTo>
                          <a:lnTo>
                            <a:pt x="328612" y="323850"/>
                          </a:lnTo>
                          <a:lnTo>
                            <a:pt x="297656" y="292893"/>
                          </a:lnTo>
                          <a:lnTo>
                            <a:pt x="250031" y="311943"/>
                          </a:lnTo>
                          <a:lnTo>
                            <a:pt x="216693" y="280987"/>
                          </a:lnTo>
                          <a:lnTo>
                            <a:pt x="238125" y="257175"/>
                          </a:lnTo>
                          <a:lnTo>
                            <a:pt x="245268" y="219075"/>
                          </a:lnTo>
                          <a:lnTo>
                            <a:pt x="233362" y="195262"/>
                          </a:lnTo>
                          <a:lnTo>
                            <a:pt x="261937" y="145256"/>
                          </a:lnTo>
                          <a:lnTo>
                            <a:pt x="319087" y="157162"/>
                          </a:lnTo>
                          <a:lnTo>
                            <a:pt x="357187" y="195262"/>
                          </a:lnTo>
                          <a:lnTo>
                            <a:pt x="485775" y="197643"/>
                          </a:lnTo>
                          <a:lnTo>
                            <a:pt x="614362" y="178593"/>
                          </a:lnTo>
                          <a:lnTo>
                            <a:pt x="673893" y="157162"/>
                          </a:lnTo>
                          <a:lnTo>
                            <a:pt x="812006" y="126206"/>
                          </a:lnTo>
                          <a:lnTo>
                            <a:pt x="833437" y="123825"/>
                          </a:lnTo>
                          <a:lnTo>
                            <a:pt x="866775" y="107156"/>
                          </a:lnTo>
                          <a:lnTo>
                            <a:pt x="1028700" y="111918"/>
                          </a:lnTo>
                          <a:lnTo>
                            <a:pt x="1042987" y="57150"/>
                          </a:lnTo>
                          <a:lnTo>
                            <a:pt x="1114425" y="14287"/>
                          </a:lnTo>
                          <a:lnTo>
                            <a:pt x="1133475" y="4762"/>
                          </a:lnTo>
                          <a:lnTo>
                            <a:pt x="1223962" y="0"/>
                          </a:lnTo>
                          <a:lnTo>
                            <a:pt x="1262062" y="2381"/>
                          </a:lnTo>
                          <a:lnTo>
                            <a:pt x="1233487" y="30956"/>
                          </a:lnTo>
                          <a:lnTo>
                            <a:pt x="1259681" y="76200"/>
                          </a:lnTo>
                          <a:lnTo>
                            <a:pt x="1273968" y="104775"/>
                          </a:lnTo>
                          <a:lnTo>
                            <a:pt x="1235868" y="140493"/>
                          </a:lnTo>
                          <a:lnTo>
                            <a:pt x="1273968" y="159543"/>
                          </a:lnTo>
                          <a:lnTo>
                            <a:pt x="1276350" y="188118"/>
                          </a:lnTo>
                          <a:lnTo>
                            <a:pt x="1219200" y="245268"/>
                          </a:lnTo>
                          <a:lnTo>
                            <a:pt x="1278731" y="309562"/>
                          </a:lnTo>
                          <a:lnTo>
                            <a:pt x="1243012" y="354806"/>
                          </a:lnTo>
                          <a:lnTo>
                            <a:pt x="1281112" y="397668"/>
                          </a:lnTo>
                          <a:lnTo>
                            <a:pt x="1240631" y="433387"/>
                          </a:lnTo>
                          <a:lnTo>
                            <a:pt x="1269206" y="469106"/>
                          </a:lnTo>
                          <a:lnTo>
                            <a:pt x="1202531" y="526256"/>
                          </a:lnTo>
                          <a:lnTo>
                            <a:pt x="1202531" y="719137"/>
                          </a:lnTo>
                          <a:lnTo>
                            <a:pt x="1131093" y="845343"/>
                          </a:lnTo>
                          <a:lnTo>
                            <a:pt x="1042987" y="952500"/>
                          </a:lnTo>
                          <a:lnTo>
                            <a:pt x="1092993" y="992981"/>
                          </a:lnTo>
                          <a:lnTo>
                            <a:pt x="1097756" y="1157287"/>
                          </a:lnTo>
                          <a:lnTo>
                            <a:pt x="1181100" y="1154906"/>
                          </a:lnTo>
                          <a:lnTo>
                            <a:pt x="1209675" y="1178718"/>
                          </a:lnTo>
                          <a:lnTo>
                            <a:pt x="1252537" y="1238250"/>
                          </a:lnTo>
                          <a:lnTo>
                            <a:pt x="1347787" y="1235868"/>
                          </a:lnTo>
                          <a:lnTo>
                            <a:pt x="1390650" y="1300162"/>
                          </a:lnTo>
                          <a:lnTo>
                            <a:pt x="1481137" y="1347787"/>
                          </a:lnTo>
                          <a:lnTo>
                            <a:pt x="1583531" y="1333500"/>
                          </a:lnTo>
                          <a:lnTo>
                            <a:pt x="1602581" y="1357312"/>
                          </a:lnTo>
                          <a:lnTo>
                            <a:pt x="1552575" y="1407318"/>
                          </a:lnTo>
                          <a:lnTo>
                            <a:pt x="1493043" y="1447800"/>
                          </a:lnTo>
                          <a:lnTo>
                            <a:pt x="1419225" y="1585912"/>
                          </a:lnTo>
                          <a:lnTo>
                            <a:pt x="1297781" y="1688306"/>
                          </a:lnTo>
                          <a:lnTo>
                            <a:pt x="1262062" y="1719262"/>
                          </a:lnTo>
                          <a:lnTo>
                            <a:pt x="1271587" y="1762125"/>
                          </a:lnTo>
                          <a:lnTo>
                            <a:pt x="1240631" y="1797843"/>
                          </a:lnTo>
                          <a:lnTo>
                            <a:pt x="1202531" y="1821656"/>
                          </a:lnTo>
                          <a:lnTo>
                            <a:pt x="1183481" y="1883568"/>
                          </a:lnTo>
                          <a:lnTo>
                            <a:pt x="1131093" y="1859756"/>
                          </a:lnTo>
                          <a:lnTo>
                            <a:pt x="1085850" y="1921668"/>
                          </a:lnTo>
                          <a:lnTo>
                            <a:pt x="1050131" y="1921668"/>
                          </a:lnTo>
                          <a:lnTo>
                            <a:pt x="1009650" y="1914525"/>
                          </a:lnTo>
                          <a:lnTo>
                            <a:pt x="947737" y="1895475"/>
                          </a:lnTo>
                          <a:lnTo>
                            <a:pt x="933450" y="1866900"/>
                          </a:lnTo>
                          <a:lnTo>
                            <a:pt x="895350" y="1878806"/>
                          </a:lnTo>
                          <a:lnTo>
                            <a:pt x="890587" y="1926431"/>
                          </a:lnTo>
                          <a:lnTo>
                            <a:pt x="878681" y="1959768"/>
                          </a:lnTo>
                          <a:lnTo>
                            <a:pt x="823912" y="2019300"/>
                          </a:lnTo>
                          <a:lnTo>
                            <a:pt x="800100" y="2040731"/>
                          </a:lnTo>
                          <a:lnTo>
                            <a:pt x="797718" y="2090737"/>
                          </a:lnTo>
                          <a:lnTo>
                            <a:pt x="747712" y="2107406"/>
                          </a:lnTo>
                          <a:lnTo>
                            <a:pt x="719137" y="2028825"/>
                          </a:lnTo>
                          <a:lnTo>
                            <a:pt x="523875" y="1916906"/>
                          </a:lnTo>
                          <a:lnTo>
                            <a:pt x="550068" y="1862137"/>
                          </a:lnTo>
                          <a:lnTo>
                            <a:pt x="521493" y="1843087"/>
                          </a:lnTo>
                          <a:lnTo>
                            <a:pt x="471487" y="1883568"/>
                          </a:lnTo>
                          <a:lnTo>
                            <a:pt x="392907" y="1797844"/>
                          </a:lnTo>
                          <a:lnTo>
                            <a:pt x="411956" y="1762124"/>
                          </a:lnTo>
                          <a:cubicBezTo>
                            <a:pt x="411162" y="1726405"/>
                            <a:pt x="410369" y="1690687"/>
                            <a:pt x="409575" y="1654968"/>
                          </a:cubicBezTo>
                          <a:lnTo>
                            <a:pt x="504825" y="1545431"/>
                          </a:lnTo>
                          <a:cubicBezTo>
                            <a:pt x="527031" y="1540496"/>
                            <a:pt x="514176" y="1531143"/>
                            <a:pt x="523875" y="1531143"/>
                          </a:cubicBezTo>
                          <a:lnTo>
                            <a:pt x="545306" y="1519237"/>
                          </a:lnTo>
                          <a:lnTo>
                            <a:pt x="488156" y="1347787"/>
                          </a:lnTo>
                          <a:lnTo>
                            <a:pt x="419099" y="1233488"/>
                          </a:lnTo>
                          <a:lnTo>
                            <a:pt x="461963" y="1209675"/>
                          </a:lnTo>
                          <a:lnTo>
                            <a:pt x="435768" y="1162050"/>
                          </a:lnTo>
                          <a:lnTo>
                            <a:pt x="402432" y="1121568"/>
                          </a:lnTo>
                          <a:lnTo>
                            <a:pt x="357187" y="1159668"/>
                          </a:lnTo>
                          <a:lnTo>
                            <a:pt x="366712" y="1059656"/>
                          </a:lnTo>
                          <a:lnTo>
                            <a:pt x="285750" y="1073943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4" name="Freeform 17"/>
                    <p:cNvSpPr/>
                    <p:nvPr/>
                  </p:nvSpPr>
                  <p:spPr>
                    <a:xfrm>
                      <a:off x="4022789" y="929126"/>
                      <a:ext cx="1075847" cy="631116"/>
                    </a:xfrm>
                    <a:custGeom>
                      <a:avLst/>
                      <a:gdLst>
                        <a:gd name="connsiteX0" fmla="*/ 50007 w 1521619"/>
                        <a:gd name="connsiteY0" fmla="*/ 240507 h 969169"/>
                        <a:gd name="connsiteX1" fmla="*/ 345282 w 1521619"/>
                        <a:gd name="connsiteY1" fmla="*/ 130969 h 969169"/>
                        <a:gd name="connsiteX2" fmla="*/ 397669 w 1521619"/>
                        <a:gd name="connsiteY2" fmla="*/ 142875 h 969169"/>
                        <a:gd name="connsiteX3" fmla="*/ 459582 w 1521619"/>
                        <a:gd name="connsiteY3" fmla="*/ 50007 h 969169"/>
                        <a:gd name="connsiteX4" fmla="*/ 552450 w 1521619"/>
                        <a:gd name="connsiteY4" fmla="*/ 0 h 969169"/>
                        <a:gd name="connsiteX5" fmla="*/ 647700 w 1521619"/>
                        <a:gd name="connsiteY5" fmla="*/ 4763 h 969169"/>
                        <a:gd name="connsiteX6" fmla="*/ 747713 w 1521619"/>
                        <a:gd name="connsiteY6" fmla="*/ 57150 h 969169"/>
                        <a:gd name="connsiteX7" fmla="*/ 781050 w 1521619"/>
                        <a:gd name="connsiteY7" fmla="*/ 73819 h 969169"/>
                        <a:gd name="connsiteX8" fmla="*/ 831057 w 1521619"/>
                        <a:gd name="connsiteY8" fmla="*/ 23813 h 969169"/>
                        <a:gd name="connsiteX9" fmla="*/ 876300 w 1521619"/>
                        <a:gd name="connsiteY9" fmla="*/ 11907 h 969169"/>
                        <a:gd name="connsiteX10" fmla="*/ 921544 w 1521619"/>
                        <a:gd name="connsiteY10" fmla="*/ 52388 h 969169"/>
                        <a:gd name="connsiteX11" fmla="*/ 938213 w 1521619"/>
                        <a:gd name="connsiteY11" fmla="*/ 102394 h 969169"/>
                        <a:gd name="connsiteX12" fmla="*/ 933450 w 1521619"/>
                        <a:gd name="connsiteY12" fmla="*/ 154782 h 969169"/>
                        <a:gd name="connsiteX13" fmla="*/ 981075 w 1521619"/>
                        <a:gd name="connsiteY13" fmla="*/ 209550 h 969169"/>
                        <a:gd name="connsiteX14" fmla="*/ 992982 w 1521619"/>
                        <a:gd name="connsiteY14" fmla="*/ 228600 h 969169"/>
                        <a:gd name="connsiteX15" fmla="*/ 973932 w 1521619"/>
                        <a:gd name="connsiteY15" fmla="*/ 288132 h 969169"/>
                        <a:gd name="connsiteX16" fmla="*/ 978694 w 1521619"/>
                        <a:gd name="connsiteY16" fmla="*/ 316707 h 969169"/>
                        <a:gd name="connsiteX17" fmla="*/ 947738 w 1521619"/>
                        <a:gd name="connsiteY17" fmla="*/ 345282 h 969169"/>
                        <a:gd name="connsiteX18" fmla="*/ 973932 w 1521619"/>
                        <a:gd name="connsiteY18" fmla="*/ 390525 h 969169"/>
                        <a:gd name="connsiteX19" fmla="*/ 995363 w 1521619"/>
                        <a:gd name="connsiteY19" fmla="*/ 397669 h 969169"/>
                        <a:gd name="connsiteX20" fmla="*/ 1023938 w 1521619"/>
                        <a:gd name="connsiteY20" fmla="*/ 366713 h 969169"/>
                        <a:gd name="connsiteX21" fmla="*/ 1064419 w 1521619"/>
                        <a:gd name="connsiteY21" fmla="*/ 404813 h 969169"/>
                        <a:gd name="connsiteX22" fmla="*/ 1116807 w 1521619"/>
                        <a:gd name="connsiteY22" fmla="*/ 345282 h 969169"/>
                        <a:gd name="connsiteX23" fmla="*/ 1166813 w 1521619"/>
                        <a:gd name="connsiteY23" fmla="*/ 321469 h 969169"/>
                        <a:gd name="connsiteX24" fmla="*/ 1209675 w 1521619"/>
                        <a:gd name="connsiteY24" fmla="*/ 357188 h 969169"/>
                        <a:gd name="connsiteX25" fmla="*/ 1228725 w 1521619"/>
                        <a:gd name="connsiteY25" fmla="*/ 388144 h 969169"/>
                        <a:gd name="connsiteX26" fmla="*/ 1231107 w 1521619"/>
                        <a:gd name="connsiteY26" fmla="*/ 435769 h 969169"/>
                        <a:gd name="connsiteX27" fmla="*/ 1271588 w 1521619"/>
                        <a:gd name="connsiteY27" fmla="*/ 445294 h 969169"/>
                        <a:gd name="connsiteX28" fmla="*/ 1281113 w 1521619"/>
                        <a:gd name="connsiteY28" fmla="*/ 383382 h 969169"/>
                        <a:gd name="connsiteX29" fmla="*/ 1316832 w 1521619"/>
                        <a:gd name="connsiteY29" fmla="*/ 366713 h 969169"/>
                        <a:gd name="connsiteX30" fmla="*/ 1388269 w 1521619"/>
                        <a:gd name="connsiteY30" fmla="*/ 414338 h 969169"/>
                        <a:gd name="connsiteX31" fmla="*/ 1416844 w 1521619"/>
                        <a:gd name="connsiteY31" fmla="*/ 421482 h 969169"/>
                        <a:gd name="connsiteX32" fmla="*/ 1464469 w 1521619"/>
                        <a:gd name="connsiteY32" fmla="*/ 376238 h 969169"/>
                        <a:gd name="connsiteX33" fmla="*/ 1507332 w 1521619"/>
                        <a:gd name="connsiteY33" fmla="*/ 421482 h 969169"/>
                        <a:gd name="connsiteX34" fmla="*/ 1493044 w 1521619"/>
                        <a:gd name="connsiteY34" fmla="*/ 447675 h 969169"/>
                        <a:gd name="connsiteX35" fmla="*/ 1454944 w 1521619"/>
                        <a:gd name="connsiteY35" fmla="*/ 466725 h 969169"/>
                        <a:gd name="connsiteX36" fmla="*/ 1421607 w 1521619"/>
                        <a:gd name="connsiteY36" fmla="*/ 507207 h 969169"/>
                        <a:gd name="connsiteX37" fmla="*/ 1388269 w 1521619"/>
                        <a:gd name="connsiteY37" fmla="*/ 547688 h 969169"/>
                        <a:gd name="connsiteX38" fmla="*/ 1388269 w 1521619"/>
                        <a:gd name="connsiteY38" fmla="*/ 547688 h 969169"/>
                        <a:gd name="connsiteX39" fmla="*/ 1416844 w 1521619"/>
                        <a:gd name="connsiteY39" fmla="*/ 588169 h 969169"/>
                        <a:gd name="connsiteX40" fmla="*/ 1426369 w 1521619"/>
                        <a:gd name="connsiteY40" fmla="*/ 635794 h 969169"/>
                        <a:gd name="connsiteX41" fmla="*/ 1478757 w 1521619"/>
                        <a:gd name="connsiteY41" fmla="*/ 619125 h 969169"/>
                        <a:gd name="connsiteX42" fmla="*/ 1464469 w 1521619"/>
                        <a:gd name="connsiteY42" fmla="*/ 657225 h 969169"/>
                        <a:gd name="connsiteX43" fmla="*/ 1438275 w 1521619"/>
                        <a:gd name="connsiteY43" fmla="*/ 683419 h 969169"/>
                        <a:gd name="connsiteX44" fmla="*/ 1485900 w 1521619"/>
                        <a:gd name="connsiteY44" fmla="*/ 719138 h 969169"/>
                        <a:gd name="connsiteX45" fmla="*/ 1521619 w 1521619"/>
                        <a:gd name="connsiteY45" fmla="*/ 738188 h 969169"/>
                        <a:gd name="connsiteX46" fmla="*/ 1502569 w 1521619"/>
                        <a:gd name="connsiteY46" fmla="*/ 764382 h 969169"/>
                        <a:gd name="connsiteX47" fmla="*/ 1473994 w 1521619"/>
                        <a:gd name="connsiteY47" fmla="*/ 759619 h 969169"/>
                        <a:gd name="connsiteX48" fmla="*/ 1512094 w 1521619"/>
                        <a:gd name="connsiteY48" fmla="*/ 814388 h 969169"/>
                        <a:gd name="connsiteX49" fmla="*/ 1473994 w 1521619"/>
                        <a:gd name="connsiteY49" fmla="*/ 816769 h 969169"/>
                        <a:gd name="connsiteX50" fmla="*/ 1438275 w 1521619"/>
                        <a:gd name="connsiteY50" fmla="*/ 812007 h 969169"/>
                        <a:gd name="connsiteX51" fmla="*/ 1362075 w 1521619"/>
                        <a:gd name="connsiteY51" fmla="*/ 795338 h 969169"/>
                        <a:gd name="connsiteX52" fmla="*/ 1328738 w 1521619"/>
                        <a:gd name="connsiteY52" fmla="*/ 790575 h 969169"/>
                        <a:gd name="connsiteX53" fmla="*/ 1309688 w 1521619"/>
                        <a:gd name="connsiteY53" fmla="*/ 723900 h 969169"/>
                        <a:gd name="connsiteX54" fmla="*/ 1171575 w 1521619"/>
                        <a:gd name="connsiteY54" fmla="*/ 757238 h 969169"/>
                        <a:gd name="connsiteX55" fmla="*/ 1135857 w 1521619"/>
                        <a:gd name="connsiteY55" fmla="*/ 738188 h 969169"/>
                        <a:gd name="connsiteX56" fmla="*/ 1052513 w 1521619"/>
                        <a:gd name="connsiteY56" fmla="*/ 645319 h 969169"/>
                        <a:gd name="connsiteX57" fmla="*/ 1019175 w 1521619"/>
                        <a:gd name="connsiteY57" fmla="*/ 654844 h 969169"/>
                        <a:gd name="connsiteX58" fmla="*/ 983457 w 1521619"/>
                        <a:gd name="connsiteY58" fmla="*/ 652463 h 969169"/>
                        <a:gd name="connsiteX59" fmla="*/ 888207 w 1521619"/>
                        <a:gd name="connsiteY59" fmla="*/ 621507 h 969169"/>
                        <a:gd name="connsiteX60" fmla="*/ 831057 w 1521619"/>
                        <a:gd name="connsiteY60" fmla="*/ 673894 h 969169"/>
                        <a:gd name="connsiteX61" fmla="*/ 783432 w 1521619"/>
                        <a:gd name="connsiteY61" fmla="*/ 611982 h 969169"/>
                        <a:gd name="connsiteX62" fmla="*/ 738188 w 1521619"/>
                        <a:gd name="connsiteY62" fmla="*/ 597694 h 969169"/>
                        <a:gd name="connsiteX63" fmla="*/ 733425 w 1521619"/>
                        <a:gd name="connsiteY63" fmla="*/ 552450 h 969169"/>
                        <a:gd name="connsiteX64" fmla="*/ 697707 w 1521619"/>
                        <a:gd name="connsiteY64" fmla="*/ 533400 h 969169"/>
                        <a:gd name="connsiteX65" fmla="*/ 654844 w 1521619"/>
                        <a:gd name="connsiteY65" fmla="*/ 542925 h 969169"/>
                        <a:gd name="connsiteX66" fmla="*/ 642938 w 1521619"/>
                        <a:gd name="connsiteY66" fmla="*/ 564357 h 969169"/>
                        <a:gd name="connsiteX67" fmla="*/ 581025 w 1521619"/>
                        <a:gd name="connsiteY67" fmla="*/ 550069 h 969169"/>
                        <a:gd name="connsiteX68" fmla="*/ 471488 w 1521619"/>
                        <a:gd name="connsiteY68" fmla="*/ 626269 h 969169"/>
                        <a:gd name="connsiteX69" fmla="*/ 504825 w 1521619"/>
                        <a:gd name="connsiteY69" fmla="*/ 728663 h 969169"/>
                        <a:gd name="connsiteX70" fmla="*/ 526257 w 1521619"/>
                        <a:gd name="connsiteY70" fmla="*/ 797719 h 969169"/>
                        <a:gd name="connsiteX71" fmla="*/ 445294 w 1521619"/>
                        <a:gd name="connsiteY71" fmla="*/ 859632 h 969169"/>
                        <a:gd name="connsiteX72" fmla="*/ 316707 w 1521619"/>
                        <a:gd name="connsiteY72" fmla="*/ 964407 h 969169"/>
                        <a:gd name="connsiteX73" fmla="*/ 250032 w 1521619"/>
                        <a:gd name="connsiteY73" fmla="*/ 912019 h 969169"/>
                        <a:gd name="connsiteX74" fmla="*/ 207169 w 1521619"/>
                        <a:gd name="connsiteY74" fmla="*/ 969169 h 969169"/>
                        <a:gd name="connsiteX75" fmla="*/ 0 w 1521619"/>
                        <a:gd name="connsiteY75" fmla="*/ 962025 h 969169"/>
                        <a:gd name="connsiteX76" fmla="*/ 0 w 1521619"/>
                        <a:gd name="connsiteY76" fmla="*/ 766763 h 969169"/>
                        <a:gd name="connsiteX77" fmla="*/ 59532 w 1521619"/>
                        <a:gd name="connsiteY77" fmla="*/ 719138 h 969169"/>
                        <a:gd name="connsiteX78" fmla="*/ 35719 w 1521619"/>
                        <a:gd name="connsiteY78" fmla="*/ 678657 h 969169"/>
                        <a:gd name="connsiteX79" fmla="*/ 73819 w 1521619"/>
                        <a:gd name="connsiteY79" fmla="*/ 642938 h 969169"/>
                        <a:gd name="connsiteX80" fmla="*/ 40482 w 1521619"/>
                        <a:gd name="connsiteY80" fmla="*/ 592932 h 969169"/>
                        <a:gd name="connsiteX81" fmla="*/ 71438 w 1521619"/>
                        <a:gd name="connsiteY81" fmla="*/ 554832 h 969169"/>
                        <a:gd name="connsiteX82" fmla="*/ 14288 w 1521619"/>
                        <a:gd name="connsiteY82" fmla="*/ 481013 h 969169"/>
                        <a:gd name="connsiteX83" fmla="*/ 71438 w 1521619"/>
                        <a:gd name="connsiteY83" fmla="*/ 433388 h 969169"/>
                        <a:gd name="connsiteX84" fmla="*/ 66675 w 1521619"/>
                        <a:gd name="connsiteY84" fmla="*/ 395288 h 969169"/>
                        <a:gd name="connsiteX85" fmla="*/ 30957 w 1521619"/>
                        <a:gd name="connsiteY85" fmla="*/ 383382 h 969169"/>
                        <a:gd name="connsiteX86" fmla="*/ 66675 w 1521619"/>
                        <a:gd name="connsiteY86" fmla="*/ 340519 h 969169"/>
                        <a:gd name="connsiteX87" fmla="*/ 50007 w 1521619"/>
                        <a:gd name="connsiteY87" fmla="*/ 240507 h 969169"/>
                        <a:gd name="connsiteX0" fmla="*/ 50007 w 1521619"/>
                        <a:gd name="connsiteY0" fmla="*/ 240507 h 969169"/>
                        <a:gd name="connsiteX1" fmla="*/ 345282 w 1521619"/>
                        <a:gd name="connsiteY1" fmla="*/ 130969 h 969169"/>
                        <a:gd name="connsiteX2" fmla="*/ 397669 w 1521619"/>
                        <a:gd name="connsiteY2" fmla="*/ 142875 h 969169"/>
                        <a:gd name="connsiteX3" fmla="*/ 459582 w 1521619"/>
                        <a:gd name="connsiteY3" fmla="*/ 50007 h 969169"/>
                        <a:gd name="connsiteX4" fmla="*/ 552450 w 1521619"/>
                        <a:gd name="connsiteY4" fmla="*/ 0 h 969169"/>
                        <a:gd name="connsiteX5" fmla="*/ 647700 w 1521619"/>
                        <a:gd name="connsiteY5" fmla="*/ 4763 h 969169"/>
                        <a:gd name="connsiteX6" fmla="*/ 747713 w 1521619"/>
                        <a:gd name="connsiteY6" fmla="*/ 57150 h 969169"/>
                        <a:gd name="connsiteX7" fmla="*/ 781050 w 1521619"/>
                        <a:gd name="connsiteY7" fmla="*/ 73819 h 969169"/>
                        <a:gd name="connsiteX8" fmla="*/ 831057 w 1521619"/>
                        <a:gd name="connsiteY8" fmla="*/ 23813 h 969169"/>
                        <a:gd name="connsiteX9" fmla="*/ 876300 w 1521619"/>
                        <a:gd name="connsiteY9" fmla="*/ 11907 h 969169"/>
                        <a:gd name="connsiteX10" fmla="*/ 921544 w 1521619"/>
                        <a:gd name="connsiteY10" fmla="*/ 52388 h 969169"/>
                        <a:gd name="connsiteX11" fmla="*/ 938213 w 1521619"/>
                        <a:gd name="connsiteY11" fmla="*/ 102394 h 969169"/>
                        <a:gd name="connsiteX12" fmla="*/ 933450 w 1521619"/>
                        <a:gd name="connsiteY12" fmla="*/ 154782 h 969169"/>
                        <a:gd name="connsiteX13" fmla="*/ 981075 w 1521619"/>
                        <a:gd name="connsiteY13" fmla="*/ 209550 h 969169"/>
                        <a:gd name="connsiteX14" fmla="*/ 992982 w 1521619"/>
                        <a:gd name="connsiteY14" fmla="*/ 228600 h 969169"/>
                        <a:gd name="connsiteX15" fmla="*/ 973932 w 1521619"/>
                        <a:gd name="connsiteY15" fmla="*/ 288132 h 969169"/>
                        <a:gd name="connsiteX16" fmla="*/ 978694 w 1521619"/>
                        <a:gd name="connsiteY16" fmla="*/ 316707 h 969169"/>
                        <a:gd name="connsiteX17" fmla="*/ 947738 w 1521619"/>
                        <a:gd name="connsiteY17" fmla="*/ 345282 h 969169"/>
                        <a:gd name="connsiteX18" fmla="*/ 973932 w 1521619"/>
                        <a:gd name="connsiteY18" fmla="*/ 390525 h 969169"/>
                        <a:gd name="connsiteX19" fmla="*/ 995363 w 1521619"/>
                        <a:gd name="connsiteY19" fmla="*/ 397669 h 969169"/>
                        <a:gd name="connsiteX20" fmla="*/ 1023938 w 1521619"/>
                        <a:gd name="connsiteY20" fmla="*/ 366713 h 969169"/>
                        <a:gd name="connsiteX21" fmla="*/ 1064419 w 1521619"/>
                        <a:gd name="connsiteY21" fmla="*/ 404813 h 969169"/>
                        <a:gd name="connsiteX22" fmla="*/ 1116807 w 1521619"/>
                        <a:gd name="connsiteY22" fmla="*/ 345282 h 969169"/>
                        <a:gd name="connsiteX23" fmla="*/ 1166813 w 1521619"/>
                        <a:gd name="connsiteY23" fmla="*/ 321469 h 969169"/>
                        <a:gd name="connsiteX24" fmla="*/ 1209675 w 1521619"/>
                        <a:gd name="connsiteY24" fmla="*/ 357188 h 969169"/>
                        <a:gd name="connsiteX25" fmla="*/ 1228725 w 1521619"/>
                        <a:gd name="connsiteY25" fmla="*/ 388144 h 969169"/>
                        <a:gd name="connsiteX26" fmla="*/ 1231107 w 1521619"/>
                        <a:gd name="connsiteY26" fmla="*/ 435769 h 969169"/>
                        <a:gd name="connsiteX27" fmla="*/ 1271588 w 1521619"/>
                        <a:gd name="connsiteY27" fmla="*/ 445294 h 969169"/>
                        <a:gd name="connsiteX28" fmla="*/ 1281113 w 1521619"/>
                        <a:gd name="connsiteY28" fmla="*/ 383382 h 969169"/>
                        <a:gd name="connsiteX29" fmla="*/ 1316832 w 1521619"/>
                        <a:gd name="connsiteY29" fmla="*/ 366713 h 969169"/>
                        <a:gd name="connsiteX30" fmla="*/ 1388269 w 1521619"/>
                        <a:gd name="connsiteY30" fmla="*/ 414338 h 969169"/>
                        <a:gd name="connsiteX31" fmla="*/ 1416844 w 1521619"/>
                        <a:gd name="connsiteY31" fmla="*/ 421482 h 969169"/>
                        <a:gd name="connsiteX32" fmla="*/ 1464469 w 1521619"/>
                        <a:gd name="connsiteY32" fmla="*/ 376238 h 969169"/>
                        <a:gd name="connsiteX33" fmla="*/ 1507332 w 1521619"/>
                        <a:gd name="connsiteY33" fmla="*/ 421482 h 969169"/>
                        <a:gd name="connsiteX34" fmla="*/ 1493044 w 1521619"/>
                        <a:gd name="connsiteY34" fmla="*/ 447675 h 969169"/>
                        <a:gd name="connsiteX35" fmla="*/ 1454944 w 1521619"/>
                        <a:gd name="connsiteY35" fmla="*/ 466725 h 969169"/>
                        <a:gd name="connsiteX36" fmla="*/ 1421607 w 1521619"/>
                        <a:gd name="connsiteY36" fmla="*/ 507207 h 969169"/>
                        <a:gd name="connsiteX37" fmla="*/ 1388269 w 1521619"/>
                        <a:gd name="connsiteY37" fmla="*/ 547688 h 969169"/>
                        <a:gd name="connsiteX38" fmla="*/ 1388269 w 1521619"/>
                        <a:gd name="connsiteY38" fmla="*/ 547688 h 969169"/>
                        <a:gd name="connsiteX39" fmla="*/ 1416844 w 1521619"/>
                        <a:gd name="connsiteY39" fmla="*/ 588169 h 969169"/>
                        <a:gd name="connsiteX40" fmla="*/ 1426369 w 1521619"/>
                        <a:gd name="connsiteY40" fmla="*/ 635794 h 969169"/>
                        <a:gd name="connsiteX41" fmla="*/ 1478757 w 1521619"/>
                        <a:gd name="connsiteY41" fmla="*/ 619125 h 969169"/>
                        <a:gd name="connsiteX42" fmla="*/ 1464469 w 1521619"/>
                        <a:gd name="connsiteY42" fmla="*/ 657225 h 969169"/>
                        <a:gd name="connsiteX43" fmla="*/ 1438275 w 1521619"/>
                        <a:gd name="connsiteY43" fmla="*/ 683419 h 969169"/>
                        <a:gd name="connsiteX44" fmla="*/ 1485900 w 1521619"/>
                        <a:gd name="connsiteY44" fmla="*/ 719138 h 969169"/>
                        <a:gd name="connsiteX45" fmla="*/ 1521619 w 1521619"/>
                        <a:gd name="connsiteY45" fmla="*/ 738188 h 969169"/>
                        <a:gd name="connsiteX46" fmla="*/ 1502569 w 1521619"/>
                        <a:gd name="connsiteY46" fmla="*/ 764382 h 969169"/>
                        <a:gd name="connsiteX47" fmla="*/ 1473994 w 1521619"/>
                        <a:gd name="connsiteY47" fmla="*/ 759619 h 969169"/>
                        <a:gd name="connsiteX48" fmla="*/ 1512094 w 1521619"/>
                        <a:gd name="connsiteY48" fmla="*/ 814388 h 969169"/>
                        <a:gd name="connsiteX49" fmla="*/ 1473994 w 1521619"/>
                        <a:gd name="connsiteY49" fmla="*/ 816769 h 969169"/>
                        <a:gd name="connsiteX50" fmla="*/ 1438275 w 1521619"/>
                        <a:gd name="connsiteY50" fmla="*/ 812007 h 969169"/>
                        <a:gd name="connsiteX51" fmla="*/ 1362075 w 1521619"/>
                        <a:gd name="connsiteY51" fmla="*/ 795338 h 969169"/>
                        <a:gd name="connsiteX52" fmla="*/ 1328738 w 1521619"/>
                        <a:gd name="connsiteY52" fmla="*/ 790575 h 969169"/>
                        <a:gd name="connsiteX53" fmla="*/ 1309688 w 1521619"/>
                        <a:gd name="connsiteY53" fmla="*/ 723900 h 969169"/>
                        <a:gd name="connsiteX54" fmla="*/ 1171575 w 1521619"/>
                        <a:gd name="connsiteY54" fmla="*/ 757238 h 969169"/>
                        <a:gd name="connsiteX55" fmla="*/ 1135857 w 1521619"/>
                        <a:gd name="connsiteY55" fmla="*/ 738188 h 969169"/>
                        <a:gd name="connsiteX56" fmla="*/ 1052513 w 1521619"/>
                        <a:gd name="connsiteY56" fmla="*/ 645319 h 969169"/>
                        <a:gd name="connsiteX57" fmla="*/ 1019175 w 1521619"/>
                        <a:gd name="connsiteY57" fmla="*/ 654844 h 969169"/>
                        <a:gd name="connsiteX58" fmla="*/ 983457 w 1521619"/>
                        <a:gd name="connsiteY58" fmla="*/ 652463 h 969169"/>
                        <a:gd name="connsiteX59" fmla="*/ 888207 w 1521619"/>
                        <a:gd name="connsiteY59" fmla="*/ 621507 h 969169"/>
                        <a:gd name="connsiteX60" fmla="*/ 831057 w 1521619"/>
                        <a:gd name="connsiteY60" fmla="*/ 673894 h 969169"/>
                        <a:gd name="connsiteX61" fmla="*/ 783432 w 1521619"/>
                        <a:gd name="connsiteY61" fmla="*/ 611982 h 969169"/>
                        <a:gd name="connsiteX62" fmla="*/ 738188 w 1521619"/>
                        <a:gd name="connsiteY62" fmla="*/ 597694 h 969169"/>
                        <a:gd name="connsiteX63" fmla="*/ 733425 w 1521619"/>
                        <a:gd name="connsiteY63" fmla="*/ 552450 h 969169"/>
                        <a:gd name="connsiteX64" fmla="*/ 697707 w 1521619"/>
                        <a:gd name="connsiteY64" fmla="*/ 533400 h 969169"/>
                        <a:gd name="connsiteX65" fmla="*/ 654844 w 1521619"/>
                        <a:gd name="connsiteY65" fmla="*/ 542925 h 969169"/>
                        <a:gd name="connsiteX66" fmla="*/ 642938 w 1521619"/>
                        <a:gd name="connsiteY66" fmla="*/ 564357 h 969169"/>
                        <a:gd name="connsiteX67" fmla="*/ 581025 w 1521619"/>
                        <a:gd name="connsiteY67" fmla="*/ 550069 h 969169"/>
                        <a:gd name="connsiteX68" fmla="*/ 471488 w 1521619"/>
                        <a:gd name="connsiteY68" fmla="*/ 626269 h 969169"/>
                        <a:gd name="connsiteX69" fmla="*/ 504825 w 1521619"/>
                        <a:gd name="connsiteY69" fmla="*/ 728663 h 969169"/>
                        <a:gd name="connsiteX70" fmla="*/ 526257 w 1521619"/>
                        <a:gd name="connsiteY70" fmla="*/ 797719 h 969169"/>
                        <a:gd name="connsiteX71" fmla="*/ 445294 w 1521619"/>
                        <a:gd name="connsiteY71" fmla="*/ 859632 h 969169"/>
                        <a:gd name="connsiteX72" fmla="*/ 316707 w 1521619"/>
                        <a:gd name="connsiteY72" fmla="*/ 964407 h 969169"/>
                        <a:gd name="connsiteX73" fmla="*/ 250032 w 1521619"/>
                        <a:gd name="connsiteY73" fmla="*/ 912019 h 969169"/>
                        <a:gd name="connsiteX74" fmla="*/ 207169 w 1521619"/>
                        <a:gd name="connsiteY74" fmla="*/ 969169 h 969169"/>
                        <a:gd name="connsiteX75" fmla="*/ 0 w 1521619"/>
                        <a:gd name="connsiteY75" fmla="*/ 962025 h 969169"/>
                        <a:gd name="connsiteX76" fmla="*/ 0 w 1521619"/>
                        <a:gd name="connsiteY76" fmla="*/ 766763 h 969169"/>
                        <a:gd name="connsiteX77" fmla="*/ 59532 w 1521619"/>
                        <a:gd name="connsiteY77" fmla="*/ 719138 h 969169"/>
                        <a:gd name="connsiteX78" fmla="*/ 35719 w 1521619"/>
                        <a:gd name="connsiteY78" fmla="*/ 678657 h 969169"/>
                        <a:gd name="connsiteX79" fmla="*/ 73819 w 1521619"/>
                        <a:gd name="connsiteY79" fmla="*/ 642938 h 969169"/>
                        <a:gd name="connsiteX80" fmla="*/ 40482 w 1521619"/>
                        <a:gd name="connsiteY80" fmla="*/ 592932 h 969169"/>
                        <a:gd name="connsiteX81" fmla="*/ 71438 w 1521619"/>
                        <a:gd name="connsiteY81" fmla="*/ 554832 h 969169"/>
                        <a:gd name="connsiteX82" fmla="*/ 14288 w 1521619"/>
                        <a:gd name="connsiteY82" fmla="*/ 481013 h 969169"/>
                        <a:gd name="connsiteX83" fmla="*/ 71438 w 1521619"/>
                        <a:gd name="connsiteY83" fmla="*/ 433388 h 969169"/>
                        <a:gd name="connsiteX84" fmla="*/ 66675 w 1521619"/>
                        <a:gd name="connsiteY84" fmla="*/ 395288 h 969169"/>
                        <a:gd name="connsiteX85" fmla="*/ 30957 w 1521619"/>
                        <a:gd name="connsiteY85" fmla="*/ 383382 h 969169"/>
                        <a:gd name="connsiteX86" fmla="*/ 66675 w 1521619"/>
                        <a:gd name="connsiteY86" fmla="*/ 340519 h 969169"/>
                        <a:gd name="connsiteX87" fmla="*/ 57150 w 1521619"/>
                        <a:gd name="connsiteY87" fmla="*/ 280988 h 969169"/>
                        <a:gd name="connsiteX88" fmla="*/ 50007 w 1521619"/>
                        <a:gd name="connsiteY88" fmla="*/ 240507 h 969169"/>
                        <a:gd name="connsiteX0" fmla="*/ 50007 w 1521619"/>
                        <a:gd name="connsiteY0" fmla="*/ 240507 h 969169"/>
                        <a:gd name="connsiteX1" fmla="*/ 345282 w 1521619"/>
                        <a:gd name="connsiteY1" fmla="*/ 130969 h 969169"/>
                        <a:gd name="connsiteX2" fmla="*/ 397669 w 1521619"/>
                        <a:gd name="connsiteY2" fmla="*/ 142875 h 969169"/>
                        <a:gd name="connsiteX3" fmla="*/ 459582 w 1521619"/>
                        <a:gd name="connsiteY3" fmla="*/ 50007 h 969169"/>
                        <a:gd name="connsiteX4" fmla="*/ 552450 w 1521619"/>
                        <a:gd name="connsiteY4" fmla="*/ 0 h 969169"/>
                        <a:gd name="connsiteX5" fmla="*/ 647700 w 1521619"/>
                        <a:gd name="connsiteY5" fmla="*/ 4763 h 969169"/>
                        <a:gd name="connsiteX6" fmla="*/ 747713 w 1521619"/>
                        <a:gd name="connsiteY6" fmla="*/ 57150 h 969169"/>
                        <a:gd name="connsiteX7" fmla="*/ 781050 w 1521619"/>
                        <a:gd name="connsiteY7" fmla="*/ 73819 h 969169"/>
                        <a:gd name="connsiteX8" fmla="*/ 831057 w 1521619"/>
                        <a:gd name="connsiteY8" fmla="*/ 23813 h 969169"/>
                        <a:gd name="connsiteX9" fmla="*/ 876300 w 1521619"/>
                        <a:gd name="connsiteY9" fmla="*/ 11907 h 969169"/>
                        <a:gd name="connsiteX10" fmla="*/ 921544 w 1521619"/>
                        <a:gd name="connsiteY10" fmla="*/ 52388 h 969169"/>
                        <a:gd name="connsiteX11" fmla="*/ 938213 w 1521619"/>
                        <a:gd name="connsiteY11" fmla="*/ 102394 h 969169"/>
                        <a:gd name="connsiteX12" fmla="*/ 933450 w 1521619"/>
                        <a:gd name="connsiteY12" fmla="*/ 154782 h 969169"/>
                        <a:gd name="connsiteX13" fmla="*/ 981075 w 1521619"/>
                        <a:gd name="connsiteY13" fmla="*/ 209550 h 969169"/>
                        <a:gd name="connsiteX14" fmla="*/ 992982 w 1521619"/>
                        <a:gd name="connsiteY14" fmla="*/ 228600 h 969169"/>
                        <a:gd name="connsiteX15" fmla="*/ 973932 w 1521619"/>
                        <a:gd name="connsiteY15" fmla="*/ 288132 h 969169"/>
                        <a:gd name="connsiteX16" fmla="*/ 978694 w 1521619"/>
                        <a:gd name="connsiteY16" fmla="*/ 316707 h 969169"/>
                        <a:gd name="connsiteX17" fmla="*/ 947738 w 1521619"/>
                        <a:gd name="connsiteY17" fmla="*/ 345282 h 969169"/>
                        <a:gd name="connsiteX18" fmla="*/ 973932 w 1521619"/>
                        <a:gd name="connsiteY18" fmla="*/ 390525 h 969169"/>
                        <a:gd name="connsiteX19" fmla="*/ 995363 w 1521619"/>
                        <a:gd name="connsiteY19" fmla="*/ 397669 h 969169"/>
                        <a:gd name="connsiteX20" fmla="*/ 1023938 w 1521619"/>
                        <a:gd name="connsiteY20" fmla="*/ 366713 h 969169"/>
                        <a:gd name="connsiteX21" fmla="*/ 1064419 w 1521619"/>
                        <a:gd name="connsiteY21" fmla="*/ 404813 h 969169"/>
                        <a:gd name="connsiteX22" fmla="*/ 1116807 w 1521619"/>
                        <a:gd name="connsiteY22" fmla="*/ 345282 h 969169"/>
                        <a:gd name="connsiteX23" fmla="*/ 1166813 w 1521619"/>
                        <a:gd name="connsiteY23" fmla="*/ 321469 h 969169"/>
                        <a:gd name="connsiteX24" fmla="*/ 1209675 w 1521619"/>
                        <a:gd name="connsiteY24" fmla="*/ 357188 h 969169"/>
                        <a:gd name="connsiteX25" fmla="*/ 1228725 w 1521619"/>
                        <a:gd name="connsiteY25" fmla="*/ 388144 h 969169"/>
                        <a:gd name="connsiteX26" fmla="*/ 1231107 w 1521619"/>
                        <a:gd name="connsiteY26" fmla="*/ 435769 h 969169"/>
                        <a:gd name="connsiteX27" fmla="*/ 1271588 w 1521619"/>
                        <a:gd name="connsiteY27" fmla="*/ 445294 h 969169"/>
                        <a:gd name="connsiteX28" fmla="*/ 1281113 w 1521619"/>
                        <a:gd name="connsiteY28" fmla="*/ 383382 h 969169"/>
                        <a:gd name="connsiteX29" fmla="*/ 1316832 w 1521619"/>
                        <a:gd name="connsiteY29" fmla="*/ 366713 h 969169"/>
                        <a:gd name="connsiteX30" fmla="*/ 1388269 w 1521619"/>
                        <a:gd name="connsiteY30" fmla="*/ 414338 h 969169"/>
                        <a:gd name="connsiteX31" fmla="*/ 1416844 w 1521619"/>
                        <a:gd name="connsiteY31" fmla="*/ 421482 h 969169"/>
                        <a:gd name="connsiteX32" fmla="*/ 1464469 w 1521619"/>
                        <a:gd name="connsiteY32" fmla="*/ 376238 h 969169"/>
                        <a:gd name="connsiteX33" fmla="*/ 1507332 w 1521619"/>
                        <a:gd name="connsiteY33" fmla="*/ 421482 h 969169"/>
                        <a:gd name="connsiteX34" fmla="*/ 1493044 w 1521619"/>
                        <a:gd name="connsiteY34" fmla="*/ 447675 h 969169"/>
                        <a:gd name="connsiteX35" fmla="*/ 1454944 w 1521619"/>
                        <a:gd name="connsiteY35" fmla="*/ 466725 h 969169"/>
                        <a:gd name="connsiteX36" fmla="*/ 1421607 w 1521619"/>
                        <a:gd name="connsiteY36" fmla="*/ 507207 h 969169"/>
                        <a:gd name="connsiteX37" fmla="*/ 1388269 w 1521619"/>
                        <a:gd name="connsiteY37" fmla="*/ 547688 h 969169"/>
                        <a:gd name="connsiteX38" fmla="*/ 1388269 w 1521619"/>
                        <a:gd name="connsiteY38" fmla="*/ 547688 h 969169"/>
                        <a:gd name="connsiteX39" fmla="*/ 1416844 w 1521619"/>
                        <a:gd name="connsiteY39" fmla="*/ 588169 h 969169"/>
                        <a:gd name="connsiteX40" fmla="*/ 1426369 w 1521619"/>
                        <a:gd name="connsiteY40" fmla="*/ 635794 h 969169"/>
                        <a:gd name="connsiteX41" fmla="*/ 1478757 w 1521619"/>
                        <a:gd name="connsiteY41" fmla="*/ 619125 h 969169"/>
                        <a:gd name="connsiteX42" fmla="*/ 1464469 w 1521619"/>
                        <a:gd name="connsiteY42" fmla="*/ 657225 h 969169"/>
                        <a:gd name="connsiteX43" fmla="*/ 1438275 w 1521619"/>
                        <a:gd name="connsiteY43" fmla="*/ 683419 h 969169"/>
                        <a:gd name="connsiteX44" fmla="*/ 1485900 w 1521619"/>
                        <a:gd name="connsiteY44" fmla="*/ 719138 h 969169"/>
                        <a:gd name="connsiteX45" fmla="*/ 1521619 w 1521619"/>
                        <a:gd name="connsiteY45" fmla="*/ 738188 h 969169"/>
                        <a:gd name="connsiteX46" fmla="*/ 1502569 w 1521619"/>
                        <a:gd name="connsiteY46" fmla="*/ 764382 h 969169"/>
                        <a:gd name="connsiteX47" fmla="*/ 1473994 w 1521619"/>
                        <a:gd name="connsiteY47" fmla="*/ 759619 h 969169"/>
                        <a:gd name="connsiteX48" fmla="*/ 1512094 w 1521619"/>
                        <a:gd name="connsiteY48" fmla="*/ 814388 h 969169"/>
                        <a:gd name="connsiteX49" fmla="*/ 1473994 w 1521619"/>
                        <a:gd name="connsiteY49" fmla="*/ 816769 h 969169"/>
                        <a:gd name="connsiteX50" fmla="*/ 1438275 w 1521619"/>
                        <a:gd name="connsiteY50" fmla="*/ 812007 h 969169"/>
                        <a:gd name="connsiteX51" fmla="*/ 1362075 w 1521619"/>
                        <a:gd name="connsiteY51" fmla="*/ 795338 h 969169"/>
                        <a:gd name="connsiteX52" fmla="*/ 1328738 w 1521619"/>
                        <a:gd name="connsiteY52" fmla="*/ 790575 h 969169"/>
                        <a:gd name="connsiteX53" fmla="*/ 1309688 w 1521619"/>
                        <a:gd name="connsiteY53" fmla="*/ 723900 h 969169"/>
                        <a:gd name="connsiteX54" fmla="*/ 1171575 w 1521619"/>
                        <a:gd name="connsiteY54" fmla="*/ 757238 h 969169"/>
                        <a:gd name="connsiteX55" fmla="*/ 1135857 w 1521619"/>
                        <a:gd name="connsiteY55" fmla="*/ 738188 h 969169"/>
                        <a:gd name="connsiteX56" fmla="*/ 1052513 w 1521619"/>
                        <a:gd name="connsiteY56" fmla="*/ 645319 h 969169"/>
                        <a:gd name="connsiteX57" fmla="*/ 1019175 w 1521619"/>
                        <a:gd name="connsiteY57" fmla="*/ 654844 h 969169"/>
                        <a:gd name="connsiteX58" fmla="*/ 983457 w 1521619"/>
                        <a:gd name="connsiteY58" fmla="*/ 652463 h 969169"/>
                        <a:gd name="connsiteX59" fmla="*/ 888207 w 1521619"/>
                        <a:gd name="connsiteY59" fmla="*/ 621507 h 969169"/>
                        <a:gd name="connsiteX60" fmla="*/ 831057 w 1521619"/>
                        <a:gd name="connsiteY60" fmla="*/ 673894 h 969169"/>
                        <a:gd name="connsiteX61" fmla="*/ 783432 w 1521619"/>
                        <a:gd name="connsiteY61" fmla="*/ 611982 h 969169"/>
                        <a:gd name="connsiteX62" fmla="*/ 738188 w 1521619"/>
                        <a:gd name="connsiteY62" fmla="*/ 597694 h 969169"/>
                        <a:gd name="connsiteX63" fmla="*/ 733425 w 1521619"/>
                        <a:gd name="connsiteY63" fmla="*/ 552450 h 969169"/>
                        <a:gd name="connsiteX64" fmla="*/ 697707 w 1521619"/>
                        <a:gd name="connsiteY64" fmla="*/ 533400 h 969169"/>
                        <a:gd name="connsiteX65" fmla="*/ 654844 w 1521619"/>
                        <a:gd name="connsiteY65" fmla="*/ 542925 h 969169"/>
                        <a:gd name="connsiteX66" fmla="*/ 642938 w 1521619"/>
                        <a:gd name="connsiteY66" fmla="*/ 564357 h 969169"/>
                        <a:gd name="connsiteX67" fmla="*/ 581025 w 1521619"/>
                        <a:gd name="connsiteY67" fmla="*/ 550069 h 969169"/>
                        <a:gd name="connsiteX68" fmla="*/ 471488 w 1521619"/>
                        <a:gd name="connsiteY68" fmla="*/ 626269 h 969169"/>
                        <a:gd name="connsiteX69" fmla="*/ 504825 w 1521619"/>
                        <a:gd name="connsiteY69" fmla="*/ 728663 h 969169"/>
                        <a:gd name="connsiteX70" fmla="*/ 526257 w 1521619"/>
                        <a:gd name="connsiteY70" fmla="*/ 797719 h 969169"/>
                        <a:gd name="connsiteX71" fmla="*/ 445294 w 1521619"/>
                        <a:gd name="connsiteY71" fmla="*/ 859632 h 969169"/>
                        <a:gd name="connsiteX72" fmla="*/ 316707 w 1521619"/>
                        <a:gd name="connsiteY72" fmla="*/ 964407 h 969169"/>
                        <a:gd name="connsiteX73" fmla="*/ 250032 w 1521619"/>
                        <a:gd name="connsiteY73" fmla="*/ 912019 h 969169"/>
                        <a:gd name="connsiteX74" fmla="*/ 207169 w 1521619"/>
                        <a:gd name="connsiteY74" fmla="*/ 969169 h 969169"/>
                        <a:gd name="connsiteX75" fmla="*/ 0 w 1521619"/>
                        <a:gd name="connsiteY75" fmla="*/ 962025 h 969169"/>
                        <a:gd name="connsiteX76" fmla="*/ 0 w 1521619"/>
                        <a:gd name="connsiteY76" fmla="*/ 766763 h 969169"/>
                        <a:gd name="connsiteX77" fmla="*/ 59532 w 1521619"/>
                        <a:gd name="connsiteY77" fmla="*/ 719138 h 969169"/>
                        <a:gd name="connsiteX78" fmla="*/ 35719 w 1521619"/>
                        <a:gd name="connsiteY78" fmla="*/ 678657 h 969169"/>
                        <a:gd name="connsiteX79" fmla="*/ 73819 w 1521619"/>
                        <a:gd name="connsiteY79" fmla="*/ 642938 h 969169"/>
                        <a:gd name="connsiteX80" fmla="*/ 40482 w 1521619"/>
                        <a:gd name="connsiteY80" fmla="*/ 592932 h 969169"/>
                        <a:gd name="connsiteX81" fmla="*/ 71438 w 1521619"/>
                        <a:gd name="connsiteY81" fmla="*/ 554832 h 969169"/>
                        <a:gd name="connsiteX82" fmla="*/ 14288 w 1521619"/>
                        <a:gd name="connsiteY82" fmla="*/ 481013 h 969169"/>
                        <a:gd name="connsiteX83" fmla="*/ 71438 w 1521619"/>
                        <a:gd name="connsiteY83" fmla="*/ 433388 h 969169"/>
                        <a:gd name="connsiteX84" fmla="*/ 66675 w 1521619"/>
                        <a:gd name="connsiteY84" fmla="*/ 395288 h 969169"/>
                        <a:gd name="connsiteX85" fmla="*/ 30957 w 1521619"/>
                        <a:gd name="connsiteY85" fmla="*/ 383382 h 969169"/>
                        <a:gd name="connsiteX86" fmla="*/ 66675 w 1521619"/>
                        <a:gd name="connsiteY86" fmla="*/ 340519 h 969169"/>
                        <a:gd name="connsiteX87" fmla="*/ 30956 w 1521619"/>
                        <a:gd name="connsiteY87" fmla="*/ 280988 h 969169"/>
                        <a:gd name="connsiteX88" fmla="*/ 50007 w 1521619"/>
                        <a:gd name="connsiteY88" fmla="*/ 240507 h 969169"/>
                        <a:gd name="connsiteX0" fmla="*/ 50007 w 1521619"/>
                        <a:gd name="connsiteY0" fmla="*/ 240507 h 969169"/>
                        <a:gd name="connsiteX1" fmla="*/ 345282 w 1521619"/>
                        <a:gd name="connsiteY1" fmla="*/ 130969 h 969169"/>
                        <a:gd name="connsiteX2" fmla="*/ 397669 w 1521619"/>
                        <a:gd name="connsiteY2" fmla="*/ 142875 h 969169"/>
                        <a:gd name="connsiteX3" fmla="*/ 459582 w 1521619"/>
                        <a:gd name="connsiteY3" fmla="*/ 50007 h 969169"/>
                        <a:gd name="connsiteX4" fmla="*/ 552450 w 1521619"/>
                        <a:gd name="connsiteY4" fmla="*/ 0 h 969169"/>
                        <a:gd name="connsiteX5" fmla="*/ 647700 w 1521619"/>
                        <a:gd name="connsiteY5" fmla="*/ 4763 h 969169"/>
                        <a:gd name="connsiteX6" fmla="*/ 747713 w 1521619"/>
                        <a:gd name="connsiteY6" fmla="*/ 57150 h 969169"/>
                        <a:gd name="connsiteX7" fmla="*/ 781050 w 1521619"/>
                        <a:gd name="connsiteY7" fmla="*/ 73819 h 969169"/>
                        <a:gd name="connsiteX8" fmla="*/ 831057 w 1521619"/>
                        <a:gd name="connsiteY8" fmla="*/ 23813 h 969169"/>
                        <a:gd name="connsiteX9" fmla="*/ 876300 w 1521619"/>
                        <a:gd name="connsiteY9" fmla="*/ 11907 h 969169"/>
                        <a:gd name="connsiteX10" fmla="*/ 921544 w 1521619"/>
                        <a:gd name="connsiteY10" fmla="*/ 52388 h 969169"/>
                        <a:gd name="connsiteX11" fmla="*/ 938213 w 1521619"/>
                        <a:gd name="connsiteY11" fmla="*/ 102394 h 969169"/>
                        <a:gd name="connsiteX12" fmla="*/ 933450 w 1521619"/>
                        <a:gd name="connsiteY12" fmla="*/ 154782 h 969169"/>
                        <a:gd name="connsiteX13" fmla="*/ 981075 w 1521619"/>
                        <a:gd name="connsiteY13" fmla="*/ 209550 h 969169"/>
                        <a:gd name="connsiteX14" fmla="*/ 992982 w 1521619"/>
                        <a:gd name="connsiteY14" fmla="*/ 228600 h 969169"/>
                        <a:gd name="connsiteX15" fmla="*/ 973932 w 1521619"/>
                        <a:gd name="connsiteY15" fmla="*/ 288132 h 969169"/>
                        <a:gd name="connsiteX16" fmla="*/ 978694 w 1521619"/>
                        <a:gd name="connsiteY16" fmla="*/ 316707 h 969169"/>
                        <a:gd name="connsiteX17" fmla="*/ 947738 w 1521619"/>
                        <a:gd name="connsiteY17" fmla="*/ 345282 h 969169"/>
                        <a:gd name="connsiteX18" fmla="*/ 973932 w 1521619"/>
                        <a:gd name="connsiteY18" fmla="*/ 390525 h 969169"/>
                        <a:gd name="connsiteX19" fmla="*/ 995363 w 1521619"/>
                        <a:gd name="connsiteY19" fmla="*/ 397669 h 969169"/>
                        <a:gd name="connsiteX20" fmla="*/ 1023938 w 1521619"/>
                        <a:gd name="connsiteY20" fmla="*/ 366713 h 969169"/>
                        <a:gd name="connsiteX21" fmla="*/ 1064419 w 1521619"/>
                        <a:gd name="connsiteY21" fmla="*/ 404813 h 969169"/>
                        <a:gd name="connsiteX22" fmla="*/ 1116807 w 1521619"/>
                        <a:gd name="connsiteY22" fmla="*/ 345282 h 969169"/>
                        <a:gd name="connsiteX23" fmla="*/ 1166813 w 1521619"/>
                        <a:gd name="connsiteY23" fmla="*/ 321469 h 969169"/>
                        <a:gd name="connsiteX24" fmla="*/ 1209675 w 1521619"/>
                        <a:gd name="connsiteY24" fmla="*/ 357188 h 969169"/>
                        <a:gd name="connsiteX25" fmla="*/ 1228725 w 1521619"/>
                        <a:gd name="connsiteY25" fmla="*/ 388144 h 969169"/>
                        <a:gd name="connsiteX26" fmla="*/ 1231107 w 1521619"/>
                        <a:gd name="connsiteY26" fmla="*/ 435769 h 969169"/>
                        <a:gd name="connsiteX27" fmla="*/ 1271588 w 1521619"/>
                        <a:gd name="connsiteY27" fmla="*/ 445294 h 969169"/>
                        <a:gd name="connsiteX28" fmla="*/ 1281113 w 1521619"/>
                        <a:gd name="connsiteY28" fmla="*/ 383382 h 969169"/>
                        <a:gd name="connsiteX29" fmla="*/ 1316832 w 1521619"/>
                        <a:gd name="connsiteY29" fmla="*/ 366713 h 969169"/>
                        <a:gd name="connsiteX30" fmla="*/ 1388269 w 1521619"/>
                        <a:gd name="connsiteY30" fmla="*/ 414338 h 969169"/>
                        <a:gd name="connsiteX31" fmla="*/ 1416844 w 1521619"/>
                        <a:gd name="connsiteY31" fmla="*/ 421482 h 969169"/>
                        <a:gd name="connsiteX32" fmla="*/ 1464469 w 1521619"/>
                        <a:gd name="connsiteY32" fmla="*/ 376238 h 969169"/>
                        <a:gd name="connsiteX33" fmla="*/ 1507332 w 1521619"/>
                        <a:gd name="connsiteY33" fmla="*/ 421482 h 969169"/>
                        <a:gd name="connsiteX34" fmla="*/ 1493044 w 1521619"/>
                        <a:gd name="connsiteY34" fmla="*/ 447675 h 969169"/>
                        <a:gd name="connsiteX35" fmla="*/ 1454944 w 1521619"/>
                        <a:gd name="connsiteY35" fmla="*/ 466725 h 969169"/>
                        <a:gd name="connsiteX36" fmla="*/ 1421607 w 1521619"/>
                        <a:gd name="connsiteY36" fmla="*/ 507207 h 969169"/>
                        <a:gd name="connsiteX37" fmla="*/ 1388269 w 1521619"/>
                        <a:gd name="connsiteY37" fmla="*/ 547688 h 969169"/>
                        <a:gd name="connsiteX38" fmla="*/ 1388269 w 1521619"/>
                        <a:gd name="connsiteY38" fmla="*/ 547688 h 969169"/>
                        <a:gd name="connsiteX39" fmla="*/ 1416844 w 1521619"/>
                        <a:gd name="connsiteY39" fmla="*/ 588169 h 969169"/>
                        <a:gd name="connsiteX40" fmla="*/ 1426369 w 1521619"/>
                        <a:gd name="connsiteY40" fmla="*/ 635794 h 969169"/>
                        <a:gd name="connsiteX41" fmla="*/ 1478757 w 1521619"/>
                        <a:gd name="connsiteY41" fmla="*/ 619125 h 969169"/>
                        <a:gd name="connsiteX42" fmla="*/ 1464469 w 1521619"/>
                        <a:gd name="connsiteY42" fmla="*/ 657225 h 969169"/>
                        <a:gd name="connsiteX43" fmla="*/ 1438275 w 1521619"/>
                        <a:gd name="connsiteY43" fmla="*/ 683419 h 969169"/>
                        <a:gd name="connsiteX44" fmla="*/ 1485900 w 1521619"/>
                        <a:gd name="connsiteY44" fmla="*/ 719138 h 969169"/>
                        <a:gd name="connsiteX45" fmla="*/ 1521619 w 1521619"/>
                        <a:gd name="connsiteY45" fmla="*/ 738188 h 969169"/>
                        <a:gd name="connsiteX46" fmla="*/ 1502569 w 1521619"/>
                        <a:gd name="connsiteY46" fmla="*/ 764382 h 969169"/>
                        <a:gd name="connsiteX47" fmla="*/ 1473994 w 1521619"/>
                        <a:gd name="connsiteY47" fmla="*/ 759619 h 969169"/>
                        <a:gd name="connsiteX48" fmla="*/ 1512094 w 1521619"/>
                        <a:gd name="connsiteY48" fmla="*/ 814388 h 969169"/>
                        <a:gd name="connsiteX49" fmla="*/ 1473994 w 1521619"/>
                        <a:gd name="connsiteY49" fmla="*/ 816769 h 969169"/>
                        <a:gd name="connsiteX50" fmla="*/ 1438275 w 1521619"/>
                        <a:gd name="connsiteY50" fmla="*/ 812007 h 969169"/>
                        <a:gd name="connsiteX51" fmla="*/ 1362075 w 1521619"/>
                        <a:gd name="connsiteY51" fmla="*/ 795338 h 969169"/>
                        <a:gd name="connsiteX52" fmla="*/ 1328738 w 1521619"/>
                        <a:gd name="connsiteY52" fmla="*/ 790575 h 969169"/>
                        <a:gd name="connsiteX53" fmla="*/ 1309688 w 1521619"/>
                        <a:gd name="connsiteY53" fmla="*/ 723900 h 969169"/>
                        <a:gd name="connsiteX54" fmla="*/ 1171575 w 1521619"/>
                        <a:gd name="connsiteY54" fmla="*/ 757238 h 969169"/>
                        <a:gd name="connsiteX55" fmla="*/ 1135857 w 1521619"/>
                        <a:gd name="connsiteY55" fmla="*/ 738188 h 969169"/>
                        <a:gd name="connsiteX56" fmla="*/ 1052513 w 1521619"/>
                        <a:gd name="connsiteY56" fmla="*/ 645319 h 969169"/>
                        <a:gd name="connsiteX57" fmla="*/ 1019175 w 1521619"/>
                        <a:gd name="connsiteY57" fmla="*/ 654844 h 969169"/>
                        <a:gd name="connsiteX58" fmla="*/ 983457 w 1521619"/>
                        <a:gd name="connsiteY58" fmla="*/ 652463 h 969169"/>
                        <a:gd name="connsiteX59" fmla="*/ 888207 w 1521619"/>
                        <a:gd name="connsiteY59" fmla="*/ 621507 h 969169"/>
                        <a:gd name="connsiteX60" fmla="*/ 831057 w 1521619"/>
                        <a:gd name="connsiteY60" fmla="*/ 673894 h 969169"/>
                        <a:gd name="connsiteX61" fmla="*/ 783432 w 1521619"/>
                        <a:gd name="connsiteY61" fmla="*/ 611982 h 969169"/>
                        <a:gd name="connsiteX62" fmla="*/ 738188 w 1521619"/>
                        <a:gd name="connsiteY62" fmla="*/ 597694 h 969169"/>
                        <a:gd name="connsiteX63" fmla="*/ 733425 w 1521619"/>
                        <a:gd name="connsiteY63" fmla="*/ 552450 h 969169"/>
                        <a:gd name="connsiteX64" fmla="*/ 697707 w 1521619"/>
                        <a:gd name="connsiteY64" fmla="*/ 533400 h 969169"/>
                        <a:gd name="connsiteX65" fmla="*/ 654844 w 1521619"/>
                        <a:gd name="connsiteY65" fmla="*/ 542925 h 969169"/>
                        <a:gd name="connsiteX66" fmla="*/ 642938 w 1521619"/>
                        <a:gd name="connsiteY66" fmla="*/ 564357 h 969169"/>
                        <a:gd name="connsiteX67" fmla="*/ 581025 w 1521619"/>
                        <a:gd name="connsiteY67" fmla="*/ 550069 h 969169"/>
                        <a:gd name="connsiteX68" fmla="*/ 471488 w 1521619"/>
                        <a:gd name="connsiteY68" fmla="*/ 626269 h 969169"/>
                        <a:gd name="connsiteX69" fmla="*/ 504825 w 1521619"/>
                        <a:gd name="connsiteY69" fmla="*/ 728663 h 969169"/>
                        <a:gd name="connsiteX70" fmla="*/ 526257 w 1521619"/>
                        <a:gd name="connsiteY70" fmla="*/ 797719 h 969169"/>
                        <a:gd name="connsiteX71" fmla="*/ 445294 w 1521619"/>
                        <a:gd name="connsiteY71" fmla="*/ 859632 h 969169"/>
                        <a:gd name="connsiteX72" fmla="*/ 316707 w 1521619"/>
                        <a:gd name="connsiteY72" fmla="*/ 964407 h 969169"/>
                        <a:gd name="connsiteX73" fmla="*/ 250032 w 1521619"/>
                        <a:gd name="connsiteY73" fmla="*/ 912019 h 969169"/>
                        <a:gd name="connsiteX74" fmla="*/ 207169 w 1521619"/>
                        <a:gd name="connsiteY74" fmla="*/ 969169 h 969169"/>
                        <a:gd name="connsiteX75" fmla="*/ 0 w 1521619"/>
                        <a:gd name="connsiteY75" fmla="*/ 962025 h 969169"/>
                        <a:gd name="connsiteX76" fmla="*/ 0 w 1521619"/>
                        <a:gd name="connsiteY76" fmla="*/ 766763 h 969169"/>
                        <a:gd name="connsiteX77" fmla="*/ 59532 w 1521619"/>
                        <a:gd name="connsiteY77" fmla="*/ 719138 h 969169"/>
                        <a:gd name="connsiteX78" fmla="*/ 35719 w 1521619"/>
                        <a:gd name="connsiteY78" fmla="*/ 678657 h 969169"/>
                        <a:gd name="connsiteX79" fmla="*/ 73819 w 1521619"/>
                        <a:gd name="connsiteY79" fmla="*/ 642938 h 969169"/>
                        <a:gd name="connsiteX80" fmla="*/ 40482 w 1521619"/>
                        <a:gd name="connsiteY80" fmla="*/ 592932 h 969169"/>
                        <a:gd name="connsiteX81" fmla="*/ 71438 w 1521619"/>
                        <a:gd name="connsiteY81" fmla="*/ 554832 h 969169"/>
                        <a:gd name="connsiteX82" fmla="*/ 14288 w 1521619"/>
                        <a:gd name="connsiteY82" fmla="*/ 481013 h 969169"/>
                        <a:gd name="connsiteX83" fmla="*/ 71438 w 1521619"/>
                        <a:gd name="connsiteY83" fmla="*/ 433388 h 969169"/>
                        <a:gd name="connsiteX84" fmla="*/ 66675 w 1521619"/>
                        <a:gd name="connsiteY84" fmla="*/ 395288 h 969169"/>
                        <a:gd name="connsiteX85" fmla="*/ 30957 w 1521619"/>
                        <a:gd name="connsiteY85" fmla="*/ 383382 h 969169"/>
                        <a:gd name="connsiteX86" fmla="*/ 66675 w 1521619"/>
                        <a:gd name="connsiteY86" fmla="*/ 340519 h 969169"/>
                        <a:gd name="connsiteX87" fmla="*/ 28575 w 1521619"/>
                        <a:gd name="connsiteY87" fmla="*/ 273845 h 969169"/>
                        <a:gd name="connsiteX88" fmla="*/ 50007 w 1521619"/>
                        <a:gd name="connsiteY88" fmla="*/ 240507 h 969169"/>
                        <a:gd name="connsiteX0" fmla="*/ 54769 w 1526381"/>
                        <a:gd name="connsiteY0" fmla="*/ 240507 h 969169"/>
                        <a:gd name="connsiteX1" fmla="*/ 350044 w 1526381"/>
                        <a:gd name="connsiteY1" fmla="*/ 130969 h 969169"/>
                        <a:gd name="connsiteX2" fmla="*/ 402431 w 1526381"/>
                        <a:gd name="connsiteY2" fmla="*/ 142875 h 969169"/>
                        <a:gd name="connsiteX3" fmla="*/ 464344 w 1526381"/>
                        <a:gd name="connsiteY3" fmla="*/ 50007 h 969169"/>
                        <a:gd name="connsiteX4" fmla="*/ 557212 w 1526381"/>
                        <a:gd name="connsiteY4" fmla="*/ 0 h 969169"/>
                        <a:gd name="connsiteX5" fmla="*/ 652462 w 1526381"/>
                        <a:gd name="connsiteY5" fmla="*/ 4763 h 969169"/>
                        <a:gd name="connsiteX6" fmla="*/ 752475 w 1526381"/>
                        <a:gd name="connsiteY6" fmla="*/ 57150 h 969169"/>
                        <a:gd name="connsiteX7" fmla="*/ 785812 w 1526381"/>
                        <a:gd name="connsiteY7" fmla="*/ 73819 h 969169"/>
                        <a:gd name="connsiteX8" fmla="*/ 835819 w 1526381"/>
                        <a:gd name="connsiteY8" fmla="*/ 23813 h 969169"/>
                        <a:gd name="connsiteX9" fmla="*/ 881062 w 1526381"/>
                        <a:gd name="connsiteY9" fmla="*/ 11907 h 969169"/>
                        <a:gd name="connsiteX10" fmla="*/ 926306 w 1526381"/>
                        <a:gd name="connsiteY10" fmla="*/ 52388 h 969169"/>
                        <a:gd name="connsiteX11" fmla="*/ 942975 w 1526381"/>
                        <a:gd name="connsiteY11" fmla="*/ 102394 h 969169"/>
                        <a:gd name="connsiteX12" fmla="*/ 938212 w 1526381"/>
                        <a:gd name="connsiteY12" fmla="*/ 154782 h 969169"/>
                        <a:gd name="connsiteX13" fmla="*/ 985837 w 1526381"/>
                        <a:gd name="connsiteY13" fmla="*/ 209550 h 969169"/>
                        <a:gd name="connsiteX14" fmla="*/ 997744 w 1526381"/>
                        <a:gd name="connsiteY14" fmla="*/ 228600 h 969169"/>
                        <a:gd name="connsiteX15" fmla="*/ 978694 w 1526381"/>
                        <a:gd name="connsiteY15" fmla="*/ 288132 h 969169"/>
                        <a:gd name="connsiteX16" fmla="*/ 983456 w 1526381"/>
                        <a:gd name="connsiteY16" fmla="*/ 316707 h 969169"/>
                        <a:gd name="connsiteX17" fmla="*/ 952500 w 1526381"/>
                        <a:gd name="connsiteY17" fmla="*/ 345282 h 969169"/>
                        <a:gd name="connsiteX18" fmla="*/ 978694 w 1526381"/>
                        <a:gd name="connsiteY18" fmla="*/ 390525 h 969169"/>
                        <a:gd name="connsiteX19" fmla="*/ 1000125 w 1526381"/>
                        <a:gd name="connsiteY19" fmla="*/ 397669 h 969169"/>
                        <a:gd name="connsiteX20" fmla="*/ 1028700 w 1526381"/>
                        <a:gd name="connsiteY20" fmla="*/ 366713 h 969169"/>
                        <a:gd name="connsiteX21" fmla="*/ 1069181 w 1526381"/>
                        <a:gd name="connsiteY21" fmla="*/ 404813 h 969169"/>
                        <a:gd name="connsiteX22" fmla="*/ 1121569 w 1526381"/>
                        <a:gd name="connsiteY22" fmla="*/ 345282 h 969169"/>
                        <a:gd name="connsiteX23" fmla="*/ 1171575 w 1526381"/>
                        <a:gd name="connsiteY23" fmla="*/ 321469 h 969169"/>
                        <a:gd name="connsiteX24" fmla="*/ 1214437 w 1526381"/>
                        <a:gd name="connsiteY24" fmla="*/ 357188 h 969169"/>
                        <a:gd name="connsiteX25" fmla="*/ 1233487 w 1526381"/>
                        <a:gd name="connsiteY25" fmla="*/ 388144 h 969169"/>
                        <a:gd name="connsiteX26" fmla="*/ 1235869 w 1526381"/>
                        <a:gd name="connsiteY26" fmla="*/ 435769 h 969169"/>
                        <a:gd name="connsiteX27" fmla="*/ 1276350 w 1526381"/>
                        <a:gd name="connsiteY27" fmla="*/ 445294 h 969169"/>
                        <a:gd name="connsiteX28" fmla="*/ 1285875 w 1526381"/>
                        <a:gd name="connsiteY28" fmla="*/ 383382 h 969169"/>
                        <a:gd name="connsiteX29" fmla="*/ 1321594 w 1526381"/>
                        <a:gd name="connsiteY29" fmla="*/ 366713 h 969169"/>
                        <a:gd name="connsiteX30" fmla="*/ 1393031 w 1526381"/>
                        <a:gd name="connsiteY30" fmla="*/ 414338 h 969169"/>
                        <a:gd name="connsiteX31" fmla="*/ 1421606 w 1526381"/>
                        <a:gd name="connsiteY31" fmla="*/ 421482 h 969169"/>
                        <a:gd name="connsiteX32" fmla="*/ 1469231 w 1526381"/>
                        <a:gd name="connsiteY32" fmla="*/ 376238 h 969169"/>
                        <a:gd name="connsiteX33" fmla="*/ 1512094 w 1526381"/>
                        <a:gd name="connsiteY33" fmla="*/ 421482 h 969169"/>
                        <a:gd name="connsiteX34" fmla="*/ 1497806 w 1526381"/>
                        <a:gd name="connsiteY34" fmla="*/ 447675 h 969169"/>
                        <a:gd name="connsiteX35" fmla="*/ 1459706 w 1526381"/>
                        <a:gd name="connsiteY35" fmla="*/ 466725 h 969169"/>
                        <a:gd name="connsiteX36" fmla="*/ 1426369 w 1526381"/>
                        <a:gd name="connsiteY36" fmla="*/ 507207 h 969169"/>
                        <a:gd name="connsiteX37" fmla="*/ 1393031 w 1526381"/>
                        <a:gd name="connsiteY37" fmla="*/ 547688 h 969169"/>
                        <a:gd name="connsiteX38" fmla="*/ 1393031 w 1526381"/>
                        <a:gd name="connsiteY38" fmla="*/ 547688 h 969169"/>
                        <a:gd name="connsiteX39" fmla="*/ 1421606 w 1526381"/>
                        <a:gd name="connsiteY39" fmla="*/ 588169 h 969169"/>
                        <a:gd name="connsiteX40" fmla="*/ 1431131 w 1526381"/>
                        <a:gd name="connsiteY40" fmla="*/ 635794 h 969169"/>
                        <a:gd name="connsiteX41" fmla="*/ 1483519 w 1526381"/>
                        <a:gd name="connsiteY41" fmla="*/ 619125 h 969169"/>
                        <a:gd name="connsiteX42" fmla="*/ 1469231 w 1526381"/>
                        <a:gd name="connsiteY42" fmla="*/ 657225 h 969169"/>
                        <a:gd name="connsiteX43" fmla="*/ 1443037 w 1526381"/>
                        <a:gd name="connsiteY43" fmla="*/ 683419 h 969169"/>
                        <a:gd name="connsiteX44" fmla="*/ 1490662 w 1526381"/>
                        <a:gd name="connsiteY44" fmla="*/ 719138 h 969169"/>
                        <a:gd name="connsiteX45" fmla="*/ 1526381 w 1526381"/>
                        <a:gd name="connsiteY45" fmla="*/ 738188 h 969169"/>
                        <a:gd name="connsiteX46" fmla="*/ 1507331 w 1526381"/>
                        <a:gd name="connsiteY46" fmla="*/ 764382 h 969169"/>
                        <a:gd name="connsiteX47" fmla="*/ 1478756 w 1526381"/>
                        <a:gd name="connsiteY47" fmla="*/ 759619 h 969169"/>
                        <a:gd name="connsiteX48" fmla="*/ 1516856 w 1526381"/>
                        <a:gd name="connsiteY48" fmla="*/ 814388 h 969169"/>
                        <a:gd name="connsiteX49" fmla="*/ 1478756 w 1526381"/>
                        <a:gd name="connsiteY49" fmla="*/ 816769 h 969169"/>
                        <a:gd name="connsiteX50" fmla="*/ 1443037 w 1526381"/>
                        <a:gd name="connsiteY50" fmla="*/ 812007 h 969169"/>
                        <a:gd name="connsiteX51" fmla="*/ 1366837 w 1526381"/>
                        <a:gd name="connsiteY51" fmla="*/ 795338 h 969169"/>
                        <a:gd name="connsiteX52" fmla="*/ 1333500 w 1526381"/>
                        <a:gd name="connsiteY52" fmla="*/ 790575 h 969169"/>
                        <a:gd name="connsiteX53" fmla="*/ 1314450 w 1526381"/>
                        <a:gd name="connsiteY53" fmla="*/ 723900 h 969169"/>
                        <a:gd name="connsiteX54" fmla="*/ 1176337 w 1526381"/>
                        <a:gd name="connsiteY54" fmla="*/ 757238 h 969169"/>
                        <a:gd name="connsiteX55" fmla="*/ 1140619 w 1526381"/>
                        <a:gd name="connsiteY55" fmla="*/ 738188 h 969169"/>
                        <a:gd name="connsiteX56" fmla="*/ 1057275 w 1526381"/>
                        <a:gd name="connsiteY56" fmla="*/ 645319 h 969169"/>
                        <a:gd name="connsiteX57" fmla="*/ 1023937 w 1526381"/>
                        <a:gd name="connsiteY57" fmla="*/ 654844 h 969169"/>
                        <a:gd name="connsiteX58" fmla="*/ 988219 w 1526381"/>
                        <a:gd name="connsiteY58" fmla="*/ 652463 h 969169"/>
                        <a:gd name="connsiteX59" fmla="*/ 892969 w 1526381"/>
                        <a:gd name="connsiteY59" fmla="*/ 621507 h 969169"/>
                        <a:gd name="connsiteX60" fmla="*/ 835819 w 1526381"/>
                        <a:gd name="connsiteY60" fmla="*/ 673894 h 969169"/>
                        <a:gd name="connsiteX61" fmla="*/ 788194 w 1526381"/>
                        <a:gd name="connsiteY61" fmla="*/ 611982 h 969169"/>
                        <a:gd name="connsiteX62" fmla="*/ 742950 w 1526381"/>
                        <a:gd name="connsiteY62" fmla="*/ 597694 h 969169"/>
                        <a:gd name="connsiteX63" fmla="*/ 738187 w 1526381"/>
                        <a:gd name="connsiteY63" fmla="*/ 552450 h 969169"/>
                        <a:gd name="connsiteX64" fmla="*/ 702469 w 1526381"/>
                        <a:gd name="connsiteY64" fmla="*/ 533400 h 969169"/>
                        <a:gd name="connsiteX65" fmla="*/ 659606 w 1526381"/>
                        <a:gd name="connsiteY65" fmla="*/ 542925 h 969169"/>
                        <a:gd name="connsiteX66" fmla="*/ 647700 w 1526381"/>
                        <a:gd name="connsiteY66" fmla="*/ 564357 h 969169"/>
                        <a:gd name="connsiteX67" fmla="*/ 585787 w 1526381"/>
                        <a:gd name="connsiteY67" fmla="*/ 550069 h 969169"/>
                        <a:gd name="connsiteX68" fmla="*/ 476250 w 1526381"/>
                        <a:gd name="connsiteY68" fmla="*/ 626269 h 969169"/>
                        <a:gd name="connsiteX69" fmla="*/ 509587 w 1526381"/>
                        <a:gd name="connsiteY69" fmla="*/ 728663 h 969169"/>
                        <a:gd name="connsiteX70" fmla="*/ 531019 w 1526381"/>
                        <a:gd name="connsiteY70" fmla="*/ 797719 h 969169"/>
                        <a:gd name="connsiteX71" fmla="*/ 450056 w 1526381"/>
                        <a:gd name="connsiteY71" fmla="*/ 859632 h 969169"/>
                        <a:gd name="connsiteX72" fmla="*/ 321469 w 1526381"/>
                        <a:gd name="connsiteY72" fmla="*/ 964407 h 969169"/>
                        <a:gd name="connsiteX73" fmla="*/ 254794 w 1526381"/>
                        <a:gd name="connsiteY73" fmla="*/ 912019 h 969169"/>
                        <a:gd name="connsiteX74" fmla="*/ 211931 w 1526381"/>
                        <a:gd name="connsiteY74" fmla="*/ 969169 h 969169"/>
                        <a:gd name="connsiteX75" fmla="*/ 0 w 1526381"/>
                        <a:gd name="connsiteY75" fmla="*/ 966787 h 969169"/>
                        <a:gd name="connsiteX76" fmla="*/ 4762 w 1526381"/>
                        <a:gd name="connsiteY76" fmla="*/ 766763 h 969169"/>
                        <a:gd name="connsiteX77" fmla="*/ 64294 w 1526381"/>
                        <a:gd name="connsiteY77" fmla="*/ 719138 h 969169"/>
                        <a:gd name="connsiteX78" fmla="*/ 40481 w 1526381"/>
                        <a:gd name="connsiteY78" fmla="*/ 678657 h 969169"/>
                        <a:gd name="connsiteX79" fmla="*/ 78581 w 1526381"/>
                        <a:gd name="connsiteY79" fmla="*/ 642938 h 969169"/>
                        <a:gd name="connsiteX80" fmla="*/ 45244 w 1526381"/>
                        <a:gd name="connsiteY80" fmla="*/ 592932 h 969169"/>
                        <a:gd name="connsiteX81" fmla="*/ 76200 w 1526381"/>
                        <a:gd name="connsiteY81" fmla="*/ 554832 h 969169"/>
                        <a:gd name="connsiteX82" fmla="*/ 19050 w 1526381"/>
                        <a:gd name="connsiteY82" fmla="*/ 481013 h 969169"/>
                        <a:gd name="connsiteX83" fmla="*/ 76200 w 1526381"/>
                        <a:gd name="connsiteY83" fmla="*/ 433388 h 969169"/>
                        <a:gd name="connsiteX84" fmla="*/ 71437 w 1526381"/>
                        <a:gd name="connsiteY84" fmla="*/ 395288 h 969169"/>
                        <a:gd name="connsiteX85" fmla="*/ 35719 w 1526381"/>
                        <a:gd name="connsiteY85" fmla="*/ 383382 h 969169"/>
                        <a:gd name="connsiteX86" fmla="*/ 71437 w 1526381"/>
                        <a:gd name="connsiteY86" fmla="*/ 340519 h 969169"/>
                        <a:gd name="connsiteX87" fmla="*/ 33337 w 1526381"/>
                        <a:gd name="connsiteY87" fmla="*/ 273845 h 969169"/>
                        <a:gd name="connsiteX88" fmla="*/ 54769 w 1526381"/>
                        <a:gd name="connsiteY88" fmla="*/ 240507 h 969169"/>
                        <a:gd name="connsiteX0" fmla="*/ 59532 w 1531144"/>
                        <a:gd name="connsiteY0" fmla="*/ 240507 h 969169"/>
                        <a:gd name="connsiteX1" fmla="*/ 354807 w 1531144"/>
                        <a:gd name="connsiteY1" fmla="*/ 130969 h 969169"/>
                        <a:gd name="connsiteX2" fmla="*/ 407194 w 1531144"/>
                        <a:gd name="connsiteY2" fmla="*/ 142875 h 969169"/>
                        <a:gd name="connsiteX3" fmla="*/ 469107 w 1531144"/>
                        <a:gd name="connsiteY3" fmla="*/ 50007 h 969169"/>
                        <a:gd name="connsiteX4" fmla="*/ 561975 w 1531144"/>
                        <a:gd name="connsiteY4" fmla="*/ 0 h 969169"/>
                        <a:gd name="connsiteX5" fmla="*/ 657225 w 1531144"/>
                        <a:gd name="connsiteY5" fmla="*/ 4763 h 969169"/>
                        <a:gd name="connsiteX6" fmla="*/ 757238 w 1531144"/>
                        <a:gd name="connsiteY6" fmla="*/ 57150 h 969169"/>
                        <a:gd name="connsiteX7" fmla="*/ 790575 w 1531144"/>
                        <a:gd name="connsiteY7" fmla="*/ 73819 h 969169"/>
                        <a:gd name="connsiteX8" fmla="*/ 840582 w 1531144"/>
                        <a:gd name="connsiteY8" fmla="*/ 23813 h 969169"/>
                        <a:gd name="connsiteX9" fmla="*/ 885825 w 1531144"/>
                        <a:gd name="connsiteY9" fmla="*/ 11907 h 969169"/>
                        <a:gd name="connsiteX10" fmla="*/ 931069 w 1531144"/>
                        <a:gd name="connsiteY10" fmla="*/ 52388 h 969169"/>
                        <a:gd name="connsiteX11" fmla="*/ 947738 w 1531144"/>
                        <a:gd name="connsiteY11" fmla="*/ 102394 h 969169"/>
                        <a:gd name="connsiteX12" fmla="*/ 942975 w 1531144"/>
                        <a:gd name="connsiteY12" fmla="*/ 154782 h 969169"/>
                        <a:gd name="connsiteX13" fmla="*/ 990600 w 1531144"/>
                        <a:gd name="connsiteY13" fmla="*/ 209550 h 969169"/>
                        <a:gd name="connsiteX14" fmla="*/ 1002507 w 1531144"/>
                        <a:gd name="connsiteY14" fmla="*/ 228600 h 969169"/>
                        <a:gd name="connsiteX15" fmla="*/ 983457 w 1531144"/>
                        <a:gd name="connsiteY15" fmla="*/ 288132 h 969169"/>
                        <a:gd name="connsiteX16" fmla="*/ 988219 w 1531144"/>
                        <a:gd name="connsiteY16" fmla="*/ 316707 h 969169"/>
                        <a:gd name="connsiteX17" fmla="*/ 957263 w 1531144"/>
                        <a:gd name="connsiteY17" fmla="*/ 345282 h 969169"/>
                        <a:gd name="connsiteX18" fmla="*/ 983457 w 1531144"/>
                        <a:gd name="connsiteY18" fmla="*/ 390525 h 969169"/>
                        <a:gd name="connsiteX19" fmla="*/ 1004888 w 1531144"/>
                        <a:gd name="connsiteY19" fmla="*/ 397669 h 969169"/>
                        <a:gd name="connsiteX20" fmla="*/ 1033463 w 1531144"/>
                        <a:gd name="connsiteY20" fmla="*/ 366713 h 969169"/>
                        <a:gd name="connsiteX21" fmla="*/ 1073944 w 1531144"/>
                        <a:gd name="connsiteY21" fmla="*/ 404813 h 969169"/>
                        <a:gd name="connsiteX22" fmla="*/ 1126332 w 1531144"/>
                        <a:gd name="connsiteY22" fmla="*/ 345282 h 969169"/>
                        <a:gd name="connsiteX23" fmla="*/ 1176338 w 1531144"/>
                        <a:gd name="connsiteY23" fmla="*/ 321469 h 969169"/>
                        <a:gd name="connsiteX24" fmla="*/ 1219200 w 1531144"/>
                        <a:gd name="connsiteY24" fmla="*/ 357188 h 969169"/>
                        <a:gd name="connsiteX25" fmla="*/ 1238250 w 1531144"/>
                        <a:gd name="connsiteY25" fmla="*/ 388144 h 969169"/>
                        <a:gd name="connsiteX26" fmla="*/ 1240632 w 1531144"/>
                        <a:gd name="connsiteY26" fmla="*/ 435769 h 969169"/>
                        <a:gd name="connsiteX27" fmla="*/ 1281113 w 1531144"/>
                        <a:gd name="connsiteY27" fmla="*/ 445294 h 969169"/>
                        <a:gd name="connsiteX28" fmla="*/ 1290638 w 1531144"/>
                        <a:gd name="connsiteY28" fmla="*/ 383382 h 969169"/>
                        <a:gd name="connsiteX29" fmla="*/ 1326357 w 1531144"/>
                        <a:gd name="connsiteY29" fmla="*/ 366713 h 969169"/>
                        <a:gd name="connsiteX30" fmla="*/ 1397794 w 1531144"/>
                        <a:gd name="connsiteY30" fmla="*/ 414338 h 969169"/>
                        <a:gd name="connsiteX31" fmla="*/ 1426369 w 1531144"/>
                        <a:gd name="connsiteY31" fmla="*/ 421482 h 969169"/>
                        <a:gd name="connsiteX32" fmla="*/ 1473994 w 1531144"/>
                        <a:gd name="connsiteY32" fmla="*/ 376238 h 969169"/>
                        <a:gd name="connsiteX33" fmla="*/ 1516857 w 1531144"/>
                        <a:gd name="connsiteY33" fmla="*/ 421482 h 969169"/>
                        <a:gd name="connsiteX34" fmla="*/ 1502569 w 1531144"/>
                        <a:gd name="connsiteY34" fmla="*/ 447675 h 969169"/>
                        <a:gd name="connsiteX35" fmla="*/ 1464469 w 1531144"/>
                        <a:gd name="connsiteY35" fmla="*/ 466725 h 969169"/>
                        <a:gd name="connsiteX36" fmla="*/ 1431132 w 1531144"/>
                        <a:gd name="connsiteY36" fmla="*/ 507207 h 969169"/>
                        <a:gd name="connsiteX37" fmla="*/ 1397794 w 1531144"/>
                        <a:gd name="connsiteY37" fmla="*/ 547688 h 969169"/>
                        <a:gd name="connsiteX38" fmla="*/ 1397794 w 1531144"/>
                        <a:gd name="connsiteY38" fmla="*/ 547688 h 969169"/>
                        <a:gd name="connsiteX39" fmla="*/ 1426369 w 1531144"/>
                        <a:gd name="connsiteY39" fmla="*/ 588169 h 969169"/>
                        <a:gd name="connsiteX40" fmla="*/ 1435894 w 1531144"/>
                        <a:gd name="connsiteY40" fmla="*/ 635794 h 969169"/>
                        <a:gd name="connsiteX41" fmla="*/ 1488282 w 1531144"/>
                        <a:gd name="connsiteY41" fmla="*/ 619125 h 969169"/>
                        <a:gd name="connsiteX42" fmla="*/ 1473994 w 1531144"/>
                        <a:gd name="connsiteY42" fmla="*/ 657225 h 969169"/>
                        <a:gd name="connsiteX43" fmla="*/ 1447800 w 1531144"/>
                        <a:gd name="connsiteY43" fmla="*/ 683419 h 969169"/>
                        <a:gd name="connsiteX44" fmla="*/ 1495425 w 1531144"/>
                        <a:gd name="connsiteY44" fmla="*/ 719138 h 969169"/>
                        <a:gd name="connsiteX45" fmla="*/ 1531144 w 1531144"/>
                        <a:gd name="connsiteY45" fmla="*/ 738188 h 969169"/>
                        <a:gd name="connsiteX46" fmla="*/ 1512094 w 1531144"/>
                        <a:gd name="connsiteY46" fmla="*/ 764382 h 969169"/>
                        <a:gd name="connsiteX47" fmla="*/ 1483519 w 1531144"/>
                        <a:gd name="connsiteY47" fmla="*/ 759619 h 969169"/>
                        <a:gd name="connsiteX48" fmla="*/ 1521619 w 1531144"/>
                        <a:gd name="connsiteY48" fmla="*/ 814388 h 969169"/>
                        <a:gd name="connsiteX49" fmla="*/ 1483519 w 1531144"/>
                        <a:gd name="connsiteY49" fmla="*/ 816769 h 969169"/>
                        <a:gd name="connsiteX50" fmla="*/ 1447800 w 1531144"/>
                        <a:gd name="connsiteY50" fmla="*/ 812007 h 969169"/>
                        <a:gd name="connsiteX51" fmla="*/ 1371600 w 1531144"/>
                        <a:gd name="connsiteY51" fmla="*/ 795338 h 969169"/>
                        <a:gd name="connsiteX52" fmla="*/ 1338263 w 1531144"/>
                        <a:gd name="connsiteY52" fmla="*/ 790575 h 969169"/>
                        <a:gd name="connsiteX53" fmla="*/ 1319213 w 1531144"/>
                        <a:gd name="connsiteY53" fmla="*/ 723900 h 969169"/>
                        <a:gd name="connsiteX54" fmla="*/ 1181100 w 1531144"/>
                        <a:gd name="connsiteY54" fmla="*/ 757238 h 969169"/>
                        <a:gd name="connsiteX55" fmla="*/ 1145382 w 1531144"/>
                        <a:gd name="connsiteY55" fmla="*/ 738188 h 969169"/>
                        <a:gd name="connsiteX56" fmla="*/ 1062038 w 1531144"/>
                        <a:gd name="connsiteY56" fmla="*/ 645319 h 969169"/>
                        <a:gd name="connsiteX57" fmla="*/ 1028700 w 1531144"/>
                        <a:gd name="connsiteY57" fmla="*/ 654844 h 969169"/>
                        <a:gd name="connsiteX58" fmla="*/ 992982 w 1531144"/>
                        <a:gd name="connsiteY58" fmla="*/ 652463 h 969169"/>
                        <a:gd name="connsiteX59" fmla="*/ 897732 w 1531144"/>
                        <a:gd name="connsiteY59" fmla="*/ 621507 h 969169"/>
                        <a:gd name="connsiteX60" fmla="*/ 840582 w 1531144"/>
                        <a:gd name="connsiteY60" fmla="*/ 673894 h 969169"/>
                        <a:gd name="connsiteX61" fmla="*/ 792957 w 1531144"/>
                        <a:gd name="connsiteY61" fmla="*/ 611982 h 969169"/>
                        <a:gd name="connsiteX62" fmla="*/ 747713 w 1531144"/>
                        <a:gd name="connsiteY62" fmla="*/ 597694 h 969169"/>
                        <a:gd name="connsiteX63" fmla="*/ 742950 w 1531144"/>
                        <a:gd name="connsiteY63" fmla="*/ 552450 h 969169"/>
                        <a:gd name="connsiteX64" fmla="*/ 707232 w 1531144"/>
                        <a:gd name="connsiteY64" fmla="*/ 533400 h 969169"/>
                        <a:gd name="connsiteX65" fmla="*/ 664369 w 1531144"/>
                        <a:gd name="connsiteY65" fmla="*/ 542925 h 969169"/>
                        <a:gd name="connsiteX66" fmla="*/ 652463 w 1531144"/>
                        <a:gd name="connsiteY66" fmla="*/ 564357 h 969169"/>
                        <a:gd name="connsiteX67" fmla="*/ 590550 w 1531144"/>
                        <a:gd name="connsiteY67" fmla="*/ 550069 h 969169"/>
                        <a:gd name="connsiteX68" fmla="*/ 481013 w 1531144"/>
                        <a:gd name="connsiteY68" fmla="*/ 626269 h 969169"/>
                        <a:gd name="connsiteX69" fmla="*/ 514350 w 1531144"/>
                        <a:gd name="connsiteY69" fmla="*/ 728663 h 969169"/>
                        <a:gd name="connsiteX70" fmla="*/ 535782 w 1531144"/>
                        <a:gd name="connsiteY70" fmla="*/ 797719 h 969169"/>
                        <a:gd name="connsiteX71" fmla="*/ 454819 w 1531144"/>
                        <a:gd name="connsiteY71" fmla="*/ 859632 h 969169"/>
                        <a:gd name="connsiteX72" fmla="*/ 326232 w 1531144"/>
                        <a:gd name="connsiteY72" fmla="*/ 964407 h 969169"/>
                        <a:gd name="connsiteX73" fmla="*/ 259557 w 1531144"/>
                        <a:gd name="connsiteY73" fmla="*/ 912019 h 969169"/>
                        <a:gd name="connsiteX74" fmla="*/ 216694 w 1531144"/>
                        <a:gd name="connsiteY74" fmla="*/ 969169 h 969169"/>
                        <a:gd name="connsiteX75" fmla="*/ 4763 w 1531144"/>
                        <a:gd name="connsiteY75" fmla="*/ 966787 h 969169"/>
                        <a:gd name="connsiteX76" fmla="*/ 0 w 1531144"/>
                        <a:gd name="connsiteY76" fmla="*/ 766763 h 969169"/>
                        <a:gd name="connsiteX77" fmla="*/ 69057 w 1531144"/>
                        <a:gd name="connsiteY77" fmla="*/ 719138 h 969169"/>
                        <a:gd name="connsiteX78" fmla="*/ 45244 w 1531144"/>
                        <a:gd name="connsiteY78" fmla="*/ 678657 h 969169"/>
                        <a:gd name="connsiteX79" fmla="*/ 83344 w 1531144"/>
                        <a:gd name="connsiteY79" fmla="*/ 642938 h 969169"/>
                        <a:gd name="connsiteX80" fmla="*/ 50007 w 1531144"/>
                        <a:gd name="connsiteY80" fmla="*/ 592932 h 969169"/>
                        <a:gd name="connsiteX81" fmla="*/ 80963 w 1531144"/>
                        <a:gd name="connsiteY81" fmla="*/ 554832 h 969169"/>
                        <a:gd name="connsiteX82" fmla="*/ 23813 w 1531144"/>
                        <a:gd name="connsiteY82" fmla="*/ 481013 h 969169"/>
                        <a:gd name="connsiteX83" fmla="*/ 80963 w 1531144"/>
                        <a:gd name="connsiteY83" fmla="*/ 433388 h 969169"/>
                        <a:gd name="connsiteX84" fmla="*/ 76200 w 1531144"/>
                        <a:gd name="connsiteY84" fmla="*/ 395288 h 969169"/>
                        <a:gd name="connsiteX85" fmla="*/ 40482 w 1531144"/>
                        <a:gd name="connsiteY85" fmla="*/ 383382 h 969169"/>
                        <a:gd name="connsiteX86" fmla="*/ 76200 w 1531144"/>
                        <a:gd name="connsiteY86" fmla="*/ 340519 h 969169"/>
                        <a:gd name="connsiteX87" fmla="*/ 38100 w 1531144"/>
                        <a:gd name="connsiteY87" fmla="*/ 273845 h 969169"/>
                        <a:gd name="connsiteX88" fmla="*/ 59532 w 1531144"/>
                        <a:gd name="connsiteY88" fmla="*/ 240507 h 969169"/>
                        <a:gd name="connsiteX0" fmla="*/ 59532 w 1531144"/>
                        <a:gd name="connsiteY0" fmla="*/ 240507 h 969169"/>
                        <a:gd name="connsiteX1" fmla="*/ 354807 w 1531144"/>
                        <a:gd name="connsiteY1" fmla="*/ 130969 h 969169"/>
                        <a:gd name="connsiteX2" fmla="*/ 407194 w 1531144"/>
                        <a:gd name="connsiteY2" fmla="*/ 142875 h 969169"/>
                        <a:gd name="connsiteX3" fmla="*/ 469107 w 1531144"/>
                        <a:gd name="connsiteY3" fmla="*/ 50007 h 969169"/>
                        <a:gd name="connsiteX4" fmla="*/ 561975 w 1531144"/>
                        <a:gd name="connsiteY4" fmla="*/ 0 h 969169"/>
                        <a:gd name="connsiteX5" fmla="*/ 657225 w 1531144"/>
                        <a:gd name="connsiteY5" fmla="*/ 4763 h 969169"/>
                        <a:gd name="connsiteX6" fmla="*/ 757238 w 1531144"/>
                        <a:gd name="connsiteY6" fmla="*/ 57150 h 969169"/>
                        <a:gd name="connsiteX7" fmla="*/ 790575 w 1531144"/>
                        <a:gd name="connsiteY7" fmla="*/ 73819 h 969169"/>
                        <a:gd name="connsiteX8" fmla="*/ 840582 w 1531144"/>
                        <a:gd name="connsiteY8" fmla="*/ 23813 h 969169"/>
                        <a:gd name="connsiteX9" fmla="*/ 885825 w 1531144"/>
                        <a:gd name="connsiteY9" fmla="*/ 11907 h 969169"/>
                        <a:gd name="connsiteX10" fmla="*/ 931069 w 1531144"/>
                        <a:gd name="connsiteY10" fmla="*/ 52388 h 969169"/>
                        <a:gd name="connsiteX11" fmla="*/ 947738 w 1531144"/>
                        <a:gd name="connsiteY11" fmla="*/ 102394 h 969169"/>
                        <a:gd name="connsiteX12" fmla="*/ 942975 w 1531144"/>
                        <a:gd name="connsiteY12" fmla="*/ 154782 h 969169"/>
                        <a:gd name="connsiteX13" fmla="*/ 990600 w 1531144"/>
                        <a:gd name="connsiteY13" fmla="*/ 209550 h 969169"/>
                        <a:gd name="connsiteX14" fmla="*/ 1002507 w 1531144"/>
                        <a:gd name="connsiteY14" fmla="*/ 228600 h 969169"/>
                        <a:gd name="connsiteX15" fmla="*/ 983457 w 1531144"/>
                        <a:gd name="connsiteY15" fmla="*/ 288132 h 969169"/>
                        <a:gd name="connsiteX16" fmla="*/ 988219 w 1531144"/>
                        <a:gd name="connsiteY16" fmla="*/ 316707 h 969169"/>
                        <a:gd name="connsiteX17" fmla="*/ 957263 w 1531144"/>
                        <a:gd name="connsiteY17" fmla="*/ 345282 h 969169"/>
                        <a:gd name="connsiteX18" fmla="*/ 983457 w 1531144"/>
                        <a:gd name="connsiteY18" fmla="*/ 390525 h 969169"/>
                        <a:gd name="connsiteX19" fmla="*/ 1004888 w 1531144"/>
                        <a:gd name="connsiteY19" fmla="*/ 397669 h 969169"/>
                        <a:gd name="connsiteX20" fmla="*/ 1033463 w 1531144"/>
                        <a:gd name="connsiteY20" fmla="*/ 366713 h 969169"/>
                        <a:gd name="connsiteX21" fmla="*/ 1073944 w 1531144"/>
                        <a:gd name="connsiteY21" fmla="*/ 404813 h 969169"/>
                        <a:gd name="connsiteX22" fmla="*/ 1126332 w 1531144"/>
                        <a:gd name="connsiteY22" fmla="*/ 345282 h 969169"/>
                        <a:gd name="connsiteX23" fmla="*/ 1176338 w 1531144"/>
                        <a:gd name="connsiteY23" fmla="*/ 321469 h 969169"/>
                        <a:gd name="connsiteX24" fmla="*/ 1219200 w 1531144"/>
                        <a:gd name="connsiteY24" fmla="*/ 357188 h 969169"/>
                        <a:gd name="connsiteX25" fmla="*/ 1238250 w 1531144"/>
                        <a:gd name="connsiteY25" fmla="*/ 388144 h 969169"/>
                        <a:gd name="connsiteX26" fmla="*/ 1240632 w 1531144"/>
                        <a:gd name="connsiteY26" fmla="*/ 435769 h 969169"/>
                        <a:gd name="connsiteX27" fmla="*/ 1281113 w 1531144"/>
                        <a:gd name="connsiteY27" fmla="*/ 445294 h 969169"/>
                        <a:gd name="connsiteX28" fmla="*/ 1290638 w 1531144"/>
                        <a:gd name="connsiteY28" fmla="*/ 383382 h 969169"/>
                        <a:gd name="connsiteX29" fmla="*/ 1326357 w 1531144"/>
                        <a:gd name="connsiteY29" fmla="*/ 366713 h 969169"/>
                        <a:gd name="connsiteX30" fmla="*/ 1397794 w 1531144"/>
                        <a:gd name="connsiteY30" fmla="*/ 414338 h 969169"/>
                        <a:gd name="connsiteX31" fmla="*/ 1426369 w 1531144"/>
                        <a:gd name="connsiteY31" fmla="*/ 421482 h 969169"/>
                        <a:gd name="connsiteX32" fmla="*/ 1473994 w 1531144"/>
                        <a:gd name="connsiteY32" fmla="*/ 376238 h 969169"/>
                        <a:gd name="connsiteX33" fmla="*/ 1516857 w 1531144"/>
                        <a:gd name="connsiteY33" fmla="*/ 421482 h 969169"/>
                        <a:gd name="connsiteX34" fmla="*/ 1502569 w 1531144"/>
                        <a:gd name="connsiteY34" fmla="*/ 447675 h 969169"/>
                        <a:gd name="connsiteX35" fmla="*/ 1464469 w 1531144"/>
                        <a:gd name="connsiteY35" fmla="*/ 466725 h 969169"/>
                        <a:gd name="connsiteX36" fmla="*/ 1431132 w 1531144"/>
                        <a:gd name="connsiteY36" fmla="*/ 507207 h 969169"/>
                        <a:gd name="connsiteX37" fmla="*/ 1397794 w 1531144"/>
                        <a:gd name="connsiteY37" fmla="*/ 547688 h 969169"/>
                        <a:gd name="connsiteX38" fmla="*/ 1397794 w 1531144"/>
                        <a:gd name="connsiteY38" fmla="*/ 547688 h 969169"/>
                        <a:gd name="connsiteX39" fmla="*/ 1426369 w 1531144"/>
                        <a:gd name="connsiteY39" fmla="*/ 588169 h 969169"/>
                        <a:gd name="connsiteX40" fmla="*/ 1435894 w 1531144"/>
                        <a:gd name="connsiteY40" fmla="*/ 635794 h 969169"/>
                        <a:gd name="connsiteX41" fmla="*/ 1488282 w 1531144"/>
                        <a:gd name="connsiteY41" fmla="*/ 619125 h 969169"/>
                        <a:gd name="connsiteX42" fmla="*/ 1473994 w 1531144"/>
                        <a:gd name="connsiteY42" fmla="*/ 657225 h 969169"/>
                        <a:gd name="connsiteX43" fmla="*/ 1447800 w 1531144"/>
                        <a:gd name="connsiteY43" fmla="*/ 683419 h 969169"/>
                        <a:gd name="connsiteX44" fmla="*/ 1495425 w 1531144"/>
                        <a:gd name="connsiteY44" fmla="*/ 719138 h 969169"/>
                        <a:gd name="connsiteX45" fmla="*/ 1531144 w 1531144"/>
                        <a:gd name="connsiteY45" fmla="*/ 738188 h 969169"/>
                        <a:gd name="connsiteX46" fmla="*/ 1512094 w 1531144"/>
                        <a:gd name="connsiteY46" fmla="*/ 764382 h 969169"/>
                        <a:gd name="connsiteX47" fmla="*/ 1483519 w 1531144"/>
                        <a:gd name="connsiteY47" fmla="*/ 759619 h 969169"/>
                        <a:gd name="connsiteX48" fmla="*/ 1521619 w 1531144"/>
                        <a:gd name="connsiteY48" fmla="*/ 814388 h 969169"/>
                        <a:gd name="connsiteX49" fmla="*/ 1483519 w 1531144"/>
                        <a:gd name="connsiteY49" fmla="*/ 816769 h 969169"/>
                        <a:gd name="connsiteX50" fmla="*/ 1447800 w 1531144"/>
                        <a:gd name="connsiteY50" fmla="*/ 812007 h 969169"/>
                        <a:gd name="connsiteX51" fmla="*/ 1371600 w 1531144"/>
                        <a:gd name="connsiteY51" fmla="*/ 795338 h 969169"/>
                        <a:gd name="connsiteX52" fmla="*/ 1338263 w 1531144"/>
                        <a:gd name="connsiteY52" fmla="*/ 790575 h 969169"/>
                        <a:gd name="connsiteX53" fmla="*/ 1319213 w 1531144"/>
                        <a:gd name="connsiteY53" fmla="*/ 723900 h 969169"/>
                        <a:gd name="connsiteX54" fmla="*/ 1181100 w 1531144"/>
                        <a:gd name="connsiteY54" fmla="*/ 757238 h 969169"/>
                        <a:gd name="connsiteX55" fmla="*/ 1145382 w 1531144"/>
                        <a:gd name="connsiteY55" fmla="*/ 738188 h 969169"/>
                        <a:gd name="connsiteX56" fmla="*/ 1062038 w 1531144"/>
                        <a:gd name="connsiteY56" fmla="*/ 645319 h 969169"/>
                        <a:gd name="connsiteX57" fmla="*/ 1028700 w 1531144"/>
                        <a:gd name="connsiteY57" fmla="*/ 654844 h 969169"/>
                        <a:gd name="connsiteX58" fmla="*/ 992982 w 1531144"/>
                        <a:gd name="connsiteY58" fmla="*/ 652463 h 969169"/>
                        <a:gd name="connsiteX59" fmla="*/ 897732 w 1531144"/>
                        <a:gd name="connsiteY59" fmla="*/ 621507 h 969169"/>
                        <a:gd name="connsiteX60" fmla="*/ 840582 w 1531144"/>
                        <a:gd name="connsiteY60" fmla="*/ 673894 h 969169"/>
                        <a:gd name="connsiteX61" fmla="*/ 792957 w 1531144"/>
                        <a:gd name="connsiteY61" fmla="*/ 611982 h 969169"/>
                        <a:gd name="connsiteX62" fmla="*/ 747713 w 1531144"/>
                        <a:gd name="connsiteY62" fmla="*/ 597694 h 969169"/>
                        <a:gd name="connsiteX63" fmla="*/ 742950 w 1531144"/>
                        <a:gd name="connsiteY63" fmla="*/ 552450 h 969169"/>
                        <a:gd name="connsiteX64" fmla="*/ 707232 w 1531144"/>
                        <a:gd name="connsiteY64" fmla="*/ 533400 h 969169"/>
                        <a:gd name="connsiteX65" fmla="*/ 664369 w 1531144"/>
                        <a:gd name="connsiteY65" fmla="*/ 542925 h 969169"/>
                        <a:gd name="connsiteX66" fmla="*/ 652463 w 1531144"/>
                        <a:gd name="connsiteY66" fmla="*/ 564357 h 969169"/>
                        <a:gd name="connsiteX67" fmla="*/ 590550 w 1531144"/>
                        <a:gd name="connsiteY67" fmla="*/ 550069 h 969169"/>
                        <a:gd name="connsiteX68" fmla="*/ 481013 w 1531144"/>
                        <a:gd name="connsiteY68" fmla="*/ 626269 h 969169"/>
                        <a:gd name="connsiteX69" fmla="*/ 514350 w 1531144"/>
                        <a:gd name="connsiteY69" fmla="*/ 728663 h 969169"/>
                        <a:gd name="connsiteX70" fmla="*/ 535782 w 1531144"/>
                        <a:gd name="connsiteY70" fmla="*/ 797719 h 969169"/>
                        <a:gd name="connsiteX71" fmla="*/ 454819 w 1531144"/>
                        <a:gd name="connsiteY71" fmla="*/ 859632 h 969169"/>
                        <a:gd name="connsiteX72" fmla="*/ 326232 w 1531144"/>
                        <a:gd name="connsiteY72" fmla="*/ 964407 h 969169"/>
                        <a:gd name="connsiteX73" fmla="*/ 259557 w 1531144"/>
                        <a:gd name="connsiteY73" fmla="*/ 912019 h 969169"/>
                        <a:gd name="connsiteX74" fmla="*/ 216694 w 1531144"/>
                        <a:gd name="connsiteY74" fmla="*/ 969169 h 969169"/>
                        <a:gd name="connsiteX75" fmla="*/ 4763 w 1531144"/>
                        <a:gd name="connsiteY75" fmla="*/ 966787 h 969169"/>
                        <a:gd name="connsiteX76" fmla="*/ 0 w 1531144"/>
                        <a:gd name="connsiteY76" fmla="*/ 766763 h 969169"/>
                        <a:gd name="connsiteX77" fmla="*/ 61914 w 1531144"/>
                        <a:gd name="connsiteY77" fmla="*/ 721519 h 969169"/>
                        <a:gd name="connsiteX78" fmla="*/ 45244 w 1531144"/>
                        <a:gd name="connsiteY78" fmla="*/ 678657 h 969169"/>
                        <a:gd name="connsiteX79" fmla="*/ 83344 w 1531144"/>
                        <a:gd name="connsiteY79" fmla="*/ 642938 h 969169"/>
                        <a:gd name="connsiteX80" fmla="*/ 50007 w 1531144"/>
                        <a:gd name="connsiteY80" fmla="*/ 592932 h 969169"/>
                        <a:gd name="connsiteX81" fmla="*/ 80963 w 1531144"/>
                        <a:gd name="connsiteY81" fmla="*/ 554832 h 969169"/>
                        <a:gd name="connsiteX82" fmla="*/ 23813 w 1531144"/>
                        <a:gd name="connsiteY82" fmla="*/ 481013 h 969169"/>
                        <a:gd name="connsiteX83" fmla="*/ 80963 w 1531144"/>
                        <a:gd name="connsiteY83" fmla="*/ 433388 h 969169"/>
                        <a:gd name="connsiteX84" fmla="*/ 76200 w 1531144"/>
                        <a:gd name="connsiteY84" fmla="*/ 395288 h 969169"/>
                        <a:gd name="connsiteX85" fmla="*/ 40482 w 1531144"/>
                        <a:gd name="connsiteY85" fmla="*/ 383382 h 969169"/>
                        <a:gd name="connsiteX86" fmla="*/ 76200 w 1531144"/>
                        <a:gd name="connsiteY86" fmla="*/ 340519 h 969169"/>
                        <a:gd name="connsiteX87" fmla="*/ 38100 w 1531144"/>
                        <a:gd name="connsiteY87" fmla="*/ 273845 h 969169"/>
                        <a:gd name="connsiteX88" fmla="*/ 59532 w 1531144"/>
                        <a:gd name="connsiteY88" fmla="*/ 240507 h 969169"/>
                        <a:gd name="connsiteX0" fmla="*/ 59532 w 1531144"/>
                        <a:gd name="connsiteY0" fmla="*/ 240507 h 969169"/>
                        <a:gd name="connsiteX1" fmla="*/ 354807 w 1531144"/>
                        <a:gd name="connsiteY1" fmla="*/ 130969 h 969169"/>
                        <a:gd name="connsiteX2" fmla="*/ 407194 w 1531144"/>
                        <a:gd name="connsiteY2" fmla="*/ 142875 h 969169"/>
                        <a:gd name="connsiteX3" fmla="*/ 469107 w 1531144"/>
                        <a:gd name="connsiteY3" fmla="*/ 50007 h 969169"/>
                        <a:gd name="connsiteX4" fmla="*/ 561975 w 1531144"/>
                        <a:gd name="connsiteY4" fmla="*/ 0 h 969169"/>
                        <a:gd name="connsiteX5" fmla="*/ 657225 w 1531144"/>
                        <a:gd name="connsiteY5" fmla="*/ 4763 h 969169"/>
                        <a:gd name="connsiteX6" fmla="*/ 757238 w 1531144"/>
                        <a:gd name="connsiteY6" fmla="*/ 57150 h 969169"/>
                        <a:gd name="connsiteX7" fmla="*/ 790575 w 1531144"/>
                        <a:gd name="connsiteY7" fmla="*/ 73819 h 969169"/>
                        <a:gd name="connsiteX8" fmla="*/ 840582 w 1531144"/>
                        <a:gd name="connsiteY8" fmla="*/ 23813 h 969169"/>
                        <a:gd name="connsiteX9" fmla="*/ 885825 w 1531144"/>
                        <a:gd name="connsiteY9" fmla="*/ 11907 h 969169"/>
                        <a:gd name="connsiteX10" fmla="*/ 931069 w 1531144"/>
                        <a:gd name="connsiteY10" fmla="*/ 52388 h 969169"/>
                        <a:gd name="connsiteX11" fmla="*/ 947738 w 1531144"/>
                        <a:gd name="connsiteY11" fmla="*/ 102394 h 969169"/>
                        <a:gd name="connsiteX12" fmla="*/ 942975 w 1531144"/>
                        <a:gd name="connsiteY12" fmla="*/ 154782 h 969169"/>
                        <a:gd name="connsiteX13" fmla="*/ 990600 w 1531144"/>
                        <a:gd name="connsiteY13" fmla="*/ 209550 h 969169"/>
                        <a:gd name="connsiteX14" fmla="*/ 1002507 w 1531144"/>
                        <a:gd name="connsiteY14" fmla="*/ 228600 h 969169"/>
                        <a:gd name="connsiteX15" fmla="*/ 983457 w 1531144"/>
                        <a:gd name="connsiteY15" fmla="*/ 288132 h 969169"/>
                        <a:gd name="connsiteX16" fmla="*/ 988219 w 1531144"/>
                        <a:gd name="connsiteY16" fmla="*/ 316707 h 969169"/>
                        <a:gd name="connsiteX17" fmla="*/ 957263 w 1531144"/>
                        <a:gd name="connsiteY17" fmla="*/ 345282 h 969169"/>
                        <a:gd name="connsiteX18" fmla="*/ 983457 w 1531144"/>
                        <a:gd name="connsiteY18" fmla="*/ 390525 h 969169"/>
                        <a:gd name="connsiteX19" fmla="*/ 1004888 w 1531144"/>
                        <a:gd name="connsiteY19" fmla="*/ 397669 h 969169"/>
                        <a:gd name="connsiteX20" fmla="*/ 1033463 w 1531144"/>
                        <a:gd name="connsiteY20" fmla="*/ 366713 h 969169"/>
                        <a:gd name="connsiteX21" fmla="*/ 1073944 w 1531144"/>
                        <a:gd name="connsiteY21" fmla="*/ 404813 h 969169"/>
                        <a:gd name="connsiteX22" fmla="*/ 1126332 w 1531144"/>
                        <a:gd name="connsiteY22" fmla="*/ 345282 h 969169"/>
                        <a:gd name="connsiteX23" fmla="*/ 1176338 w 1531144"/>
                        <a:gd name="connsiteY23" fmla="*/ 321469 h 969169"/>
                        <a:gd name="connsiteX24" fmla="*/ 1219200 w 1531144"/>
                        <a:gd name="connsiteY24" fmla="*/ 357188 h 969169"/>
                        <a:gd name="connsiteX25" fmla="*/ 1238250 w 1531144"/>
                        <a:gd name="connsiteY25" fmla="*/ 388144 h 969169"/>
                        <a:gd name="connsiteX26" fmla="*/ 1240632 w 1531144"/>
                        <a:gd name="connsiteY26" fmla="*/ 435769 h 969169"/>
                        <a:gd name="connsiteX27" fmla="*/ 1281113 w 1531144"/>
                        <a:gd name="connsiteY27" fmla="*/ 445294 h 969169"/>
                        <a:gd name="connsiteX28" fmla="*/ 1290638 w 1531144"/>
                        <a:gd name="connsiteY28" fmla="*/ 383382 h 969169"/>
                        <a:gd name="connsiteX29" fmla="*/ 1326357 w 1531144"/>
                        <a:gd name="connsiteY29" fmla="*/ 366713 h 969169"/>
                        <a:gd name="connsiteX30" fmla="*/ 1397794 w 1531144"/>
                        <a:gd name="connsiteY30" fmla="*/ 414338 h 969169"/>
                        <a:gd name="connsiteX31" fmla="*/ 1426369 w 1531144"/>
                        <a:gd name="connsiteY31" fmla="*/ 421482 h 969169"/>
                        <a:gd name="connsiteX32" fmla="*/ 1473994 w 1531144"/>
                        <a:gd name="connsiteY32" fmla="*/ 376238 h 969169"/>
                        <a:gd name="connsiteX33" fmla="*/ 1516857 w 1531144"/>
                        <a:gd name="connsiteY33" fmla="*/ 421482 h 969169"/>
                        <a:gd name="connsiteX34" fmla="*/ 1502569 w 1531144"/>
                        <a:gd name="connsiteY34" fmla="*/ 447675 h 969169"/>
                        <a:gd name="connsiteX35" fmla="*/ 1464469 w 1531144"/>
                        <a:gd name="connsiteY35" fmla="*/ 466725 h 969169"/>
                        <a:gd name="connsiteX36" fmla="*/ 1431132 w 1531144"/>
                        <a:gd name="connsiteY36" fmla="*/ 507207 h 969169"/>
                        <a:gd name="connsiteX37" fmla="*/ 1397794 w 1531144"/>
                        <a:gd name="connsiteY37" fmla="*/ 547688 h 969169"/>
                        <a:gd name="connsiteX38" fmla="*/ 1397794 w 1531144"/>
                        <a:gd name="connsiteY38" fmla="*/ 547688 h 969169"/>
                        <a:gd name="connsiteX39" fmla="*/ 1426369 w 1531144"/>
                        <a:gd name="connsiteY39" fmla="*/ 588169 h 969169"/>
                        <a:gd name="connsiteX40" fmla="*/ 1435894 w 1531144"/>
                        <a:gd name="connsiteY40" fmla="*/ 635794 h 969169"/>
                        <a:gd name="connsiteX41" fmla="*/ 1488282 w 1531144"/>
                        <a:gd name="connsiteY41" fmla="*/ 619125 h 969169"/>
                        <a:gd name="connsiteX42" fmla="*/ 1473994 w 1531144"/>
                        <a:gd name="connsiteY42" fmla="*/ 657225 h 969169"/>
                        <a:gd name="connsiteX43" fmla="*/ 1447800 w 1531144"/>
                        <a:gd name="connsiteY43" fmla="*/ 683419 h 969169"/>
                        <a:gd name="connsiteX44" fmla="*/ 1495425 w 1531144"/>
                        <a:gd name="connsiteY44" fmla="*/ 719138 h 969169"/>
                        <a:gd name="connsiteX45" fmla="*/ 1531144 w 1531144"/>
                        <a:gd name="connsiteY45" fmla="*/ 738188 h 969169"/>
                        <a:gd name="connsiteX46" fmla="*/ 1512094 w 1531144"/>
                        <a:gd name="connsiteY46" fmla="*/ 764382 h 969169"/>
                        <a:gd name="connsiteX47" fmla="*/ 1483519 w 1531144"/>
                        <a:gd name="connsiteY47" fmla="*/ 759619 h 969169"/>
                        <a:gd name="connsiteX48" fmla="*/ 1521619 w 1531144"/>
                        <a:gd name="connsiteY48" fmla="*/ 814388 h 969169"/>
                        <a:gd name="connsiteX49" fmla="*/ 1483519 w 1531144"/>
                        <a:gd name="connsiteY49" fmla="*/ 816769 h 969169"/>
                        <a:gd name="connsiteX50" fmla="*/ 1447800 w 1531144"/>
                        <a:gd name="connsiteY50" fmla="*/ 812007 h 969169"/>
                        <a:gd name="connsiteX51" fmla="*/ 1371600 w 1531144"/>
                        <a:gd name="connsiteY51" fmla="*/ 795338 h 969169"/>
                        <a:gd name="connsiteX52" fmla="*/ 1338263 w 1531144"/>
                        <a:gd name="connsiteY52" fmla="*/ 790575 h 969169"/>
                        <a:gd name="connsiteX53" fmla="*/ 1319213 w 1531144"/>
                        <a:gd name="connsiteY53" fmla="*/ 723900 h 969169"/>
                        <a:gd name="connsiteX54" fmla="*/ 1181100 w 1531144"/>
                        <a:gd name="connsiteY54" fmla="*/ 757238 h 969169"/>
                        <a:gd name="connsiteX55" fmla="*/ 1145382 w 1531144"/>
                        <a:gd name="connsiteY55" fmla="*/ 738188 h 969169"/>
                        <a:gd name="connsiteX56" fmla="*/ 1062038 w 1531144"/>
                        <a:gd name="connsiteY56" fmla="*/ 645319 h 969169"/>
                        <a:gd name="connsiteX57" fmla="*/ 1028700 w 1531144"/>
                        <a:gd name="connsiteY57" fmla="*/ 654844 h 969169"/>
                        <a:gd name="connsiteX58" fmla="*/ 992982 w 1531144"/>
                        <a:gd name="connsiteY58" fmla="*/ 652463 h 969169"/>
                        <a:gd name="connsiteX59" fmla="*/ 897732 w 1531144"/>
                        <a:gd name="connsiteY59" fmla="*/ 621507 h 969169"/>
                        <a:gd name="connsiteX60" fmla="*/ 840582 w 1531144"/>
                        <a:gd name="connsiteY60" fmla="*/ 673894 h 969169"/>
                        <a:gd name="connsiteX61" fmla="*/ 792957 w 1531144"/>
                        <a:gd name="connsiteY61" fmla="*/ 611982 h 969169"/>
                        <a:gd name="connsiteX62" fmla="*/ 747713 w 1531144"/>
                        <a:gd name="connsiteY62" fmla="*/ 597694 h 969169"/>
                        <a:gd name="connsiteX63" fmla="*/ 742950 w 1531144"/>
                        <a:gd name="connsiteY63" fmla="*/ 552450 h 969169"/>
                        <a:gd name="connsiteX64" fmla="*/ 707232 w 1531144"/>
                        <a:gd name="connsiteY64" fmla="*/ 533400 h 969169"/>
                        <a:gd name="connsiteX65" fmla="*/ 664369 w 1531144"/>
                        <a:gd name="connsiteY65" fmla="*/ 542925 h 969169"/>
                        <a:gd name="connsiteX66" fmla="*/ 652463 w 1531144"/>
                        <a:gd name="connsiteY66" fmla="*/ 564357 h 969169"/>
                        <a:gd name="connsiteX67" fmla="*/ 590550 w 1531144"/>
                        <a:gd name="connsiteY67" fmla="*/ 550069 h 969169"/>
                        <a:gd name="connsiteX68" fmla="*/ 481013 w 1531144"/>
                        <a:gd name="connsiteY68" fmla="*/ 626269 h 969169"/>
                        <a:gd name="connsiteX69" fmla="*/ 514350 w 1531144"/>
                        <a:gd name="connsiteY69" fmla="*/ 728663 h 969169"/>
                        <a:gd name="connsiteX70" fmla="*/ 535782 w 1531144"/>
                        <a:gd name="connsiteY70" fmla="*/ 797719 h 969169"/>
                        <a:gd name="connsiteX71" fmla="*/ 454819 w 1531144"/>
                        <a:gd name="connsiteY71" fmla="*/ 859632 h 969169"/>
                        <a:gd name="connsiteX72" fmla="*/ 326232 w 1531144"/>
                        <a:gd name="connsiteY72" fmla="*/ 964407 h 969169"/>
                        <a:gd name="connsiteX73" fmla="*/ 259557 w 1531144"/>
                        <a:gd name="connsiteY73" fmla="*/ 912019 h 969169"/>
                        <a:gd name="connsiteX74" fmla="*/ 216694 w 1531144"/>
                        <a:gd name="connsiteY74" fmla="*/ 969169 h 969169"/>
                        <a:gd name="connsiteX75" fmla="*/ 4763 w 1531144"/>
                        <a:gd name="connsiteY75" fmla="*/ 966787 h 969169"/>
                        <a:gd name="connsiteX76" fmla="*/ 0 w 1531144"/>
                        <a:gd name="connsiteY76" fmla="*/ 766763 h 969169"/>
                        <a:gd name="connsiteX77" fmla="*/ 61914 w 1531144"/>
                        <a:gd name="connsiteY77" fmla="*/ 721519 h 969169"/>
                        <a:gd name="connsiteX78" fmla="*/ 45244 w 1531144"/>
                        <a:gd name="connsiteY78" fmla="*/ 678657 h 969169"/>
                        <a:gd name="connsiteX79" fmla="*/ 80963 w 1531144"/>
                        <a:gd name="connsiteY79" fmla="*/ 640557 h 969169"/>
                        <a:gd name="connsiteX80" fmla="*/ 50007 w 1531144"/>
                        <a:gd name="connsiteY80" fmla="*/ 592932 h 969169"/>
                        <a:gd name="connsiteX81" fmla="*/ 80963 w 1531144"/>
                        <a:gd name="connsiteY81" fmla="*/ 554832 h 969169"/>
                        <a:gd name="connsiteX82" fmla="*/ 23813 w 1531144"/>
                        <a:gd name="connsiteY82" fmla="*/ 481013 h 969169"/>
                        <a:gd name="connsiteX83" fmla="*/ 80963 w 1531144"/>
                        <a:gd name="connsiteY83" fmla="*/ 433388 h 969169"/>
                        <a:gd name="connsiteX84" fmla="*/ 76200 w 1531144"/>
                        <a:gd name="connsiteY84" fmla="*/ 395288 h 969169"/>
                        <a:gd name="connsiteX85" fmla="*/ 40482 w 1531144"/>
                        <a:gd name="connsiteY85" fmla="*/ 383382 h 969169"/>
                        <a:gd name="connsiteX86" fmla="*/ 76200 w 1531144"/>
                        <a:gd name="connsiteY86" fmla="*/ 340519 h 969169"/>
                        <a:gd name="connsiteX87" fmla="*/ 38100 w 1531144"/>
                        <a:gd name="connsiteY87" fmla="*/ 273845 h 969169"/>
                        <a:gd name="connsiteX88" fmla="*/ 59532 w 1531144"/>
                        <a:gd name="connsiteY88" fmla="*/ 240507 h 969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</a:cxnLst>
                      <a:rect l="l" t="t" r="r" b="b"/>
                      <a:pathLst>
                        <a:path w="1531144" h="969169">
                          <a:moveTo>
                            <a:pt x="59532" y="240507"/>
                          </a:moveTo>
                          <a:lnTo>
                            <a:pt x="354807" y="130969"/>
                          </a:lnTo>
                          <a:lnTo>
                            <a:pt x="407194" y="142875"/>
                          </a:lnTo>
                          <a:lnTo>
                            <a:pt x="469107" y="50007"/>
                          </a:lnTo>
                          <a:lnTo>
                            <a:pt x="561975" y="0"/>
                          </a:lnTo>
                          <a:lnTo>
                            <a:pt x="657225" y="4763"/>
                          </a:lnTo>
                          <a:lnTo>
                            <a:pt x="757238" y="57150"/>
                          </a:lnTo>
                          <a:lnTo>
                            <a:pt x="790575" y="73819"/>
                          </a:lnTo>
                          <a:lnTo>
                            <a:pt x="840582" y="23813"/>
                          </a:lnTo>
                          <a:lnTo>
                            <a:pt x="885825" y="11907"/>
                          </a:lnTo>
                          <a:lnTo>
                            <a:pt x="931069" y="52388"/>
                          </a:lnTo>
                          <a:lnTo>
                            <a:pt x="947738" y="102394"/>
                          </a:lnTo>
                          <a:lnTo>
                            <a:pt x="942975" y="154782"/>
                          </a:lnTo>
                          <a:lnTo>
                            <a:pt x="990600" y="209550"/>
                          </a:lnTo>
                          <a:lnTo>
                            <a:pt x="1002507" y="228600"/>
                          </a:lnTo>
                          <a:lnTo>
                            <a:pt x="983457" y="288132"/>
                          </a:lnTo>
                          <a:lnTo>
                            <a:pt x="988219" y="316707"/>
                          </a:lnTo>
                          <a:lnTo>
                            <a:pt x="957263" y="345282"/>
                          </a:lnTo>
                          <a:lnTo>
                            <a:pt x="983457" y="390525"/>
                          </a:lnTo>
                          <a:lnTo>
                            <a:pt x="1004888" y="397669"/>
                          </a:lnTo>
                          <a:lnTo>
                            <a:pt x="1033463" y="366713"/>
                          </a:lnTo>
                          <a:lnTo>
                            <a:pt x="1073944" y="404813"/>
                          </a:lnTo>
                          <a:lnTo>
                            <a:pt x="1126332" y="345282"/>
                          </a:lnTo>
                          <a:lnTo>
                            <a:pt x="1176338" y="321469"/>
                          </a:lnTo>
                          <a:lnTo>
                            <a:pt x="1219200" y="357188"/>
                          </a:lnTo>
                          <a:lnTo>
                            <a:pt x="1238250" y="388144"/>
                          </a:lnTo>
                          <a:lnTo>
                            <a:pt x="1240632" y="435769"/>
                          </a:lnTo>
                          <a:lnTo>
                            <a:pt x="1281113" y="445294"/>
                          </a:lnTo>
                          <a:lnTo>
                            <a:pt x="1290638" y="383382"/>
                          </a:lnTo>
                          <a:lnTo>
                            <a:pt x="1326357" y="366713"/>
                          </a:lnTo>
                          <a:lnTo>
                            <a:pt x="1397794" y="414338"/>
                          </a:lnTo>
                          <a:lnTo>
                            <a:pt x="1426369" y="421482"/>
                          </a:lnTo>
                          <a:lnTo>
                            <a:pt x="1473994" y="376238"/>
                          </a:lnTo>
                          <a:lnTo>
                            <a:pt x="1516857" y="421482"/>
                          </a:lnTo>
                          <a:lnTo>
                            <a:pt x="1502569" y="447675"/>
                          </a:lnTo>
                          <a:lnTo>
                            <a:pt x="1464469" y="466725"/>
                          </a:lnTo>
                          <a:lnTo>
                            <a:pt x="1431132" y="507207"/>
                          </a:lnTo>
                          <a:lnTo>
                            <a:pt x="1397794" y="547688"/>
                          </a:lnTo>
                          <a:lnTo>
                            <a:pt x="1397794" y="547688"/>
                          </a:lnTo>
                          <a:lnTo>
                            <a:pt x="1426369" y="588169"/>
                          </a:lnTo>
                          <a:lnTo>
                            <a:pt x="1435894" y="635794"/>
                          </a:lnTo>
                          <a:lnTo>
                            <a:pt x="1488282" y="619125"/>
                          </a:lnTo>
                          <a:lnTo>
                            <a:pt x="1473994" y="657225"/>
                          </a:lnTo>
                          <a:lnTo>
                            <a:pt x="1447800" y="683419"/>
                          </a:lnTo>
                          <a:lnTo>
                            <a:pt x="1495425" y="719138"/>
                          </a:lnTo>
                          <a:lnTo>
                            <a:pt x="1531144" y="738188"/>
                          </a:lnTo>
                          <a:lnTo>
                            <a:pt x="1512094" y="764382"/>
                          </a:lnTo>
                          <a:lnTo>
                            <a:pt x="1483519" y="759619"/>
                          </a:lnTo>
                          <a:lnTo>
                            <a:pt x="1521619" y="814388"/>
                          </a:lnTo>
                          <a:lnTo>
                            <a:pt x="1483519" y="816769"/>
                          </a:lnTo>
                          <a:cubicBezTo>
                            <a:pt x="1457439" y="810974"/>
                            <a:pt x="1469406" y="812007"/>
                            <a:pt x="1447800" y="812007"/>
                          </a:cubicBezTo>
                          <a:lnTo>
                            <a:pt x="1371600" y="795338"/>
                          </a:lnTo>
                          <a:lnTo>
                            <a:pt x="1338263" y="790575"/>
                          </a:lnTo>
                          <a:lnTo>
                            <a:pt x="1319213" y="723900"/>
                          </a:lnTo>
                          <a:lnTo>
                            <a:pt x="1181100" y="757238"/>
                          </a:lnTo>
                          <a:lnTo>
                            <a:pt x="1145382" y="738188"/>
                          </a:lnTo>
                          <a:lnTo>
                            <a:pt x="1062038" y="645319"/>
                          </a:lnTo>
                          <a:lnTo>
                            <a:pt x="1028700" y="654844"/>
                          </a:lnTo>
                          <a:lnTo>
                            <a:pt x="992982" y="652463"/>
                          </a:lnTo>
                          <a:lnTo>
                            <a:pt x="897732" y="621507"/>
                          </a:lnTo>
                          <a:lnTo>
                            <a:pt x="840582" y="673894"/>
                          </a:lnTo>
                          <a:lnTo>
                            <a:pt x="792957" y="611982"/>
                          </a:lnTo>
                          <a:lnTo>
                            <a:pt x="747713" y="597694"/>
                          </a:lnTo>
                          <a:lnTo>
                            <a:pt x="742950" y="552450"/>
                          </a:lnTo>
                          <a:lnTo>
                            <a:pt x="707232" y="533400"/>
                          </a:lnTo>
                          <a:lnTo>
                            <a:pt x="664369" y="542925"/>
                          </a:lnTo>
                          <a:lnTo>
                            <a:pt x="652463" y="564357"/>
                          </a:lnTo>
                          <a:lnTo>
                            <a:pt x="590550" y="550069"/>
                          </a:lnTo>
                          <a:lnTo>
                            <a:pt x="481013" y="626269"/>
                          </a:lnTo>
                          <a:lnTo>
                            <a:pt x="514350" y="728663"/>
                          </a:lnTo>
                          <a:lnTo>
                            <a:pt x="535782" y="797719"/>
                          </a:lnTo>
                          <a:lnTo>
                            <a:pt x="454819" y="859632"/>
                          </a:lnTo>
                          <a:lnTo>
                            <a:pt x="326232" y="964407"/>
                          </a:lnTo>
                          <a:lnTo>
                            <a:pt x="259557" y="912019"/>
                          </a:lnTo>
                          <a:lnTo>
                            <a:pt x="216694" y="969169"/>
                          </a:lnTo>
                          <a:lnTo>
                            <a:pt x="4763" y="966787"/>
                          </a:lnTo>
                          <a:lnTo>
                            <a:pt x="0" y="766763"/>
                          </a:lnTo>
                          <a:lnTo>
                            <a:pt x="61914" y="721519"/>
                          </a:lnTo>
                          <a:lnTo>
                            <a:pt x="45244" y="678657"/>
                          </a:lnTo>
                          <a:lnTo>
                            <a:pt x="80963" y="640557"/>
                          </a:lnTo>
                          <a:lnTo>
                            <a:pt x="50007" y="592932"/>
                          </a:lnTo>
                          <a:lnTo>
                            <a:pt x="80963" y="554832"/>
                          </a:lnTo>
                          <a:lnTo>
                            <a:pt x="23813" y="481013"/>
                          </a:lnTo>
                          <a:lnTo>
                            <a:pt x="80963" y="433388"/>
                          </a:lnTo>
                          <a:lnTo>
                            <a:pt x="76200" y="395288"/>
                          </a:lnTo>
                          <a:lnTo>
                            <a:pt x="40482" y="383382"/>
                          </a:lnTo>
                          <a:lnTo>
                            <a:pt x="76200" y="340519"/>
                          </a:lnTo>
                          <a:lnTo>
                            <a:pt x="38100" y="273845"/>
                          </a:lnTo>
                          <a:lnTo>
                            <a:pt x="59532" y="240507"/>
                          </a:lnTo>
                          <a:close/>
                        </a:path>
                      </a:pathLst>
                    </a:custGeom>
                    <a:solidFill>
                      <a:srgbClr val="92D050">
                        <a:alpha val="50000"/>
                      </a:srgb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/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5" name="Freeform 20"/>
                    <p:cNvSpPr/>
                    <p:nvPr/>
                  </p:nvSpPr>
                  <p:spPr>
                    <a:xfrm>
                      <a:off x="5026552" y="1055687"/>
                      <a:ext cx="854190" cy="955112"/>
                    </a:xfrm>
                    <a:custGeom>
                      <a:avLst/>
                      <a:gdLst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107156 w 1216819"/>
                        <a:gd name="connsiteY31" fmla="*/ 540543 h 1466850"/>
                        <a:gd name="connsiteX32" fmla="*/ 92869 w 1216819"/>
                        <a:gd name="connsiteY32" fmla="*/ 573881 h 1466850"/>
                        <a:gd name="connsiteX33" fmla="*/ 61913 w 1216819"/>
                        <a:gd name="connsiteY33" fmla="*/ 566737 h 1466850"/>
                        <a:gd name="connsiteX34" fmla="*/ 128588 w 1216819"/>
                        <a:gd name="connsiteY34" fmla="*/ 657225 h 1466850"/>
                        <a:gd name="connsiteX35" fmla="*/ 133350 w 1216819"/>
                        <a:gd name="connsiteY35" fmla="*/ 685800 h 1466850"/>
                        <a:gd name="connsiteX36" fmla="*/ 145256 w 1216819"/>
                        <a:gd name="connsiteY36" fmla="*/ 795337 h 1466850"/>
                        <a:gd name="connsiteX37" fmla="*/ 140494 w 1216819"/>
                        <a:gd name="connsiteY37" fmla="*/ 833437 h 1466850"/>
                        <a:gd name="connsiteX38" fmla="*/ 121444 w 1216819"/>
                        <a:gd name="connsiteY38" fmla="*/ 928687 h 1466850"/>
                        <a:gd name="connsiteX39" fmla="*/ 142875 w 1216819"/>
                        <a:gd name="connsiteY39" fmla="*/ 995362 h 1466850"/>
                        <a:gd name="connsiteX40" fmla="*/ 102394 w 1216819"/>
                        <a:gd name="connsiteY40" fmla="*/ 1059656 h 1466850"/>
                        <a:gd name="connsiteX41" fmla="*/ 138113 w 1216819"/>
                        <a:gd name="connsiteY41" fmla="*/ 1090612 h 1466850"/>
                        <a:gd name="connsiteX42" fmla="*/ 138113 w 1216819"/>
                        <a:gd name="connsiteY42" fmla="*/ 1090612 h 1466850"/>
                        <a:gd name="connsiteX43" fmla="*/ 200025 w 1216819"/>
                        <a:gd name="connsiteY43" fmla="*/ 1183481 h 1466850"/>
                        <a:gd name="connsiteX44" fmla="*/ 180975 w 1216819"/>
                        <a:gd name="connsiteY44" fmla="*/ 1216818 h 1466850"/>
                        <a:gd name="connsiteX45" fmla="*/ 171450 w 1216819"/>
                        <a:gd name="connsiteY45" fmla="*/ 1243012 h 1466850"/>
                        <a:gd name="connsiteX46" fmla="*/ 214313 w 1216819"/>
                        <a:gd name="connsiteY46" fmla="*/ 1278731 h 1466850"/>
                        <a:gd name="connsiteX47" fmla="*/ 290513 w 1216819"/>
                        <a:gd name="connsiteY47" fmla="*/ 1285875 h 1466850"/>
                        <a:gd name="connsiteX48" fmla="*/ 350044 w 1216819"/>
                        <a:gd name="connsiteY48" fmla="*/ 1309687 h 1466850"/>
                        <a:gd name="connsiteX49" fmla="*/ 428625 w 1216819"/>
                        <a:gd name="connsiteY49" fmla="*/ 1350168 h 1466850"/>
                        <a:gd name="connsiteX50" fmla="*/ 426244 w 1216819"/>
                        <a:gd name="connsiteY50" fmla="*/ 1383506 h 1466850"/>
                        <a:gd name="connsiteX51" fmla="*/ 438150 w 1216819"/>
                        <a:gd name="connsiteY51" fmla="*/ 1404937 h 1466850"/>
                        <a:gd name="connsiteX52" fmla="*/ 421481 w 1216819"/>
                        <a:gd name="connsiteY52" fmla="*/ 1450181 h 1466850"/>
                        <a:gd name="connsiteX53" fmla="*/ 459581 w 1216819"/>
                        <a:gd name="connsiteY53" fmla="*/ 1466850 h 1466850"/>
                        <a:gd name="connsiteX54" fmla="*/ 495300 w 1216819"/>
                        <a:gd name="connsiteY54" fmla="*/ 1409700 h 1466850"/>
                        <a:gd name="connsiteX55" fmla="*/ 554831 w 1216819"/>
                        <a:gd name="connsiteY55" fmla="*/ 1393031 h 1466850"/>
                        <a:gd name="connsiteX56" fmla="*/ 600075 w 1216819"/>
                        <a:gd name="connsiteY56" fmla="*/ 1357312 h 1466850"/>
                        <a:gd name="connsiteX57" fmla="*/ 654844 w 1216819"/>
                        <a:gd name="connsiteY57" fmla="*/ 1366837 h 1466850"/>
                        <a:gd name="connsiteX58" fmla="*/ 731044 w 1216819"/>
                        <a:gd name="connsiteY58" fmla="*/ 1331118 h 1466850"/>
                        <a:gd name="connsiteX59" fmla="*/ 771525 w 1216819"/>
                        <a:gd name="connsiteY59" fmla="*/ 1254918 h 1466850"/>
                        <a:gd name="connsiteX60" fmla="*/ 792956 w 1216819"/>
                        <a:gd name="connsiteY60" fmla="*/ 1238250 h 1466850"/>
                        <a:gd name="connsiteX61" fmla="*/ 802481 w 1216819"/>
                        <a:gd name="connsiteY61" fmla="*/ 1204912 h 1466850"/>
                        <a:gd name="connsiteX62" fmla="*/ 821531 w 1216819"/>
                        <a:gd name="connsiteY62" fmla="*/ 1200150 h 1466850"/>
                        <a:gd name="connsiteX63" fmla="*/ 969169 w 1216819"/>
                        <a:gd name="connsiteY63" fmla="*/ 1231106 h 1466850"/>
                        <a:gd name="connsiteX64" fmla="*/ 981075 w 1216819"/>
                        <a:gd name="connsiteY64" fmla="*/ 1297781 h 1466850"/>
                        <a:gd name="connsiteX65" fmla="*/ 1002506 w 1216819"/>
                        <a:gd name="connsiteY65" fmla="*/ 1331118 h 1466850"/>
                        <a:gd name="connsiteX66" fmla="*/ 1016794 w 1216819"/>
                        <a:gd name="connsiteY66" fmla="*/ 1371600 h 1466850"/>
                        <a:gd name="connsiteX67" fmla="*/ 1054894 w 1216819"/>
                        <a:gd name="connsiteY67" fmla="*/ 1381125 h 1466850"/>
                        <a:gd name="connsiteX68" fmla="*/ 1107281 w 1216819"/>
                        <a:gd name="connsiteY68" fmla="*/ 1366837 h 1466850"/>
                        <a:gd name="connsiteX69" fmla="*/ 1133475 w 1216819"/>
                        <a:gd name="connsiteY69" fmla="*/ 1362075 h 1466850"/>
                        <a:gd name="connsiteX70" fmla="*/ 1188244 w 1216819"/>
                        <a:gd name="connsiteY70" fmla="*/ 1288256 h 1466850"/>
                        <a:gd name="connsiteX71" fmla="*/ 1178719 w 1216819"/>
                        <a:gd name="connsiteY71" fmla="*/ 1233487 h 1466850"/>
                        <a:gd name="connsiteX72" fmla="*/ 1171575 w 1216819"/>
                        <a:gd name="connsiteY72" fmla="*/ 1183481 h 1466850"/>
                        <a:gd name="connsiteX73" fmla="*/ 1050131 w 1216819"/>
                        <a:gd name="connsiteY73" fmla="*/ 1054893 h 1466850"/>
                        <a:gd name="connsiteX74" fmla="*/ 1052513 w 1216819"/>
                        <a:gd name="connsiteY74" fmla="*/ 1002506 h 1466850"/>
                        <a:gd name="connsiteX75" fmla="*/ 1090613 w 1216819"/>
                        <a:gd name="connsiteY75" fmla="*/ 971550 h 1466850"/>
                        <a:gd name="connsiteX76" fmla="*/ 1119188 w 1216819"/>
                        <a:gd name="connsiteY76" fmla="*/ 919162 h 1466850"/>
                        <a:gd name="connsiteX77" fmla="*/ 1195388 w 1216819"/>
                        <a:gd name="connsiteY77" fmla="*/ 850106 h 1466850"/>
                        <a:gd name="connsiteX78" fmla="*/ 1216819 w 1216819"/>
                        <a:gd name="connsiteY78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107156 w 1216819"/>
                        <a:gd name="connsiteY31" fmla="*/ 540543 h 1466850"/>
                        <a:gd name="connsiteX32" fmla="*/ 92869 w 1216819"/>
                        <a:gd name="connsiteY32" fmla="*/ 573881 h 1466850"/>
                        <a:gd name="connsiteX33" fmla="*/ 61913 w 1216819"/>
                        <a:gd name="connsiteY33" fmla="*/ 566737 h 1466850"/>
                        <a:gd name="connsiteX34" fmla="*/ 90488 w 1216819"/>
                        <a:gd name="connsiteY34" fmla="*/ 600075 h 1466850"/>
                        <a:gd name="connsiteX35" fmla="*/ 128588 w 1216819"/>
                        <a:gd name="connsiteY35" fmla="*/ 657225 h 1466850"/>
                        <a:gd name="connsiteX36" fmla="*/ 133350 w 1216819"/>
                        <a:gd name="connsiteY36" fmla="*/ 685800 h 1466850"/>
                        <a:gd name="connsiteX37" fmla="*/ 145256 w 1216819"/>
                        <a:gd name="connsiteY37" fmla="*/ 795337 h 1466850"/>
                        <a:gd name="connsiteX38" fmla="*/ 140494 w 1216819"/>
                        <a:gd name="connsiteY38" fmla="*/ 833437 h 1466850"/>
                        <a:gd name="connsiteX39" fmla="*/ 121444 w 1216819"/>
                        <a:gd name="connsiteY39" fmla="*/ 928687 h 1466850"/>
                        <a:gd name="connsiteX40" fmla="*/ 142875 w 1216819"/>
                        <a:gd name="connsiteY40" fmla="*/ 995362 h 1466850"/>
                        <a:gd name="connsiteX41" fmla="*/ 102394 w 1216819"/>
                        <a:gd name="connsiteY41" fmla="*/ 1059656 h 1466850"/>
                        <a:gd name="connsiteX42" fmla="*/ 138113 w 1216819"/>
                        <a:gd name="connsiteY42" fmla="*/ 1090612 h 1466850"/>
                        <a:gd name="connsiteX43" fmla="*/ 138113 w 1216819"/>
                        <a:gd name="connsiteY43" fmla="*/ 1090612 h 1466850"/>
                        <a:gd name="connsiteX44" fmla="*/ 200025 w 1216819"/>
                        <a:gd name="connsiteY44" fmla="*/ 1183481 h 1466850"/>
                        <a:gd name="connsiteX45" fmla="*/ 180975 w 1216819"/>
                        <a:gd name="connsiteY45" fmla="*/ 1216818 h 1466850"/>
                        <a:gd name="connsiteX46" fmla="*/ 171450 w 1216819"/>
                        <a:gd name="connsiteY46" fmla="*/ 1243012 h 1466850"/>
                        <a:gd name="connsiteX47" fmla="*/ 214313 w 1216819"/>
                        <a:gd name="connsiteY47" fmla="*/ 1278731 h 1466850"/>
                        <a:gd name="connsiteX48" fmla="*/ 290513 w 1216819"/>
                        <a:gd name="connsiteY48" fmla="*/ 1285875 h 1466850"/>
                        <a:gd name="connsiteX49" fmla="*/ 350044 w 1216819"/>
                        <a:gd name="connsiteY49" fmla="*/ 1309687 h 1466850"/>
                        <a:gd name="connsiteX50" fmla="*/ 428625 w 1216819"/>
                        <a:gd name="connsiteY50" fmla="*/ 1350168 h 1466850"/>
                        <a:gd name="connsiteX51" fmla="*/ 426244 w 1216819"/>
                        <a:gd name="connsiteY51" fmla="*/ 1383506 h 1466850"/>
                        <a:gd name="connsiteX52" fmla="*/ 438150 w 1216819"/>
                        <a:gd name="connsiteY52" fmla="*/ 1404937 h 1466850"/>
                        <a:gd name="connsiteX53" fmla="*/ 421481 w 1216819"/>
                        <a:gd name="connsiteY53" fmla="*/ 1450181 h 1466850"/>
                        <a:gd name="connsiteX54" fmla="*/ 459581 w 1216819"/>
                        <a:gd name="connsiteY54" fmla="*/ 1466850 h 1466850"/>
                        <a:gd name="connsiteX55" fmla="*/ 495300 w 1216819"/>
                        <a:gd name="connsiteY55" fmla="*/ 1409700 h 1466850"/>
                        <a:gd name="connsiteX56" fmla="*/ 554831 w 1216819"/>
                        <a:gd name="connsiteY56" fmla="*/ 1393031 h 1466850"/>
                        <a:gd name="connsiteX57" fmla="*/ 600075 w 1216819"/>
                        <a:gd name="connsiteY57" fmla="*/ 1357312 h 1466850"/>
                        <a:gd name="connsiteX58" fmla="*/ 654844 w 1216819"/>
                        <a:gd name="connsiteY58" fmla="*/ 1366837 h 1466850"/>
                        <a:gd name="connsiteX59" fmla="*/ 731044 w 1216819"/>
                        <a:gd name="connsiteY59" fmla="*/ 1331118 h 1466850"/>
                        <a:gd name="connsiteX60" fmla="*/ 771525 w 1216819"/>
                        <a:gd name="connsiteY60" fmla="*/ 1254918 h 1466850"/>
                        <a:gd name="connsiteX61" fmla="*/ 792956 w 1216819"/>
                        <a:gd name="connsiteY61" fmla="*/ 1238250 h 1466850"/>
                        <a:gd name="connsiteX62" fmla="*/ 802481 w 1216819"/>
                        <a:gd name="connsiteY62" fmla="*/ 1204912 h 1466850"/>
                        <a:gd name="connsiteX63" fmla="*/ 821531 w 1216819"/>
                        <a:gd name="connsiteY63" fmla="*/ 1200150 h 1466850"/>
                        <a:gd name="connsiteX64" fmla="*/ 969169 w 1216819"/>
                        <a:gd name="connsiteY64" fmla="*/ 1231106 h 1466850"/>
                        <a:gd name="connsiteX65" fmla="*/ 981075 w 1216819"/>
                        <a:gd name="connsiteY65" fmla="*/ 1297781 h 1466850"/>
                        <a:gd name="connsiteX66" fmla="*/ 1002506 w 1216819"/>
                        <a:gd name="connsiteY66" fmla="*/ 1331118 h 1466850"/>
                        <a:gd name="connsiteX67" fmla="*/ 1016794 w 1216819"/>
                        <a:gd name="connsiteY67" fmla="*/ 1371600 h 1466850"/>
                        <a:gd name="connsiteX68" fmla="*/ 1054894 w 1216819"/>
                        <a:gd name="connsiteY68" fmla="*/ 1381125 h 1466850"/>
                        <a:gd name="connsiteX69" fmla="*/ 1107281 w 1216819"/>
                        <a:gd name="connsiteY69" fmla="*/ 1366837 h 1466850"/>
                        <a:gd name="connsiteX70" fmla="*/ 1133475 w 1216819"/>
                        <a:gd name="connsiteY70" fmla="*/ 1362075 h 1466850"/>
                        <a:gd name="connsiteX71" fmla="*/ 1188244 w 1216819"/>
                        <a:gd name="connsiteY71" fmla="*/ 1288256 h 1466850"/>
                        <a:gd name="connsiteX72" fmla="*/ 1178719 w 1216819"/>
                        <a:gd name="connsiteY72" fmla="*/ 1233487 h 1466850"/>
                        <a:gd name="connsiteX73" fmla="*/ 1171575 w 1216819"/>
                        <a:gd name="connsiteY73" fmla="*/ 1183481 h 1466850"/>
                        <a:gd name="connsiteX74" fmla="*/ 1050131 w 1216819"/>
                        <a:gd name="connsiteY74" fmla="*/ 1054893 h 1466850"/>
                        <a:gd name="connsiteX75" fmla="*/ 1052513 w 1216819"/>
                        <a:gd name="connsiteY75" fmla="*/ 1002506 h 1466850"/>
                        <a:gd name="connsiteX76" fmla="*/ 1090613 w 1216819"/>
                        <a:gd name="connsiteY76" fmla="*/ 971550 h 1466850"/>
                        <a:gd name="connsiteX77" fmla="*/ 1119188 w 1216819"/>
                        <a:gd name="connsiteY77" fmla="*/ 919162 h 1466850"/>
                        <a:gd name="connsiteX78" fmla="*/ 1195388 w 1216819"/>
                        <a:gd name="connsiteY78" fmla="*/ 850106 h 1466850"/>
                        <a:gd name="connsiteX79" fmla="*/ 1216819 w 1216819"/>
                        <a:gd name="connsiteY79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107156 w 1216819"/>
                        <a:gd name="connsiteY31" fmla="*/ 540543 h 1466850"/>
                        <a:gd name="connsiteX32" fmla="*/ 92869 w 1216819"/>
                        <a:gd name="connsiteY32" fmla="*/ 573881 h 1466850"/>
                        <a:gd name="connsiteX33" fmla="*/ 61913 w 1216819"/>
                        <a:gd name="connsiteY33" fmla="*/ 566737 h 1466850"/>
                        <a:gd name="connsiteX34" fmla="*/ 78581 w 1216819"/>
                        <a:gd name="connsiteY34" fmla="*/ 607218 h 1466850"/>
                        <a:gd name="connsiteX35" fmla="*/ 128588 w 1216819"/>
                        <a:gd name="connsiteY35" fmla="*/ 657225 h 1466850"/>
                        <a:gd name="connsiteX36" fmla="*/ 133350 w 1216819"/>
                        <a:gd name="connsiteY36" fmla="*/ 685800 h 1466850"/>
                        <a:gd name="connsiteX37" fmla="*/ 145256 w 1216819"/>
                        <a:gd name="connsiteY37" fmla="*/ 795337 h 1466850"/>
                        <a:gd name="connsiteX38" fmla="*/ 140494 w 1216819"/>
                        <a:gd name="connsiteY38" fmla="*/ 833437 h 1466850"/>
                        <a:gd name="connsiteX39" fmla="*/ 121444 w 1216819"/>
                        <a:gd name="connsiteY39" fmla="*/ 928687 h 1466850"/>
                        <a:gd name="connsiteX40" fmla="*/ 142875 w 1216819"/>
                        <a:gd name="connsiteY40" fmla="*/ 995362 h 1466850"/>
                        <a:gd name="connsiteX41" fmla="*/ 102394 w 1216819"/>
                        <a:gd name="connsiteY41" fmla="*/ 1059656 h 1466850"/>
                        <a:gd name="connsiteX42" fmla="*/ 138113 w 1216819"/>
                        <a:gd name="connsiteY42" fmla="*/ 1090612 h 1466850"/>
                        <a:gd name="connsiteX43" fmla="*/ 138113 w 1216819"/>
                        <a:gd name="connsiteY43" fmla="*/ 1090612 h 1466850"/>
                        <a:gd name="connsiteX44" fmla="*/ 200025 w 1216819"/>
                        <a:gd name="connsiteY44" fmla="*/ 1183481 h 1466850"/>
                        <a:gd name="connsiteX45" fmla="*/ 180975 w 1216819"/>
                        <a:gd name="connsiteY45" fmla="*/ 1216818 h 1466850"/>
                        <a:gd name="connsiteX46" fmla="*/ 171450 w 1216819"/>
                        <a:gd name="connsiteY46" fmla="*/ 1243012 h 1466850"/>
                        <a:gd name="connsiteX47" fmla="*/ 214313 w 1216819"/>
                        <a:gd name="connsiteY47" fmla="*/ 1278731 h 1466850"/>
                        <a:gd name="connsiteX48" fmla="*/ 290513 w 1216819"/>
                        <a:gd name="connsiteY48" fmla="*/ 1285875 h 1466850"/>
                        <a:gd name="connsiteX49" fmla="*/ 350044 w 1216819"/>
                        <a:gd name="connsiteY49" fmla="*/ 1309687 h 1466850"/>
                        <a:gd name="connsiteX50" fmla="*/ 428625 w 1216819"/>
                        <a:gd name="connsiteY50" fmla="*/ 1350168 h 1466850"/>
                        <a:gd name="connsiteX51" fmla="*/ 426244 w 1216819"/>
                        <a:gd name="connsiteY51" fmla="*/ 1383506 h 1466850"/>
                        <a:gd name="connsiteX52" fmla="*/ 438150 w 1216819"/>
                        <a:gd name="connsiteY52" fmla="*/ 1404937 h 1466850"/>
                        <a:gd name="connsiteX53" fmla="*/ 421481 w 1216819"/>
                        <a:gd name="connsiteY53" fmla="*/ 1450181 h 1466850"/>
                        <a:gd name="connsiteX54" fmla="*/ 459581 w 1216819"/>
                        <a:gd name="connsiteY54" fmla="*/ 1466850 h 1466850"/>
                        <a:gd name="connsiteX55" fmla="*/ 495300 w 1216819"/>
                        <a:gd name="connsiteY55" fmla="*/ 1409700 h 1466850"/>
                        <a:gd name="connsiteX56" fmla="*/ 554831 w 1216819"/>
                        <a:gd name="connsiteY56" fmla="*/ 1393031 h 1466850"/>
                        <a:gd name="connsiteX57" fmla="*/ 600075 w 1216819"/>
                        <a:gd name="connsiteY57" fmla="*/ 1357312 h 1466850"/>
                        <a:gd name="connsiteX58" fmla="*/ 654844 w 1216819"/>
                        <a:gd name="connsiteY58" fmla="*/ 1366837 h 1466850"/>
                        <a:gd name="connsiteX59" fmla="*/ 731044 w 1216819"/>
                        <a:gd name="connsiteY59" fmla="*/ 1331118 h 1466850"/>
                        <a:gd name="connsiteX60" fmla="*/ 771525 w 1216819"/>
                        <a:gd name="connsiteY60" fmla="*/ 1254918 h 1466850"/>
                        <a:gd name="connsiteX61" fmla="*/ 792956 w 1216819"/>
                        <a:gd name="connsiteY61" fmla="*/ 1238250 h 1466850"/>
                        <a:gd name="connsiteX62" fmla="*/ 802481 w 1216819"/>
                        <a:gd name="connsiteY62" fmla="*/ 1204912 h 1466850"/>
                        <a:gd name="connsiteX63" fmla="*/ 821531 w 1216819"/>
                        <a:gd name="connsiteY63" fmla="*/ 1200150 h 1466850"/>
                        <a:gd name="connsiteX64" fmla="*/ 969169 w 1216819"/>
                        <a:gd name="connsiteY64" fmla="*/ 1231106 h 1466850"/>
                        <a:gd name="connsiteX65" fmla="*/ 981075 w 1216819"/>
                        <a:gd name="connsiteY65" fmla="*/ 1297781 h 1466850"/>
                        <a:gd name="connsiteX66" fmla="*/ 1002506 w 1216819"/>
                        <a:gd name="connsiteY66" fmla="*/ 1331118 h 1466850"/>
                        <a:gd name="connsiteX67" fmla="*/ 1016794 w 1216819"/>
                        <a:gd name="connsiteY67" fmla="*/ 1371600 h 1466850"/>
                        <a:gd name="connsiteX68" fmla="*/ 1054894 w 1216819"/>
                        <a:gd name="connsiteY68" fmla="*/ 1381125 h 1466850"/>
                        <a:gd name="connsiteX69" fmla="*/ 1107281 w 1216819"/>
                        <a:gd name="connsiteY69" fmla="*/ 1366837 h 1466850"/>
                        <a:gd name="connsiteX70" fmla="*/ 1133475 w 1216819"/>
                        <a:gd name="connsiteY70" fmla="*/ 1362075 h 1466850"/>
                        <a:gd name="connsiteX71" fmla="*/ 1188244 w 1216819"/>
                        <a:gd name="connsiteY71" fmla="*/ 1288256 h 1466850"/>
                        <a:gd name="connsiteX72" fmla="*/ 1178719 w 1216819"/>
                        <a:gd name="connsiteY72" fmla="*/ 1233487 h 1466850"/>
                        <a:gd name="connsiteX73" fmla="*/ 1171575 w 1216819"/>
                        <a:gd name="connsiteY73" fmla="*/ 1183481 h 1466850"/>
                        <a:gd name="connsiteX74" fmla="*/ 1050131 w 1216819"/>
                        <a:gd name="connsiteY74" fmla="*/ 1054893 h 1466850"/>
                        <a:gd name="connsiteX75" fmla="*/ 1052513 w 1216819"/>
                        <a:gd name="connsiteY75" fmla="*/ 1002506 h 1466850"/>
                        <a:gd name="connsiteX76" fmla="*/ 1090613 w 1216819"/>
                        <a:gd name="connsiteY76" fmla="*/ 971550 h 1466850"/>
                        <a:gd name="connsiteX77" fmla="*/ 1119188 w 1216819"/>
                        <a:gd name="connsiteY77" fmla="*/ 919162 h 1466850"/>
                        <a:gd name="connsiteX78" fmla="*/ 1195388 w 1216819"/>
                        <a:gd name="connsiteY78" fmla="*/ 850106 h 1466850"/>
                        <a:gd name="connsiteX79" fmla="*/ 1216819 w 1216819"/>
                        <a:gd name="connsiteY79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100012 w 1216819"/>
                        <a:gd name="connsiteY31" fmla="*/ 542924 h 1466850"/>
                        <a:gd name="connsiteX32" fmla="*/ 92869 w 1216819"/>
                        <a:gd name="connsiteY32" fmla="*/ 573881 h 1466850"/>
                        <a:gd name="connsiteX33" fmla="*/ 61913 w 1216819"/>
                        <a:gd name="connsiteY33" fmla="*/ 566737 h 1466850"/>
                        <a:gd name="connsiteX34" fmla="*/ 78581 w 1216819"/>
                        <a:gd name="connsiteY34" fmla="*/ 607218 h 1466850"/>
                        <a:gd name="connsiteX35" fmla="*/ 128588 w 1216819"/>
                        <a:gd name="connsiteY35" fmla="*/ 657225 h 1466850"/>
                        <a:gd name="connsiteX36" fmla="*/ 133350 w 1216819"/>
                        <a:gd name="connsiteY36" fmla="*/ 685800 h 1466850"/>
                        <a:gd name="connsiteX37" fmla="*/ 145256 w 1216819"/>
                        <a:gd name="connsiteY37" fmla="*/ 795337 h 1466850"/>
                        <a:gd name="connsiteX38" fmla="*/ 140494 w 1216819"/>
                        <a:gd name="connsiteY38" fmla="*/ 833437 h 1466850"/>
                        <a:gd name="connsiteX39" fmla="*/ 121444 w 1216819"/>
                        <a:gd name="connsiteY39" fmla="*/ 928687 h 1466850"/>
                        <a:gd name="connsiteX40" fmla="*/ 142875 w 1216819"/>
                        <a:gd name="connsiteY40" fmla="*/ 995362 h 1466850"/>
                        <a:gd name="connsiteX41" fmla="*/ 102394 w 1216819"/>
                        <a:gd name="connsiteY41" fmla="*/ 1059656 h 1466850"/>
                        <a:gd name="connsiteX42" fmla="*/ 138113 w 1216819"/>
                        <a:gd name="connsiteY42" fmla="*/ 1090612 h 1466850"/>
                        <a:gd name="connsiteX43" fmla="*/ 138113 w 1216819"/>
                        <a:gd name="connsiteY43" fmla="*/ 1090612 h 1466850"/>
                        <a:gd name="connsiteX44" fmla="*/ 200025 w 1216819"/>
                        <a:gd name="connsiteY44" fmla="*/ 1183481 h 1466850"/>
                        <a:gd name="connsiteX45" fmla="*/ 180975 w 1216819"/>
                        <a:gd name="connsiteY45" fmla="*/ 1216818 h 1466850"/>
                        <a:gd name="connsiteX46" fmla="*/ 171450 w 1216819"/>
                        <a:gd name="connsiteY46" fmla="*/ 1243012 h 1466850"/>
                        <a:gd name="connsiteX47" fmla="*/ 214313 w 1216819"/>
                        <a:gd name="connsiteY47" fmla="*/ 1278731 h 1466850"/>
                        <a:gd name="connsiteX48" fmla="*/ 290513 w 1216819"/>
                        <a:gd name="connsiteY48" fmla="*/ 1285875 h 1466850"/>
                        <a:gd name="connsiteX49" fmla="*/ 350044 w 1216819"/>
                        <a:gd name="connsiteY49" fmla="*/ 1309687 h 1466850"/>
                        <a:gd name="connsiteX50" fmla="*/ 428625 w 1216819"/>
                        <a:gd name="connsiteY50" fmla="*/ 1350168 h 1466850"/>
                        <a:gd name="connsiteX51" fmla="*/ 426244 w 1216819"/>
                        <a:gd name="connsiteY51" fmla="*/ 1383506 h 1466850"/>
                        <a:gd name="connsiteX52" fmla="*/ 438150 w 1216819"/>
                        <a:gd name="connsiteY52" fmla="*/ 1404937 h 1466850"/>
                        <a:gd name="connsiteX53" fmla="*/ 421481 w 1216819"/>
                        <a:gd name="connsiteY53" fmla="*/ 1450181 h 1466850"/>
                        <a:gd name="connsiteX54" fmla="*/ 459581 w 1216819"/>
                        <a:gd name="connsiteY54" fmla="*/ 1466850 h 1466850"/>
                        <a:gd name="connsiteX55" fmla="*/ 495300 w 1216819"/>
                        <a:gd name="connsiteY55" fmla="*/ 1409700 h 1466850"/>
                        <a:gd name="connsiteX56" fmla="*/ 554831 w 1216819"/>
                        <a:gd name="connsiteY56" fmla="*/ 1393031 h 1466850"/>
                        <a:gd name="connsiteX57" fmla="*/ 600075 w 1216819"/>
                        <a:gd name="connsiteY57" fmla="*/ 1357312 h 1466850"/>
                        <a:gd name="connsiteX58" fmla="*/ 654844 w 1216819"/>
                        <a:gd name="connsiteY58" fmla="*/ 1366837 h 1466850"/>
                        <a:gd name="connsiteX59" fmla="*/ 731044 w 1216819"/>
                        <a:gd name="connsiteY59" fmla="*/ 1331118 h 1466850"/>
                        <a:gd name="connsiteX60" fmla="*/ 771525 w 1216819"/>
                        <a:gd name="connsiteY60" fmla="*/ 1254918 h 1466850"/>
                        <a:gd name="connsiteX61" fmla="*/ 792956 w 1216819"/>
                        <a:gd name="connsiteY61" fmla="*/ 1238250 h 1466850"/>
                        <a:gd name="connsiteX62" fmla="*/ 802481 w 1216819"/>
                        <a:gd name="connsiteY62" fmla="*/ 1204912 h 1466850"/>
                        <a:gd name="connsiteX63" fmla="*/ 821531 w 1216819"/>
                        <a:gd name="connsiteY63" fmla="*/ 1200150 h 1466850"/>
                        <a:gd name="connsiteX64" fmla="*/ 969169 w 1216819"/>
                        <a:gd name="connsiteY64" fmla="*/ 1231106 h 1466850"/>
                        <a:gd name="connsiteX65" fmla="*/ 981075 w 1216819"/>
                        <a:gd name="connsiteY65" fmla="*/ 1297781 h 1466850"/>
                        <a:gd name="connsiteX66" fmla="*/ 1002506 w 1216819"/>
                        <a:gd name="connsiteY66" fmla="*/ 1331118 h 1466850"/>
                        <a:gd name="connsiteX67" fmla="*/ 1016794 w 1216819"/>
                        <a:gd name="connsiteY67" fmla="*/ 1371600 h 1466850"/>
                        <a:gd name="connsiteX68" fmla="*/ 1054894 w 1216819"/>
                        <a:gd name="connsiteY68" fmla="*/ 1381125 h 1466850"/>
                        <a:gd name="connsiteX69" fmla="*/ 1107281 w 1216819"/>
                        <a:gd name="connsiteY69" fmla="*/ 1366837 h 1466850"/>
                        <a:gd name="connsiteX70" fmla="*/ 1133475 w 1216819"/>
                        <a:gd name="connsiteY70" fmla="*/ 1362075 h 1466850"/>
                        <a:gd name="connsiteX71" fmla="*/ 1188244 w 1216819"/>
                        <a:gd name="connsiteY71" fmla="*/ 1288256 h 1466850"/>
                        <a:gd name="connsiteX72" fmla="*/ 1178719 w 1216819"/>
                        <a:gd name="connsiteY72" fmla="*/ 1233487 h 1466850"/>
                        <a:gd name="connsiteX73" fmla="*/ 1171575 w 1216819"/>
                        <a:gd name="connsiteY73" fmla="*/ 1183481 h 1466850"/>
                        <a:gd name="connsiteX74" fmla="*/ 1050131 w 1216819"/>
                        <a:gd name="connsiteY74" fmla="*/ 1054893 h 1466850"/>
                        <a:gd name="connsiteX75" fmla="*/ 1052513 w 1216819"/>
                        <a:gd name="connsiteY75" fmla="*/ 1002506 h 1466850"/>
                        <a:gd name="connsiteX76" fmla="*/ 1090613 w 1216819"/>
                        <a:gd name="connsiteY76" fmla="*/ 971550 h 1466850"/>
                        <a:gd name="connsiteX77" fmla="*/ 1119188 w 1216819"/>
                        <a:gd name="connsiteY77" fmla="*/ 919162 h 1466850"/>
                        <a:gd name="connsiteX78" fmla="*/ 1195388 w 1216819"/>
                        <a:gd name="connsiteY78" fmla="*/ 850106 h 1466850"/>
                        <a:gd name="connsiteX79" fmla="*/ 1216819 w 1216819"/>
                        <a:gd name="connsiteY79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7625 w 1216819"/>
                        <a:gd name="connsiteY31" fmla="*/ 500062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38113 w 1216819"/>
                        <a:gd name="connsiteY44" fmla="*/ 1090612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57312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9169 w 1216819"/>
                        <a:gd name="connsiteY65" fmla="*/ 1231106 h 1466850"/>
                        <a:gd name="connsiteX66" fmla="*/ 981075 w 1216819"/>
                        <a:gd name="connsiteY66" fmla="*/ 1297781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38113 w 1216819"/>
                        <a:gd name="connsiteY44" fmla="*/ 1090612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57312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9169 w 1216819"/>
                        <a:gd name="connsiteY65" fmla="*/ 1231106 h 1466850"/>
                        <a:gd name="connsiteX66" fmla="*/ 981075 w 1216819"/>
                        <a:gd name="connsiteY66" fmla="*/ 1297781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57312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9169 w 1216819"/>
                        <a:gd name="connsiteY65" fmla="*/ 1231106 h 1466850"/>
                        <a:gd name="connsiteX66" fmla="*/ 981075 w 1216819"/>
                        <a:gd name="connsiteY66" fmla="*/ 1297781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66837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9169 w 1216819"/>
                        <a:gd name="connsiteY65" fmla="*/ 1231106 h 1466850"/>
                        <a:gd name="connsiteX66" fmla="*/ 981075 w 1216819"/>
                        <a:gd name="connsiteY66" fmla="*/ 1297781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66837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2025 w 1216819"/>
                        <a:gd name="connsiteY65" fmla="*/ 1240631 h 1466850"/>
                        <a:gd name="connsiteX66" fmla="*/ 981075 w 1216819"/>
                        <a:gd name="connsiteY66" fmla="*/ 1297781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66837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2025 w 1216819"/>
                        <a:gd name="connsiteY65" fmla="*/ 1240631 h 1466850"/>
                        <a:gd name="connsiteX66" fmla="*/ 971550 w 1216819"/>
                        <a:gd name="connsiteY66" fmla="*/ 1293018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66837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2025 w 1216819"/>
                        <a:gd name="connsiteY65" fmla="*/ 1240631 h 1466850"/>
                        <a:gd name="connsiteX66" fmla="*/ 971550 w 1216819"/>
                        <a:gd name="connsiteY66" fmla="*/ 1293018 h 1466850"/>
                        <a:gd name="connsiteX67" fmla="*/ 992981 w 1216819"/>
                        <a:gd name="connsiteY67" fmla="*/ 1333500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66837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2025 w 1216819"/>
                        <a:gd name="connsiteY65" fmla="*/ 1240631 h 1466850"/>
                        <a:gd name="connsiteX66" fmla="*/ 971550 w 1216819"/>
                        <a:gd name="connsiteY66" fmla="*/ 1293018 h 1466850"/>
                        <a:gd name="connsiteX67" fmla="*/ 992981 w 1216819"/>
                        <a:gd name="connsiteY67" fmla="*/ 1333500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090612 w 1216819"/>
                        <a:gd name="connsiteY70" fmla="*/ 1376362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</a:cxnLst>
                      <a:rect l="l" t="t" r="r" b="b"/>
                      <a:pathLst>
                        <a:path w="1216819" h="1466850">
                          <a:moveTo>
                            <a:pt x="1216819" y="771525"/>
                          </a:moveTo>
                          <a:lnTo>
                            <a:pt x="1021556" y="523875"/>
                          </a:lnTo>
                          <a:lnTo>
                            <a:pt x="871538" y="345281"/>
                          </a:lnTo>
                          <a:lnTo>
                            <a:pt x="759619" y="245268"/>
                          </a:lnTo>
                          <a:lnTo>
                            <a:pt x="633413" y="190500"/>
                          </a:lnTo>
                          <a:lnTo>
                            <a:pt x="614363" y="178593"/>
                          </a:lnTo>
                          <a:lnTo>
                            <a:pt x="581025" y="138112"/>
                          </a:lnTo>
                          <a:lnTo>
                            <a:pt x="564356" y="102393"/>
                          </a:lnTo>
                          <a:lnTo>
                            <a:pt x="602456" y="100012"/>
                          </a:lnTo>
                          <a:lnTo>
                            <a:pt x="628650" y="104775"/>
                          </a:lnTo>
                          <a:lnTo>
                            <a:pt x="661988" y="42862"/>
                          </a:lnTo>
                          <a:lnTo>
                            <a:pt x="652463" y="0"/>
                          </a:lnTo>
                          <a:lnTo>
                            <a:pt x="621506" y="16668"/>
                          </a:lnTo>
                          <a:lnTo>
                            <a:pt x="566738" y="50006"/>
                          </a:lnTo>
                          <a:lnTo>
                            <a:pt x="533400" y="50006"/>
                          </a:lnTo>
                          <a:lnTo>
                            <a:pt x="519113" y="78581"/>
                          </a:lnTo>
                          <a:lnTo>
                            <a:pt x="509588" y="97631"/>
                          </a:lnTo>
                          <a:lnTo>
                            <a:pt x="447675" y="142875"/>
                          </a:lnTo>
                          <a:lnTo>
                            <a:pt x="390525" y="140493"/>
                          </a:lnTo>
                          <a:lnTo>
                            <a:pt x="350044" y="226218"/>
                          </a:lnTo>
                          <a:lnTo>
                            <a:pt x="252413" y="264318"/>
                          </a:lnTo>
                          <a:lnTo>
                            <a:pt x="207169" y="297656"/>
                          </a:lnTo>
                          <a:lnTo>
                            <a:pt x="195263" y="357187"/>
                          </a:lnTo>
                          <a:lnTo>
                            <a:pt x="147638" y="333375"/>
                          </a:lnTo>
                          <a:lnTo>
                            <a:pt x="119063" y="319087"/>
                          </a:lnTo>
                          <a:lnTo>
                            <a:pt x="45244" y="357187"/>
                          </a:lnTo>
                          <a:lnTo>
                            <a:pt x="0" y="388143"/>
                          </a:lnTo>
                          <a:lnTo>
                            <a:pt x="9525" y="445293"/>
                          </a:lnTo>
                          <a:lnTo>
                            <a:pt x="61913" y="423862"/>
                          </a:lnTo>
                          <a:lnTo>
                            <a:pt x="52388" y="464343"/>
                          </a:lnTo>
                          <a:lnTo>
                            <a:pt x="23813" y="483393"/>
                          </a:lnTo>
                          <a:lnTo>
                            <a:pt x="40481" y="507206"/>
                          </a:lnTo>
                          <a:lnTo>
                            <a:pt x="100012" y="542924"/>
                          </a:lnTo>
                          <a:lnTo>
                            <a:pt x="92869" y="573881"/>
                          </a:lnTo>
                          <a:lnTo>
                            <a:pt x="61913" y="566737"/>
                          </a:lnTo>
                          <a:lnTo>
                            <a:pt x="78581" y="607218"/>
                          </a:lnTo>
                          <a:lnTo>
                            <a:pt x="128588" y="657225"/>
                          </a:lnTo>
                          <a:lnTo>
                            <a:pt x="133350" y="685800"/>
                          </a:lnTo>
                          <a:lnTo>
                            <a:pt x="145256" y="795337"/>
                          </a:lnTo>
                          <a:lnTo>
                            <a:pt x="140494" y="833437"/>
                          </a:lnTo>
                          <a:lnTo>
                            <a:pt x="121444" y="928687"/>
                          </a:lnTo>
                          <a:lnTo>
                            <a:pt x="142875" y="995362"/>
                          </a:lnTo>
                          <a:lnTo>
                            <a:pt x="102394" y="1059656"/>
                          </a:lnTo>
                          <a:cubicBezTo>
                            <a:pt x="114300" y="1069975"/>
                            <a:pt x="131763" y="1080690"/>
                            <a:pt x="138113" y="1090612"/>
                          </a:cubicBezTo>
                          <a:cubicBezTo>
                            <a:pt x="144463" y="1100534"/>
                            <a:pt x="139701" y="1109662"/>
                            <a:pt x="140495" y="1119187"/>
                          </a:cubicBezTo>
                          <a:lnTo>
                            <a:pt x="200025" y="1183481"/>
                          </a:lnTo>
                          <a:lnTo>
                            <a:pt x="180975" y="1216818"/>
                          </a:lnTo>
                          <a:lnTo>
                            <a:pt x="171450" y="1243012"/>
                          </a:lnTo>
                          <a:lnTo>
                            <a:pt x="214313" y="1278731"/>
                          </a:lnTo>
                          <a:lnTo>
                            <a:pt x="290513" y="1285875"/>
                          </a:lnTo>
                          <a:lnTo>
                            <a:pt x="350044" y="1309687"/>
                          </a:lnTo>
                          <a:lnTo>
                            <a:pt x="428625" y="1350168"/>
                          </a:lnTo>
                          <a:lnTo>
                            <a:pt x="426244" y="1383506"/>
                          </a:lnTo>
                          <a:lnTo>
                            <a:pt x="438150" y="1404937"/>
                          </a:lnTo>
                          <a:lnTo>
                            <a:pt x="421481" y="1450181"/>
                          </a:lnTo>
                          <a:lnTo>
                            <a:pt x="459581" y="1466850"/>
                          </a:lnTo>
                          <a:lnTo>
                            <a:pt x="495300" y="1409700"/>
                          </a:lnTo>
                          <a:lnTo>
                            <a:pt x="554831" y="1393031"/>
                          </a:lnTo>
                          <a:lnTo>
                            <a:pt x="600075" y="1366837"/>
                          </a:lnTo>
                          <a:lnTo>
                            <a:pt x="654844" y="1366837"/>
                          </a:lnTo>
                          <a:lnTo>
                            <a:pt x="731044" y="1331118"/>
                          </a:lnTo>
                          <a:lnTo>
                            <a:pt x="771525" y="1254918"/>
                          </a:lnTo>
                          <a:lnTo>
                            <a:pt x="792956" y="1238250"/>
                          </a:lnTo>
                          <a:lnTo>
                            <a:pt x="802481" y="1204912"/>
                          </a:lnTo>
                          <a:lnTo>
                            <a:pt x="821531" y="1200150"/>
                          </a:lnTo>
                          <a:lnTo>
                            <a:pt x="962025" y="1240631"/>
                          </a:lnTo>
                          <a:lnTo>
                            <a:pt x="971550" y="1293018"/>
                          </a:lnTo>
                          <a:lnTo>
                            <a:pt x="992981" y="1333500"/>
                          </a:lnTo>
                          <a:lnTo>
                            <a:pt x="1016794" y="1371600"/>
                          </a:lnTo>
                          <a:lnTo>
                            <a:pt x="1054894" y="1381125"/>
                          </a:lnTo>
                          <a:lnTo>
                            <a:pt x="1090612" y="1376362"/>
                          </a:lnTo>
                          <a:lnTo>
                            <a:pt x="1133475" y="1362075"/>
                          </a:lnTo>
                          <a:lnTo>
                            <a:pt x="1188244" y="1288256"/>
                          </a:lnTo>
                          <a:lnTo>
                            <a:pt x="1178719" y="1233487"/>
                          </a:lnTo>
                          <a:lnTo>
                            <a:pt x="1171575" y="1183481"/>
                          </a:lnTo>
                          <a:lnTo>
                            <a:pt x="1050131" y="1054893"/>
                          </a:lnTo>
                          <a:lnTo>
                            <a:pt x="1052513" y="1002506"/>
                          </a:lnTo>
                          <a:lnTo>
                            <a:pt x="1090613" y="971550"/>
                          </a:lnTo>
                          <a:lnTo>
                            <a:pt x="1119188" y="919162"/>
                          </a:lnTo>
                          <a:lnTo>
                            <a:pt x="1195388" y="850106"/>
                          </a:lnTo>
                          <a:lnTo>
                            <a:pt x="1216819" y="771525"/>
                          </a:lnTo>
                          <a:close/>
                        </a:path>
                      </a:pathLst>
                    </a:custGeom>
                    <a:solidFill>
                      <a:srgbClr val="92D050">
                        <a:alpha val="50000"/>
                      </a:srgb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/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6" name="Freeform 7"/>
                    <p:cNvSpPr/>
                    <p:nvPr/>
                  </p:nvSpPr>
                  <p:spPr>
                    <a:xfrm>
                      <a:off x="1052945" y="1485993"/>
                      <a:ext cx="1299306" cy="718865"/>
                    </a:xfrm>
                    <a:custGeom>
                      <a:avLst/>
                      <a:gdLst>
                        <a:gd name="connsiteX0" fmla="*/ 114300 w 1847850"/>
                        <a:gd name="connsiteY0" fmla="*/ 981075 h 1101725"/>
                        <a:gd name="connsiteX1" fmla="*/ 79375 w 1847850"/>
                        <a:gd name="connsiteY1" fmla="*/ 882650 h 1101725"/>
                        <a:gd name="connsiteX2" fmla="*/ 0 w 1847850"/>
                        <a:gd name="connsiteY2" fmla="*/ 825500 h 1101725"/>
                        <a:gd name="connsiteX3" fmla="*/ 114300 w 1847850"/>
                        <a:gd name="connsiteY3" fmla="*/ 688975 h 1101725"/>
                        <a:gd name="connsiteX4" fmla="*/ 146050 w 1847850"/>
                        <a:gd name="connsiteY4" fmla="*/ 688975 h 1101725"/>
                        <a:gd name="connsiteX5" fmla="*/ 174625 w 1847850"/>
                        <a:gd name="connsiteY5" fmla="*/ 666750 h 1101725"/>
                        <a:gd name="connsiteX6" fmla="*/ 196850 w 1847850"/>
                        <a:gd name="connsiteY6" fmla="*/ 619125 h 1101725"/>
                        <a:gd name="connsiteX7" fmla="*/ 149225 w 1847850"/>
                        <a:gd name="connsiteY7" fmla="*/ 561975 h 1101725"/>
                        <a:gd name="connsiteX8" fmla="*/ 209550 w 1847850"/>
                        <a:gd name="connsiteY8" fmla="*/ 406400 h 1101725"/>
                        <a:gd name="connsiteX9" fmla="*/ 279400 w 1847850"/>
                        <a:gd name="connsiteY9" fmla="*/ 406400 h 1101725"/>
                        <a:gd name="connsiteX10" fmla="*/ 317500 w 1847850"/>
                        <a:gd name="connsiteY10" fmla="*/ 368300 h 1101725"/>
                        <a:gd name="connsiteX11" fmla="*/ 323850 w 1847850"/>
                        <a:gd name="connsiteY11" fmla="*/ 307975 h 1101725"/>
                        <a:gd name="connsiteX12" fmla="*/ 381000 w 1847850"/>
                        <a:gd name="connsiteY12" fmla="*/ 257175 h 1101725"/>
                        <a:gd name="connsiteX13" fmla="*/ 438150 w 1847850"/>
                        <a:gd name="connsiteY13" fmla="*/ 301625 h 1101725"/>
                        <a:gd name="connsiteX14" fmla="*/ 466725 w 1847850"/>
                        <a:gd name="connsiteY14" fmla="*/ 400050 h 1101725"/>
                        <a:gd name="connsiteX15" fmla="*/ 488950 w 1847850"/>
                        <a:gd name="connsiteY15" fmla="*/ 447675 h 1101725"/>
                        <a:gd name="connsiteX16" fmla="*/ 498475 w 1847850"/>
                        <a:gd name="connsiteY16" fmla="*/ 482600 h 1101725"/>
                        <a:gd name="connsiteX17" fmla="*/ 533400 w 1847850"/>
                        <a:gd name="connsiteY17" fmla="*/ 498475 h 1101725"/>
                        <a:gd name="connsiteX18" fmla="*/ 565150 w 1847850"/>
                        <a:gd name="connsiteY18" fmla="*/ 498475 h 1101725"/>
                        <a:gd name="connsiteX19" fmla="*/ 619125 w 1847850"/>
                        <a:gd name="connsiteY19" fmla="*/ 479425 h 1101725"/>
                        <a:gd name="connsiteX20" fmla="*/ 654050 w 1847850"/>
                        <a:gd name="connsiteY20" fmla="*/ 473075 h 1101725"/>
                        <a:gd name="connsiteX21" fmla="*/ 657225 w 1847850"/>
                        <a:gd name="connsiteY21" fmla="*/ 444500 h 1101725"/>
                        <a:gd name="connsiteX22" fmla="*/ 660400 w 1847850"/>
                        <a:gd name="connsiteY22" fmla="*/ 434975 h 1101725"/>
                        <a:gd name="connsiteX23" fmla="*/ 619125 w 1847850"/>
                        <a:gd name="connsiteY23" fmla="*/ 396875 h 1101725"/>
                        <a:gd name="connsiteX24" fmla="*/ 615950 w 1847850"/>
                        <a:gd name="connsiteY24" fmla="*/ 317500 h 1101725"/>
                        <a:gd name="connsiteX25" fmla="*/ 615950 w 1847850"/>
                        <a:gd name="connsiteY25" fmla="*/ 247650 h 1101725"/>
                        <a:gd name="connsiteX26" fmla="*/ 688975 w 1847850"/>
                        <a:gd name="connsiteY26" fmla="*/ 257175 h 1101725"/>
                        <a:gd name="connsiteX27" fmla="*/ 768350 w 1847850"/>
                        <a:gd name="connsiteY27" fmla="*/ 228600 h 1101725"/>
                        <a:gd name="connsiteX28" fmla="*/ 806450 w 1847850"/>
                        <a:gd name="connsiteY28" fmla="*/ 215900 h 1101725"/>
                        <a:gd name="connsiteX29" fmla="*/ 806450 w 1847850"/>
                        <a:gd name="connsiteY29" fmla="*/ 139700 h 1101725"/>
                        <a:gd name="connsiteX30" fmla="*/ 898525 w 1847850"/>
                        <a:gd name="connsiteY30" fmla="*/ 168275 h 1101725"/>
                        <a:gd name="connsiteX31" fmla="*/ 974725 w 1847850"/>
                        <a:gd name="connsiteY31" fmla="*/ 120650 h 1101725"/>
                        <a:gd name="connsiteX32" fmla="*/ 1019175 w 1847850"/>
                        <a:gd name="connsiteY32" fmla="*/ 130175 h 1101725"/>
                        <a:gd name="connsiteX33" fmla="*/ 1136650 w 1847850"/>
                        <a:gd name="connsiteY33" fmla="*/ 0 h 1101725"/>
                        <a:gd name="connsiteX34" fmla="*/ 1190625 w 1847850"/>
                        <a:gd name="connsiteY34" fmla="*/ 19050 h 1101725"/>
                        <a:gd name="connsiteX35" fmla="*/ 1190625 w 1847850"/>
                        <a:gd name="connsiteY35" fmla="*/ 19050 h 1101725"/>
                        <a:gd name="connsiteX36" fmla="*/ 1225550 w 1847850"/>
                        <a:gd name="connsiteY36" fmla="*/ 66675 h 1101725"/>
                        <a:gd name="connsiteX37" fmla="*/ 1266825 w 1847850"/>
                        <a:gd name="connsiteY37" fmla="*/ 114300 h 1101725"/>
                        <a:gd name="connsiteX38" fmla="*/ 1317625 w 1847850"/>
                        <a:gd name="connsiteY38" fmla="*/ 114300 h 1101725"/>
                        <a:gd name="connsiteX39" fmla="*/ 1346200 w 1847850"/>
                        <a:gd name="connsiteY39" fmla="*/ 98425 h 1101725"/>
                        <a:gd name="connsiteX40" fmla="*/ 1387475 w 1847850"/>
                        <a:gd name="connsiteY40" fmla="*/ 60325 h 1101725"/>
                        <a:gd name="connsiteX41" fmla="*/ 1438275 w 1847850"/>
                        <a:gd name="connsiteY41" fmla="*/ 60325 h 1101725"/>
                        <a:gd name="connsiteX42" fmla="*/ 1460500 w 1847850"/>
                        <a:gd name="connsiteY42" fmla="*/ 88900 h 1101725"/>
                        <a:gd name="connsiteX43" fmla="*/ 1489075 w 1847850"/>
                        <a:gd name="connsiteY43" fmla="*/ 155575 h 1101725"/>
                        <a:gd name="connsiteX44" fmla="*/ 1603375 w 1847850"/>
                        <a:gd name="connsiteY44" fmla="*/ 177800 h 1101725"/>
                        <a:gd name="connsiteX45" fmla="*/ 1670050 w 1847850"/>
                        <a:gd name="connsiteY45" fmla="*/ 203200 h 1101725"/>
                        <a:gd name="connsiteX46" fmla="*/ 1698625 w 1847850"/>
                        <a:gd name="connsiteY46" fmla="*/ 266700 h 1101725"/>
                        <a:gd name="connsiteX47" fmla="*/ 1708150 w 1847850"/>
                        <a:gd name="connsiteY47" fmla="*/ 292100 h 1101725"/>
                        <a:gd name="connsiteX48" fmla="*/ 1749425 w 1847850"/>
                        <a:gd name="connsiteY48" fmla="*/ 320675 h 1101725"/>
                        <a:gd name="connsiteX49" fmla="*/ 1774825 w 1847850"/>
                        <a:gd name="connsiteY49" fmla="*/ 374650 h 1101725"/>
                        <a:gd name="connsiteX50" fmla="*/ 1790700 w 1847850"/>
                        <a:gd name="connsiteY50" fmla="*/ 415925 h 1101725"/>
                        <a:gd name="connsiteX51" fmla="*/ 1835150 w 1847850"/>
                        <a:gd name="connsiteY51" fmla="*/ 431800 h 1101725"/>
                        <a:gd name="connsiteX52" fmla="*/ 1797050 w 1847850"/>
                        <a:gd name="connsiteY52" fmla="*/ 463550 h 1101725"/>
                        <a:gd name="connsiteX53" fmla="*/ 1797050 w 1847850"/>
                        <a:gd name="connsiteY53" fmla="*/ 511175 h 1101725"/>
                        <a:gd name="connsiteX54" fmla="*/ 1825625 w 1847850"/>
                        <a:gd name="connsiteY54" fmla="*/ 539750 h 1101725"/>
                        <a:gd name="connsiteX55" fmla="*/ 1847850 w 1847850"/>
                        <a:gd name="connsiteY55" fmla="*/ 539750 h 1101725"/>
                        <a:gd name="connsiteX56" fmla="*/ 1831975 w 1847850"/>
                        <a:gd name="connsiteY56" fmla="*/ 561975 h 1101725"/>
                        <a:gd name="connsiteX57" fmla="*/ 1825625 w 1847850"/>
                        <a:gd name="connsiteY57" fmla="*/ 574675 h 1101725"/>
                        <a:gd name="connsiteX58" fmla="*/ 1838325 w 1847850"/>
                        <a:gd name="connsiteY58" fmla="*/ 628650 h 1101725"/>
                        <a:gd name="connsiteX59" fmla="*/ 1841500 w 1847850"/>
                        <a:gd name="connsiteY59" fmla="*/ 688975 h 1101725"/>
                        <a:gd name="connsiteX60" fmla="*/ 1838325 w 1847850"/>
                        <a:gd name="connsiteY60" fmla="*/ 717550 h 1101725"/>
                        <a:gd name="connsiteX61" fmla="*/ 1752600 w 1847850"/>
                        <a:gd name="connsiteY61" fmla="*/ 800100 h 1101725"/>
                        <a:gd name="connsiteX62" fmla="*/ 1689100 w 1847850"/>
                        <a:gd name="connsiteY62" fmla="*/ 806450 h 1101725"/>
                        <a:gd name="connsiteX63" fmla="*/ 1651000 w 1847850"/>
                        <a:gd name="connsiteY63" fmla="*/ 815975 h 1101725"/>
                        <a:gd name="connsiteX64" fmla="*/ 1622425 w 1847850"/>
                        <a:gd name="connsiteY64" fmla="*/ 828675 h 1101725"/>
                        <a:gd name="connsiteX65" fmla="*/ 1593850 w 1847850"/>
                        <a:gd name="connsiteY65" fmla="*/ 876300 h 1101725"/>
                        <a:gd name="connsiteX66" fmla="*/ 1571625 w 1847850"/>
                        <a:gd name="connsiteY66" fmla="*/ 908050 h 1101725"/>
                        <a:gd name="connsiteX67" fmla="*/ 1552575 w 1847850"/>
                        <a:gd name="connsiteY67" fmla="*/ 930275 h 1101725"/>
                        <a:gd name="connsiteX68" fmla="*/ 1511300 w 1847850"/>
                        <a:gd name="connsiteY68" fmla="*/ 933450 h 1101725"/>
                        <a:gd name="connsiteX69" fmla="*/ 1466850 w 1847850"/>
                        <a:gd name="connsiteY69" fmla="*/ 946150 h 1101725"/>
                        <a:gd name="connsiteX70" fmla="*/ 1428750 w 1847850"/>
                        <a:gd name="connsiteY70" fmla="*/ 908050 h 1101725"/>
                        <a:gd name="connsiteX71" fmla="*/ 1365250 w 1847850"/>
                        <a:gd name="connsiteY71" fmla="*/ 1016000 h 1101725"/>
                        <a:gd name="connsiteX72" fmla="*/ 1289050 w 1847850"/>
                        <a:gd name="connsiteY72" fmla="*/ 1101725 h 1101725"/>
                        <a:gd name="connsiteX73" fmla="*/ 1190625 w 1847850"/>
                        <a:gd name="connsiteY73" fmla="*/ 1012825 h 1101725"/>
                        <a:gd name="connsiteX74" fmla="*/ 1139825 w 1847850"/>
                        <a:gd name="connsiteY74" fmla="*/ 946150 h 1101725"/>
                        <a:gd name="connsiteX75" fmla="*/ 1114425 w 1847850"/>
                        <a:gd name="connsiteY75" fmla="*/ 968375 h 1101725"/>
                        <a:gd name="connsiteX76" fmla="*/ 1038225 w 1847850"/>
                        <a:gd name="connsiteY76" fmla="*/ 936625 h 1101725"/>
                        <a:gd name="connsiteX77" fmla="*/ 952500 w 1847850"/>
                        <a:gd name="connsiteY77" fmla="*/ 1016000 h 1101725"/>
                        <a:gd name="connsiteX78" fmla="*/ 822325 w 1847850"/>
                        <a:gd name="connsiteY78" fmla="*/ 1012825 h 1101725"/>
                        <a:gd name="connsiteX79" fmla="*/ 704850 w 1847850"/>
                        <a:gd name="connsiteY79" fmla="*/ 1085850 h 1101725"/>
                        <a:gd name="connsiteX80" fmla="*/ 650875 w 1847850"/>
                        <a:gd name="connsiteY80" fmla="*/ 1079500 h 1101725"/>
                        <a:gd name="connsiteX81" fmla="*/ 606425 w 1847850"/>
                        <a:gd name="connsiteY81" fmla="*/ 1098550 h 1101725"/>
                        <a:gd name="connsiteX82" fmla="*/ 488950 w 1847850"/>
                        <a:gd name="connsiteY82" fmla="*/ 1038225 h 1101725"/>
                        <a:gd name="connsiteX83" fmla="*/ 390525 w 1847850"/>
                        <a:gd name="connsiteY83" fmla="*/ 977900 h 1101725"/>
                        <a:gd name="connsiteX84" fmla="*/ 114300 w 1847850"/>
                        <a:gd name="connsiteY84" fmla="*/ 981075 h 11017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</a:cxnLst>
                      <a:rect l="l" t="t" r="r" b="b"/>
                      <a:pathLst>
                        <a:path w="1847850" h="1101725">
                          <a:moveTo>
                            <a:pt x="114300" y="981075"/>
                          </a:moveTo>
                          <a:lnTo>
                            <a:pt x="79375" y="882650"/>
                          </a:lnTo>
                          <a:lnTo>
                            <a:pt x="0" y="825500"/>
                          </a:lnTo>
                          <a:lnTo>
                            <a:pt x="114300" y="688975"/>
                          </a:lnTo>
                          <a:lnTo>
                            <a:pt x="146050" y="688975"/>
                          </a:lnTo>
                          <a:lnTo>
                            <a:pt x="174625" y="666750"/>
                          </a:lnTo>
                          <a:lnTo>
                            <a:pt x="196850" y="619125"/>
                          </a:lnTo>
                          <a:lnTo>
                            <a:pt x="149225" y="561975"/>
                          </a:lnTo>
                          <a:lnTo>
                            <a:pt x="209550" y="406400"/>
                          </a:lnTo>
                          <a:lnTo>
                            <a:pt x="279400" y="406400"/>
                          </a:lnTo>
                          <a:lnTo>
                            <a:pt x="317500" y="368300"/>
                          </a:lnTo>
                          <a:lnTo>
                            <a:pt x="323850" y="307975"/>
                          </a:lnTo>
                          <a:lnTo>
                            <a:pt x="381000" y="257175"/>
                          </a:lnTo>
                          <a:lnTo>
                            <a:pt x="438150" y="301625"/>
                          </a:lnTo>
                          <a:lnTo>
                            <a:pt x="466725" y="400050"/>
                          </a:lnTo>
                          <a:lnTo>
                            <a:pt x="488950" y="447675"/>
                          </a:lnTo>
                          <a:lnTo>
                            <a:pt x="498475" y="482600"/>
                          </a:lnTo>
                          <a:lnTo>
                            <a:pt x="533400" y="498475"/>
                          </a:lnTo>
                          <a:lnTo>
                            <a:pt x="565150" y="498475"/>
                          </a:lnTo>
                          <a:lnTo>
                            <a:pt x="619125" y="479425"/>
                          </a:lnTo>
                          <a:lnTo>
                            <a:pt x="654050" y="473075"/>
                          </a:lnTo>
                          <a:cubicBezTo>
                            <a:pt x="655108" y="463550"/>
                            <a:pt x="655649" y="453953"/>
                            <a:pt x="657225" y="444500"/>
                          </a:cubicBezTo>
                          <a:cubicBezTo>
                            <a:pt x="657775" y="441199"/>
                            <a:pt x="660400" y="434975"/>
                            <a:pt x="660400" y="434975"/>
                          </a:cubicBezTo>
                          <a:lnTo>
                            <a:pt x="619125" y="396875"/>
                          </a:lnTo>
                          <a:lnTo>
                            <a:pt x="615950" y="317500"/>
                          </a:lnTo>
                          <a:lnTo>
                            <a:pt x="615950" y="247650"/>
                          </a:lnTo>
                          <a:lnTo>
                            <a:pt x="688975" y="257175"/>
                          </a:lnTo>
                          <a:lnTo>
                            <a:pt x="768350" y="228600"/>
                          </a:lnTo>
                          <a:lnTo>
                            <a:pt x="806450" y="215900"/>
                          </a:lnTo>
                          <a:lnTo>
                            <a:pt x="806450" y="139700"/>
                          </a:lnTo>
                          <a:lnTo>
                            <a:pt x="898525" y="168275"/>
                          </a:lnTo>
                          <a:lnTo>
                            <a:pt x="974725" y="120650"/>
                          </a:lnTo>
                          <a:lnTo>
                            <a:pt x="1019175" y="130175"/>
                          </a:lnTo>
                          <a:lnTo>
                            <a:pt x="1136650" y="0"/>
                          </a:lnTo>
                          <a:lnTo>
                            <a:pt x="1190625" y="19050"/>
                          </a:lnTo>
                          <a:lnTo>
                            <a:pt x="1190625" y="19050"/>
                          </a:lnTo>
                          <a:lnTo>
                            <a:pt x="1225550" y="66675"/>
                          </a:lnTo>
                          <a:lnTo>
                            <a:pt x="1266825" y="114300"/>
                          </a:lnTo>
                          <a:lnTo>
                            <a:pt x="1317625" y="114300"/>
                          </a:lnTo>
                          <a:cubicBezTo>
                            <a:pt x="1345241" y="103944"/>
                            <a:pt x="1338981" y="112863"/>
                            <a:pt x="1346200" y="98425"/>
                          </a:cubicBezTo>
                          <a:lnTo>
                            <a:pt x="1387475" y="60325"/>
                          </a:lnTo>
                          <a:lnTo>
                            <a:pt x="1438275" y="60325"/>
                          </a:lnTo>
                          <a:lnTo>
                            <a:pt x="1460500" y="88900"/>
                          </a:lnTo>
                          <a:lnTo>
                            <a:pt x="1489075" y="155575"/>
                          </a:lnTo>
                          <a:lnTo>
                            <a:pt x="1603375" y="177800"/>
                          </a:lnTo>
                          <a:lnTo>
                            <a:pt x="1670050" y="203200"/>
                          </a:lnTo>
                          <a:lnTo>
                            <a:pt x="1698625" y="266700"/>
                          </a:lnTo>
                          <a:lnTo>
                            <a:pt x="1708150" y="292100"/>
                          </a:lnTo>
                          <a:lnTo>
                            <a:pt x="1749425" y="320675"/>
                          </a:lnTo>
                          <a:lnTo>
                            <a:pt x="1774825" y="374650"/>
                          </a:lnTo>
                          <a:lnTo>
                            <a:pt x="1790700" y="415925"/>
                          </a:lnTo>
                          <a:lnTo>
                            <a:pt x="1835150" y="431800"/>
                          </a:lnTo>
                          <a:lnTo>
                            <a:pt x="1797050" y="463550"/>
                          </a:lnTo>
                          <a:lnTo>
                            <a:pt x="1797050" y="511175"/>
                          </a:lnTo>
                          <a:lnTo>
                            <a:pt x="1825625" y="539750"/>
                          </a:lnTo>
                          <a:lnTo>
                            <a:pt x="1847850" y="539750"/>
                          </a:lnTo>
                          <a:lnTo>
                            <a:pt x="1831975" y="561975"/>
                          </a:lnTo>
                          <a:lnTo>
                            <a:pt x="1825625" y="574675"/>
                          </a:lnTo>
                          <a:lnTo>
                            <a:pt x="1838325" y="628650"/>
                          </a:lnTo>
                          <a:lnTo>
                            <a:pt x="1841500" y="688975"/>
                          </a:lnTo>
                          <a:lnTo>
                            <a:pt x="1838325" y="717550"/>
                          </a:lnTo>
                          <a:lnTo>
                            <a:pt x="1752600" y="800100"/>
                          </a:lnTo>
                          <a:lnTo>
                            <a:pt x="1689100" y="806450"/>
                          </a:lnTo>
                          <a:lnTo>
                            <a:pt x="1651000" y="815975"/>
                          </a:lnTo>
                          <a:lnTo>
                            <a:pt x="1622425" y="828675"/>
                          </a:lnTo>
                          <a:lnTo>
                            <a:pt x="1593850" y="876300"/>
                          </a:lnTo>
                          <a:lnTo>
                            <a:pt x="1571625" y="908050"/>
                          </a:lnTo>
                          <a:lnTo>
                            <a:pt x="1552575" y="930275"/>
                          </a:lnTo>
                          <a:lnTo>
                            <a:pt x="1511300" y="933450"/>
                          </a:lnTo>
                          <a:lnTo>
                            <a:pt x="1466850" y="946150"/>
                          </a:lnTo>
                          <a:lnTo>
                            <a:pt x="1428750" y="908050"/>
                          </a:lnTo>
                          <a:lnTo>
                            <a:pt x="1365250" y="1016000"/>
                          </a:lnTo>
                          <a:lnTo>
                            <a:pt x="1289050" y="1101725"/>
                          </a:lnTo>
                          <a:lnTo>
                            <a:pt x="1190625" y="1012825"/>
                          </a:lnTo>
                          <a:lnTo>
                            <a:pt x="1139825" y="946150"/>
                          </a:lnTo>
                          <a:lnTo>
                            <a:pt x="1114425" y="968375"/>
                          </a:lnTo>
                          <a:lnTo>
                            <a:pt x="1038225" y="936625"/>
                          </a:lnTo>
                          <a:lnTo>
                            <a:pt x="952500" y="1016000"/>
                          </a:lnTo>
                          <a:lnTo>
                            <a:pt x="822325" y="1012825"/>
                          </a:lnTo>
                          <a:lnTo>
                            <a:pt x="704850" y="1085850"/>
                          </a:lnTo>
                          <a:lnTo>
                            <a:pt x="650875" y="1079500"/>
                          </a:lnTo>
                          <a:lnTo>
                            <a:pt x="606425" y="1098550"/>
                          </a:lnTo>
                          <a:lnTo>
                            <a:pt x="488950" y="1038225"/>
                          </a:lnTo>
                          <a:lnTo>
                            <a:pt x="390525" y="977900"/>
                          </a:lnTo>
                          <a:lnTo>
                            <a:pt x="114300" y="981075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7" name="Freeform 8"/>
                    <p:cNvSpPr/>
                    <p:nvPr/>
                  </p:nvSpPr>
                  <p:spPr>
                    <a:xfrm>
                      <a:off x="1110612" y="2063111"/>
                      <a:ext cx="1355171" cy="755990"/>
                    </a:xfrm>
                    <a:custGeom>
                      <a:avLst/>
                      <a:gdLst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34925 w 1927225"/>
                        <a:gd name="connsiteY54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13694 w 1927225"/>
                        <a:gd name="connsiteY54" fmla="*/ 616744 h 1073150"/>
                        <a:gd name="connsiteX55" fmla="*/ 34925 w 1927225"/>
                        <a:gd name="connsiteY55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34925 w 1927225"/>
                        <a:gd name="connsiteY55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20838 w 1927225"/>
                        <a:gd name="connsiteY55" fmla="*/ 588169 h 1073150"/>
                        <a:gd name="connsiteX56" fmla="*/ 34925 w 1927225"/>
                        <a:gd name="connsiteY56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34925 w 1927225"/>
                        <a:gd name="connsiteY56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632744 w 1927225"/>
                        <a:gd name="connsiteY56" fmla="*/ 540544 h 1073150"/>
                        <a:gd name="connsiteX57" fmla="*/ 34925 w 1927225"/>
                        <a:gd name="connsiteY57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34925 w 1927225"/>
                        <a:gd name="connsiteY57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589881 w 1927225"/>
                        <a:gd name="connsiteY57" fmla="*/ 450056 h 1073150"/>
                        <a:gd name="connsiteX58" fmla="*/ 34925 w 1927225"/>
                        <a:gd name="connsiteY58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34925 w 1927225"/>
                        <a:gd name="connsiteY58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666081 w 1927225"/>
                        <a:gd name="connsiteY58" fmla="*/ 419100 h 1073150"/>
                        <a:gd name="connsiteX59" fmla="*/ 34925 w 1927225"/>
                        <a:gd name="connsiteY59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34925 w 1927225"/>
                        <a:gd name="connsiteY59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597025 w 1927225"/>
                        <a:gd name="connsiteY59" fmla="*/ 361950 h 1073150"/>
                        <a:gd name="connsiteX60" fmla="*/ 34925 w 1927225"/>
                        <a:gd name="connsiteY60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34925 w 1927225"/>
                        <a:gd name="connsiteY60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661319 w 1927225"/>
                        <a:gd name="connsiteY60" fmla="*/ 328613 h 1073150"/>
                        <a:gd name="connsiteX61" fmla="*/ 34925 w 1927225"/>
                        <a:gd name="connsiteY61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34925 w 1927225"/>
                        <a:gd name="connsiteY61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673225 w 1927225"/>
                        <a:gd name="connsiteY61" fmla="*/ 257175 h 1073150"/>
                        <a:gd name="connsiteX62" fmla="*/ 34925 w 1927225"/>
                        <a:gd name="connsiteY62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34925 w 1927225"/>
                        <a:gd name="connsiteY62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639888 w 1927225"/>
                        <a:gd name="connsiteY62" fmla="*/ 209550 h 1073150"/>
                        <a:gd name="connsiteX63" fmla="*/ 34925 w 1927225"/>
                        <a:gd name="connsiteY63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34925 w 1927225"/>
                        <a:gd name="connsiteY63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92275 w 1927225"/>
                        <a:gd name="connsiteY63" fmla="*/ 169069 h 1073150"/>
                        <a:gd name="connsiteX64" fmla="*/ 34925 w 1927225"/>
                        <a:gd name="connsiteY64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34925 w 1927225"/>
                        <a:gd name="connsiteY64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04169 w 1927225"/>
                        <a:gd name="connsiteY64" fmla="*/ 123825 h 1073150"/>
                        <a:gd name="connsiteX65" fmla="*/ 34925 w 1927225"/>
                        <a:gd name="connsiteY65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34925 w 1927225"/>
                        <a:gd name="connsiteY65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82738 w 1927225"/>
                        <a:gd name="connsiteY65" fmla="*/ 142875 h 1073150"/>
                        <a:gd name="connsiteX66" fmla="*/ 34925 w 1927225"/>
                        <a:gd name="connsiteY66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34925 w 1927225"/>
                        <a:gd name="connsiteY66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1527969 w 1927225"/>
                        <a:gd name="connsiteY66" fmla="*/ 102394 h 1073150"/>
                        <a:gd name="connsiteX67" fmla="*/ 34925 w 1927225"/>
                        <a:gd name="connsiteY67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1556544 w 1927225"/>
                        <a:gd name="connsiteY66" fmla="*/ 57150 h 1073150"/>
                        <a:gd name="connsiteX67" fmla="*/ 34925 w 1927225"/>
                        <a:gd name="connsiteY67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1556544 w 1927225"/>
                        <a:gd name="connsiteY66" fmla="*/ 57150 h 1073150"/>
                        <a:gd name="connsiteX67" fmla="*/ 1473200 w 1927225"/>
                        <a:gd name="connsiteY67" fmla="*/ 47625 h 1073150"/>
                        <a:gd name="connsiteX68" fmla="*/ 34925 w 1927225"/>
                        <a:gd name="connsiteY68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1556544 w 1927225"/>
                        <a:gd name="connsiteY66" fmla="*/ 57150 h 1073150"/>
                        <a:gd name="connsiteX67" fmla="*/ 1563688 w 1927225"/>
                        <a:gd name="connsiteY67" fmla="*/ 7144 h 1073150"/>
                        <a:gd name="connsiteX68" fmla="*/ 34925 w 1927225"/>
                        <a:gd name="connsiteY68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1556544 w 1927225"/>
                        <a:gd name="connsiteY66" fmla="*/ 57150 h 1073150"/>
                        <a:gd name="connsiteX67" fmla="*/ 1563688 w 1927225"/>
                        <a:gd name="connsiteY67" fmla="*/ 7144 h 1073150"/>
                        <a:gd name="connsiteX68" fmla="*/ 1518444 w 1927225"/>
                        <a:gd name="connsiteY68" fmla="*/ 2381 h 1073150"/>
                        <a:gd name="connsiteX69" fmla="*/ 34925 w 1927225"/>
                        <a:gd name="connsiteY69" fmla="*/ 0 h 1073150"/>
                        <a:gd name="connsiteX0" fmla="*/ 34925 w 1927225"/>
                        <a:gd name="connsiteY0" fmla="*/ 11907 h 1085057"/>
                        <a:gd name="connsiteX1" fmla="*/ 15875 w 1927225"/>
                        <a:gd name="connsiteY1" fmla="*/ 27782 h 1085057"/>
                        <a:gd name="connsiteX2" fmla="*/ 3175 w 1927225"/>
                        <a:gd name="connsiteY2" fmla="*/ 59532 h 1085057"/>
                        <a:gd name="connsiteX3" fmla="*/ 0 w 1927225"/>
                        <a:gd name="connsiteY3" fmla="*/ 91282 h 1085057"/>
                        <a:gd name="connsiteX4" fmla="*/ 3175 w 1927225"/>
                        <a:gd name="connsiteY4" fmla="*/ 123032 h 1085057"/>
                        <a:gd name="connsiteX5" fmla="*/ 38100 w 1927225"/>
                        <a:gd name="connsiteY5" fmla="*/ 157957 h 1085057"/>
                        <a:gd name="connsiteX6" fmla="*/ 82550 w 1927225"/>
                        <a:gd name="connsiteY6" fmla="*/ 113507 h 1085057"/>
                        <a:gd name="connsiteX7" fmla="*/ 120650 w 1927225"/>
                        <a:gd name="connsiteY7" fmla="*/ 157957 h 1085057"/>
                        <a:gd name="connsiteX8" fmla="*/ 177800 w 1927225"/>
                        <a:gd name="connsiteY8" fmla="*/ 161132 h 1085057"/>
                        <a:gd name="connsiteX9" fmla="*/ 222250 w 1927225"/>
                        <a:gd name="connsiteY9" fmla="*/ 186532 h 1085057"/>
                        <a:gd name="connsiteX10" fmla="*/ 228600 w 1927225"/>
                        <a:gd name="connsiteY10" fmla="*/ 215107 h 1085057"/>
                        <a:gd name="connsiteX11" fmla="*/ 231775 w 1927225"/>
                        <a:gd name="connsiteY11" fmla="*/ 234157 h 1085057"/>
                        <a:gd name="connsiteX12" fmla="*/ 228600 w 1927225"/>
                        <a:gd name="connsiteY12" fmla="*/ 265907 h 1085057"/>
                        <a:gd name="connsiteX13" fmla="*/ 257175 w 1927225"/>
                        <a:gd name="connsiteY13" fmla="*/ 294482 h 1085057"/>
                        <a:gd name="connsiteX14" fmla="*/ 279400 w 1927225"/>
                        <a:gd name="connsiteY14" fmla="*/ 342107 h 1085057"/>
                        <a:gd name="connsiteX15" fmla="*/ 279400 w 1927225"/>
                        <a:gd name="connsiteY15" fmla="*/ 383382 h 1085057"/>
                        <a:gd name="connsiteX16" fmla="*/ 279400 w 1927225"/>
                        <a:gd name="connsiteY16" fmla="*/ 415132 h 1085057"/>
                        <a:gd name="connsiteX17" fmla="*/ 333375 w 1927225"/>
                        <a:gd name="connsiteY17" fmla="*/ 526257 h 1085057"/>
                        <a:gd name="connsiteX18" fmla="*/ 346075 w 1927225"/>
                        <a:gd name="connsiteY18" fmla="*/ 548482 h 1085057"/>
                        <a:gd name="connsiteX19" fmla="*/ 285750 w 1927225"/>
                        <a:gd name="connsiteY19" fmla="*/ 567532 h 1085057"/>
                        <a:gd name="connsiteX20" fmla="*/ 225425 w 1927225"/>
                        <a:gd name="connsiteY20" fmla="*/ 507207 h 1085057"/>
                        <a:gd name="connsiteX21" fmla="*/ 184150 w 1927225"/>
                        <a:gd name="connsiteY21" fmla="*/ 558007 h 1085057"/>
                        <a:gd name="connsiteX22" fmla="*/ 314325 w 1927225"/>
                        <a:gd name="connsiteY22" fmla="*/ 669132 h 1085057"/>
                        <a:gd name="connsiteX23" fmla="*/ 352425 w 1927225"/>
                        <a:gd name="connsiteY23" fmla="*/ 640557 h 1085057"/>
                        <a:gd name="connsiteX24" fmla="*/ 403225 w 1927225"/>
                        <a:gd name="connsiteY24" fmla="*/ 631032 h 1085057"/>
                        <a:gd name="connsiteX25" fmla="*/ 469900 w 1927225"/>
                        <a:gd name="connsiteY25" fmla="*/ 640557 h 1085057"/>
                        <a:gd name="connsiteX26" fmla="*/ 615950 w 1927225"/>
                        <a:gd name="connsiteY26" fmla="*/ 589757 h 1085057"/>
                        <a:gd name="connsiteX27" fmla="*/ 803275 w 1927225"/>
                        <a:gd name="connsiteY27" fmla="*/ 523082 h 1085057"/>
                        <a:gd name="connsiteX28" fmla="*/ 911225 w 1927225"/>
                        <a:gd name="connsiteY28" fmla="*/ 580232 h 1085057"/>
                        <a:gd name="connsiteX29" fmla="*/ 1016000 w 1927225"/>
                        <a:gd name="connsiteY29" fmla="*/ 662782 h 1085057"/>
                        <a:gd name="connsiteX30" fmla="*/ 1092200 w 1927225"/>
                        <a:gd name="connsiteY30" fmla="*/ 611982 h 1085057"/>
                        <a:gd name="connsiteX31" fmla="*/ 1171575 w 1927225"/>
                        <a:gd name="connsiteY31" fmla="*/ 646907 h 1085057"/>
                        <a:gd name="connsiteX32" fmla="*/ 1200150 w 1927225"/>
                        <a:gd name="connsiteY32" fmla="*/ 653257 h 1085057"/>
                        <a:gd name="connsiteX33" fmla="*/ 1203325 w 1927225"/>
                        <a:gd name="connsiteY33" fmla="*/ 738982 h 1085057"/>
                        <a:gd name="connsiteX34" fmla="*/ 1219200 w 1927225"/>
                        <a:gd name="connsiteY34" fmla="*/ 773907 h 1085057"/>
                        <a:gd name="connsiteX35" fmla="*/ 1238250 w 1927225"/>
                        <a:gd name="connsiteY35" fmla="*/ 799307 h 1085057"/>
                        <a:gd name="connsiteX36" fmla="*/ 1231900 w 1927225"/>
                        <a:gd name="connsiteY36" fmla="*/ 878682 h 1085057"/>
                        <a:gd name="connsiteX37" fmla="*/ 1212850 w 1927225"/>
                        <a:gd name="connsiteY37" fmla="*/ 923132 h 1085057"/>
                        <a:gd name="connsiteX38" fmla="*/ 1209675 w 1927225"/>
                        <a:gd name="connsiteY38" fmla="*/ 951707 h 1085057"/>
                        <a:gd name="connsiteX39" fmla="*/ 1282700 w 1927225"/>
                        <a:gd name="connsiteY39" fmla="*/ 958057 h 1085057"/>
                        <a:gd name="connsiteX40" fmla="*/ 1311275 w 1927225"/>
                        <a:gd name="connsiteY40" fmla="*/ 945357 h 1085057"/>
                        <a:gd name="connsiteX41" fmla="*/ 1352550 w 1927225"/>
                        <a:gd name="connsiteY41" fmla="*/ 926307 h 1085057"/>
                        <a:gd name="connsiteX42" fmla="*/ 1425575 w 1927225"/>
                        <a:gd name="connsiteY42" fmla="*/ 961232 h 1085057"/>
                        <a:gd name="connsiteX43" fmla="*/ 1457325 w 1927225"/>
                        <a:gd name="connsiteY43" fmla="*/ 916782 h 1085057"/>
                        <a:gd name="connsiteX44" fmla="*/ 1555750 w 1927225"/>
                        <a:gd name="connsiteY44" fmla="*/ 913607 h 1085057"/>
                        <a:gd name="connsiteX45" fmla="*/ 1616075 w 1927225"/>
                        <a:gd name="connsiteY45" fmla="*/ 967582 h 1085057"/>
                        <a:gd name="connsiteX46" fmla="*/ 1676400 w 1927225"/>
                        <a:gd name="connsiteY46" fmla="*/ 897732 h 1085057"/>
                        <a:gd name="connsiteX47" fmla="*/ 1895475 w 1927225"/>
                        <a:gd name="connsiteY47" fmla="*/ 1085057 h 1085057"/>
                        <a:gd name="connsiteX48" fmla="*/ 1895475 w 1927225"/>
                        <a:gd name="connsiteY48" fmla="*/ 1085057 h 1085057"/>
                        <a:gd name="connsiteX49" fmla="*/ 1927225 w 1927225"/>
                        <a:gd name="connsiteY49" fmla="*/ 1062832 h 1085057"/>
                        <a:gd name="connsiteX50" fmla="*/ 1895475 w 1927225"/>
                        <a:gd name="connsiteY50" fmla="*/ 904082 h 1085057"/>
                        <a:gd name="connsiteX51" fmla="*/ 1778000 w 1927225"/>
                        <a:gd name="connsiteY51" fmla="*/ 850107 h 1085057"/>
                        <a:gd name="connsiteX52" fmla="*/ 1698625 w 1927225"/>
                        <a:gd name="connsiteY52" fmla="*/ 773907 h 1085057"/>
                        <a:gd name="connsiteX53" fmla="*/ 1679575 w 1927225"/>
                        <a:gd name="connsiteY53" fmla="*/ 656432 h 1085057"/>
                        <a:gd name="connsiteX54" fmla="*/ 1673225 w 1927225"/>
                        <a:gd name="connsiteY54" fmla="*/ 616745 h 1085057"/>
                        <a:gd name="connsiteX55" fmla="*/ 1694656 w 1927225"/>
                        <a:gd name="connsiteY55" fmla="*/ 569120 h 1085057"/>
                        <a:gd name="connsiteX56" fmla="*/ 1720850 w 1927225"/>
                        <a:gd name="connsiteY56" fmla="*/ 495301 h 1085057"/>
                        <a:gd name="connsiteX57" fmla="*/ 1747043 w 1927225"/>
                        <a:gd name="connsiteY57" fmla="*/ 452438 h 1085057"/>
                        <a:gd name="connsiteX58" fmla="*/ 1725613 w 1927225"/>
                        <a:gd name="connsiteY58" fmla="*/ 407195 h 1085057"/>
                        <a:gd name="connsiteX59" fmla="*/ 1716088 w 1927225"/>
                        <a:gd name="connsiteY59" fmla="*/ 354807 h 1085057"/>
                        <a:gd name="connsiteX60" fmla="*/ 1713706 w 1927225"/>
                        <a:gd name="connsiteY60" fmla="*/ 273845 h 1085057"/>
                        <a:gd name="connsiteX61" fmla="*/ 1713706 w 1927225"/>
                        <a:gd name="connsiteY61" fmla="*/ 233363 h 1085057"/>
                        <a:gd name="connsiteX62" fmla="*/ 1739900 w 1927225"/>
                        <a:gd name="connsiteY62" fmla="*/ 183357 h 1085057"/>
                        <a:gd name="connsiteX63" fmla="*/ 1680369 w 1927225"/>
                        <a:gd name="connsiteY63" fmla="*/ 140495 h 1085057"/>
                        <a:gd name="connsiteX64" fmla="*/ 1639888 w 1927225"/>
                        <a:gd name="connsiteY64" fmla="*/ 161926 h 1085057"/>
                        <a:gd name="connsiteX65" fmla="*/ 1558925 w 1927225"/>
                        <a:gd name="connsiteY65" fmla="*/ 119063 h 1085057"/>
                        <a:gd name="connsiteX66" fmla="*/ 1556544 w 1927225"/>
                        <a:gd name="connsiteY66" fmla="*/ 69057 h 1085057"/>
                        <a:gd name="connsiteX67" fmla="*/ 1563688 w 1927225"/>
                        <a:gd name="connsiteY67" fmla="*/ 19051 h 1085057"/>
                        <a:gd name="connsiteX68" fmla="*/ 1592263 w 1927225"/>
                        <a:gd name="connsiteY68" fmla="*/ 0 h 1085057"/>
                        <a:gd name="connsiteX69" fmla="*/ 34925 w 1927225"/>
                        <a:gd name="connsiteY69" fmla="*/ 11907 h 1085057"/>
                        <a:gd name="connsiteX0" fmla="*/ 34925 w 1927225"/>
                        <a:gd name="connsiteY0" fmla="*/ 14286 h 1087436"/>
                        <a:gd name="connsiteX1" fmla="*/ 15875 w 1927225"/>
                        <a:gd name="connsiteY1" fmla="*/ 30161 h 1087436"/>
                        <a:gd name="connsiteX2" fmla="*/ 3175 w 1927225"/>
                        <a:gd name="connsiteY2" fmla="*/ 61911 h 1087436"/>
                        <a:gd name="connsiteX3" fmla="*/ 0 w 1927225"/>
                        <a:gd name="connsiteY3" fmla="*/ 93661 h 1087436"/>
                        <a:gd name="connsiteX4" fmla="*/ 3175 w 1927225"/>
                        <a:gd name="connsiteY4" fmla="*/ 125411 h 1087436"/>
                        <a:gd name="connsiteX5" fmla="*/ 38100 w 1927225"/>
                        <a:gd name="connsiteY5" fmla="*/ 160336 h 1087436"/>
                        <a:gd name="connsiteX6" fmla="*/ 82550 w 1927225"/>
                        <a:gd name="connsiteY6" fmla="*/ 115886 h 1087436"/>
                        <a:gd name="connsiteX7" fmla="*/ 120650 w 1927225"/>
                        <a:gd name="connsiteY7" fmla="*/ 160336 h 1087436"/>
                        <a:gd name="connsiteX8" fmla="*/ 177800 w 1927225"/>
                        <a:gd name="connsiteY8" fmla="*/ 163511 h 1087436"/>
                        <a:gd name="connsiteX9" fmla="*/ 222250 w 1927225"/>
                        <a:gd name="connsiteY9" fmla="*/ 188911 h 1087436"/>
                        <a:gd name="connsiteX10" fmla="*/ 228600 w 1927225"/>
                        <a:gd name="connsiteY10" fmla="*/ 217486 h 1087436"/>
                        <a:gd name="connsiteX11" fmla="*/ 231775 w 1927225"/>
                        <a:gd name="connsiteY11" fmla="*/ 236536 h 1087436"/>
                        <a:gd name="connsiteX12" fmla="*/ 228600 w 1927225"/>
                        <a:gd name="connsiteY12" fmla="*/ 268286 h 1087436"/>
                        <a:gd name="connsiteX13" fmla="*/ 257175 w 1927225"/>
                        <a:gd name="connsiteY13" fmla="*/ 296861 h 1087436"/>
                        <a:gd name="connsiteX14" fmla="*/ 279400 w 1927225"/>
                        <a:gd name="connsiteY14" fmla="*/ 344486 h 1087436"/>
                        <a:gd name="connsiteX15" fmla="*/ 279400 w 1927225"/>
                        <a:gd name="connsiteY15" fmla="*/ 385761 h 1087436"/>
                        <a:gd name="connsiteX16" fmla="*/ 279400 w 1927225"/>
                        <a:gd name="connsiteY16" fmla="*/ 417511 h 1087436"/>
                        <a:gd name="connsiteX17" fmla="*/ 333375 w 1927225"/>
                        <a:gd name="connsiteY17" fmla="*/ 528636 h 1087436"/>
                        <a:gd name="connsiteX18" fmla="*/ 346075 w 1927225"/>
                        <a:gd name="connsiteY18" fmla="*/ 550861 h 1087436"/>
                        <a:gd name="connsiteX19" fmla="*/ 285750 w 1927225"/>
                        <a:gd name="connsiteY19" fmla="*/ 569911 h 1087436"/>
                        <a:gd name="connsiteX20" fmla="*/ 225425 w 1927225"/>
                        <a:gd name="connsiteY20" fmla="*/ 509586 h 1087436"/>
                        <a:gd name="connsiteX21" fmla="*/ 184150 w 1927225"/>
                        <a:gd name="connsiteY21" fmla="*/ 560386 h 1087436"/>
                        <a:gd name="connsiteX22" fmla="*/ 314325 w 1927225"/>
                        <a:gd name="connsiteY22" fmla="*/ 671511 h 1087436"/>
                        <a:gd name="connsiteX23" fmla="*/ 352425 w 1927225"/>
                        <a:gd name="connsiteY23" fmla="*/ 642936 h 1087436"/>
                        <a:gd name="connsiteX24" fmla="*/ 403225 w 1927225"/>
                        <a:gd name="connsiteY24" fmla="*/ 633411 h 1087436"/>
                        <a:gd name="connsiteX25" fmla="*/ 469900 w 1927225"/>
                        <a:gd name="connsiteY25" fmla="*/ 642936 h 1087436"/>
                        <a:gd name="connsiteX26" fmla="*/ 615950 w 1927225"/>
                        <a:gd name="connsiteY26" fmla="*/ 592136 h 1087436"/>
                        <a:gd name="connsiteX27" fmla="*/ 803275 w 1927225"/>
                        <a:gd name="connsiteY27" fmla="*/ 525461 h 1087436"/>
                        <a:gd name="connsiteX28" fmla="*/ 911225 w 1927225"/>
                        <a:gd name="connsiteY28" fmla="*/ 582611 h 1087436"/>
                        <a:gd name="connsiteX29" fmla="*/ 1016000 w 1927225"/>
                        <a:gd name="connsiteY29" fmla="*/ 665161 h 1087436"/>
                        <a:gd name="connsiteX30" fmla="*/ 1092200 w 1927225"/>
                        <a:gd name="connsiteY30" fmla="*/ 614361 h 1087436"/>
                        <a:gd name="connsiteX31" fmla="*/ 1171575 w 1927225"/>
                        <a:gd name="connsiteY31" fmla="*/ 649286 h 1087436"/>
                        <a:gd name="connsiteX32" fmla="*/ 1200150 w 1927225"/>
                        <a:gd name="connsiteY32" fmla="*/ 655636 h 1087436"/>
                        <a:gd name="connsiteX33" fmla="*/ 1203325 w 1927225"/>
                        <a:gd name="connsiteY33" fmla="*/ 741361 h 1087436"/>
                        <a:gd name="connsiteX34" fmla="*/ 1219200 w 1927225"/>
                        <a:gd name="connsiteY34" fmla="*/ 776286 h 1087436"/>
                        <a:gd name="connsiteX35" fmla="*/ 1238250 w 1927225"/>
                        <a:gd name="connsiteY35" fmla="*/ 801686 h 1087436"/>
                        <a:gd name="connsiteX36" fmla="*/ 1231900 w 1927225"/>
                        <a:gd name="connsiteY36" fmla="*/ 881061 h 1087436"/>
                        <a:gd name="connsiteX37" fmla="*/ 1212850 w 1927225"/>
                        <a:gd name="connsiteY37" fmla="*/ 925511 h 1087436"/>
                        <a:gd name="connsiteX38" fmla="*/ 1209675 w 1927225"/>
                        <a:gd name="connsiteY38" fmla="*/ 954086 h 1087436"/>
                        <a:gd name="connsiteX39" fmla="*/ 1282700 w 1927225"/>
                        <a:gd name="connsiteY39" fmla="*/ 960436 h 1087436"/>
                        <a:gd name="connsiteX40" fmla="*/ 1311275 w 1927225"/>
                        <a:gd name="connsiteY40" fmla="*/ 947736 h 1087436"/>
                        <a:gd name="connsiteX41" fmla="*/ 1352550 w 1927225"/>
                        <a:gd name="connsiteY41" fmla="*/ 928686 h 1087436"/>
                        <a:gd name="connsiteX42" fmla="*/ 1425575 w 1927225"/>
                        <a:gd name="connsiteY42" fmla="*/ 963611 h 1087436"/>
                        <a:gd name="connsiteX43" fmla="*/ 1457325 w 1927225"/>
                        <a:gd name="connsiteY43" fmla="*/ 919161 h 1087436"/>
                        <a:gd name="connsiteX44" fmla="*/ 1555750 w 1927225"/>
                        <a:gd name="connsiteY44" fmla="*/ 915986 h 1087436"/>
                        <a:gd name="connsiteX45" fmla="*/ 1616075 w 1927225"/>
                        <a:gd name="connsiteY45" fmla="*/ 969961 h 1087436"/>
                        <a:gd name="connsiteX46" fmla="*/ 1676400 w 1927225"/>
                        <a:gd name="connsiteY46" fmla="*/ 900111 h 1087436"/>
                        <a:gd name="connsiteX47" fmla="*/ 1895475 w 1927225"/>
                        <a:gd name="connsiteY47" fmla="*/ 1087436 h 1087436"/>
                        <a:gd name="connsiteX48" fmla="*/ 1895475 w 1927225"/>
                        <a:gd name="connsiteY48" fmla="*/ 1087436 h 1087436"/>
                        <a:gd name="connsiteX49" fmla="*/ 1927225 w 1927225"/>
                        <a:gd name="connsiteY49" fmla="*/ 1065211 h 1087436"/>
                        <a:gd name="connsiteX50" fmla="*/ 1895475 w 1927225"/>
                        <a:gd name="connsiteY50" fmla="*/ 906461 h 1087436"/>
                        <a:gd name="connsiteX51" fmla="*/ 1778000 w 1927225"/>
                        <a:gd name="connsiteY51" fmla="*/ 852486 h 1087436"/>
                        <a:gd name="connsiteX52" fmla="*/ 1698625 w 1927225"/>
                        <a:gd name="connsiteY52" fmla="*/ 776286 h 1087436"/>
                        <a:gd name="connsiteX53" fmla="*/ 1679575 w 1927225"/>
                        <a:gd name="connsiteY53" fmla="*/ 658811 h 1087436"/>
                        <a:gd name="connsiteX54" fmla="*/ 1673225 w 1927225"/>
                        <a:gd name="connsiteY54" fmla="*/ 619124 h 1087436"/>
                        <a:gd name="connsiteX55" fmla="*/ 1694656 w 1927225"/>
                        <a:gd name="connsiteY55" fmla="*/ 571499 h 1087436"/>
                        <a:gd name="connsiteX56" fmla="*/ 1720850 w 1927225"/>
                        <a:gd name="connsiteY56" fmla="*/ 497680 h 1087436"/>
                        <a:gd name="connsiteX57" fmla="*/ 1747043 w 1927225"/>
                        <a:gd name="connsiteY57" fmla="*/ 454817 h 1087436"/>
                        <a:gd name="connsiteX58" fmla="*/ 1725613 w 1927225"/>
                        <a:gd name="connsiteY58" fmla="*/ 409574 h 1087436"/>
                        <a:gd name="connsiteX59" fmla="*/ 1716088 w 1927225"/>
                        <a:gd name="connsiteY59" fmla="*/ 357186 h 1087436"/>
                        <a:gd name="connsiteX60" fmla="*/ 1713706 w 1927225"/>
                        <a:gd name="connsiteY60" fmla="*/ 276224 h 1087436"/>
                        <a:gd name="connsiteX61" fmla="*/ 1713706 w 1927225"/>
                        <a:gd name="connsiteY61" fmla="*/ 235742 h 1087436"/>
                        <a:gd name="connsiteX62" fmla="*/ 1739900 w 1927225"/>
                        <a:gd name="connsiteY62" fmla="*/ 185736 h 1087436"/>
                        <a:gd name="connsiteX63" fmla="*/ 1680369 w 1927225"/>
                        <a:gd name="connsiteY63" fmla="*/ 142874 h 1087436"/>
                        <a:gd name="connsiteX64" fmla="*/ 1639888 w 1927225"/>
                        <a:gd name="connsiteY64" fmla="*/ 164305 h 1087436"/>
                        <a:gd name="connsiteX65" fmla="*/ 1558925 w 1927225"/>
                        <a:gd name="connsiteY65" fmla="*/ 121442 h 1087436"/>
                        <a:gd name="connsiteX66" fmla="*/ 1556544 w 1927225"/>
                        <a:gd name="connsiteY66" fmla="*/ 71436 h 1087436"/>
                        <a:gd name="connsiteX67" fmla="*/ 1563688 w 1927225"/>
                        <a:gd name="connsiteY67" fmla="*/ 21430 h 1087436"/>
                        <a:gd name="connsiteX68" fmla="*/ 1592263 w 1927225"/>
                        <a:gd name="connsiteY68" fmla="*/ 2379 h 1087436"/>
                        <a:gd name="connsiteX69" fmla="*/ 1518444 w 1927225"/>
                        <a:gd name="connsiteY69" fmla="*/ 0 h 1087436"/>
                        <a:gd name="connsiteX70" fmla="*/ 34925 w 1927225"/>
                        <a:gd name="connsiteY70" fmla="*/ 14286 h 1087436"/>
                        <a:gd name="connsiteX0" fmla="*/ 34925 w 1927225"/>
                        <a:gd name="connsiteY0" fmla="*/ 47624 h 1120774"/>
                        <a:gd name="connsiteX1" fmla="*/ 15875 w 1927225"/>
                        <a:gd name="connsiteY1" fmla="*/ 63499 h 1120774"/>
                        <a:gd name="connsiteX2" fmla="*/ 3175 w 1927225"/>
                        <a:gd name="connsiteY2" fmla="*/ 95249 h 1120774"/>
                        <a:gd name="connsiteX3" fmla="*/ 0 w 1927225"/>
                        <a:gd name="connsiteY3" fmla="*/ 126999 h 1120774"/>
                        <a:gd name="connsiteX4" fmla="*/ 3175 w 1927225"/>
                        <a:gd name="connsiteY4" fmla="*/ 158749 h 1120774"/>
                        <a:gd name="connsiteX5" fmla="*/ 38100 w 1927225"/>
                        <a:gd name="connsiteY5" fmla="*/ 193674 h 1120774"/>
                        <a:gd name="connsiteX6" fmla="*/ 82550 w 1927225"/>
                        <a:gd name="connsiteY6" fmla="*/ 149224 h 1120774"/>
                        <a:gd name="connsiteX7" fmla="*/ 120650 w 1927225"/>
                        <a:gd name="connsiteY7" fmla="*/ 193674 h 1120774"/>
                        <a:gd name="connsiteX8" fmla="*/ 177800 w 1927225"/>
                        <a:gd name="connsiteY8" fmla="*/ 196849 h 1120774"/>
                        <a:gd name="connsiteX9" fmla="*/ 222250 w 1927225"/>
                        <a:gd name="connsiteY9" fmla="*/ 222249 h 1120774"/>
                        <a:gd name="connsiteX10" fmla="*/ 228600 w 1927225"/>
                        <a:gd name="connsiteY10" fmla="*/ 250824 h 1120774"/>
                        <a:gd name="connsiteX11" fmla="*/ 231775 w 1927225"/>
                        <a:gd name="connsiteY11" fmla="*/ 269874 h 1120774"/>
                        <a:gd name="connsiteX12" fmla="*/ 228600 w 1927225"/>
                        <a:gd name="connsiteY12" fmla="*/ 301624 h 1120774"/>
                        <a:gd name="connsiteX13" fmla="*/ 257175 w 1927225"/>
                        <a:gd name="connsiteY13" fmla="*/ 330199 h 1120774"/>
                        <a:gd name="connsiteX14" fmla="*/ 279400 w 1927225"/>
                        <a:gd name="connsiteY14" fmla="*/ 377824 h 1120774"/>
                        <a:gd name="connsiteX15" fmla="*/ 279400 w 1927225"/>
                        <a:gd name="connsiteY15" fmla="*/ 419099 h 1120774"/>
                        <a:gd name="connsiteX16" fmla="*/ 279400 w 1927225"/>
                        <a:gd name="connsiteY16" fmla="*/ 450849 h 1120774"/>
                        <a:gd name="connsiteX17" fmla="*/ 333375 w 1927225"/>
                        <a:gd name="connsiteY17" fmla="*/ 561974 h 1120774"/>
                        <a:gd name="connsiteX18" fmla="*/ 346075 w 1927225"/>
                        <a:gd name="connsiteY18" fmla="*/ 584199 h 1120774"/>
                        <a:gd name="connsiteX19" fmla="*/ 285750 w 1927225"/>
                        <a:gd name="connsiteY19" fmla="*/ 603249 h 1120774"/>
                        <a:gd name="connsiteX20" fmla="*/ 225425 w 1927225"/>
                        <a:gd name="connsiteY20" fmla="*/ 542924 h 1120774"/>
                        <a:gd name="connsiteX21" fmla="*/ 184150 w 1927225"/>
                        <a:gd name="connsiteY21" fmla="*/ 593724 h 1120774"/>
                        <a:gd name="connsiteX22" fmla="*/ 314325 w 1927225"/>
                        <a:gd name="connsiteY22" fmla="*/ 704849 h 1120774"/>
                        <a:gd name="connsiteX23" fmla="*/ 352425 w 1927225"/>
                        <a:gd name="connsiteY23" fmla="*/ 676274 h 1120774"/>
                        <a:gd name="connsiteX24" fmla="*/ 403225 w 1927225"/>
                        <a:gd name="connsiteY24" fmla="*/ 666749 h 1120774"/>
                        <a:gd name="connsiteX25" fmla="*/ 469900 w 1927225"/>
                        <a:gd name="connsiteY25" fmla="*/ 676274 h 1120774"/>
                        <a:gd name="connsiteX26" fmla="*/ 615950 w 1927225"/>
                        <a:gd name="connsiteY26" fmla="*/ 625474 h 1120774"/>
                        <a:gd name="connsiteX27" fmla="*/ 803275 w 1927225"/>
                        <a:gd name="connsiteY27" fmla="*/ 558799 h 1120774"/>
                        <a:gd name="connsiteX28" fmla="*/ 911225 w 1927225"/>
                        <a:gd name="connsiteY28" fmla="*/ 615949 h 1120774"/>
                        <a:gd name="connsiteX29" fmla="*/ 1016000 w 1927225"/>
                        <a:gd name="connsiteY29" fmla="*/ 698499 h 1120774"/>
                        <a:gd name="connsiteX30" fmla="*/ 1092200 w 1927225"/>
                        <a:gd name="connsiteY30" fmla="*/ 647699 h 1120774"/>
                        <a:gd name="connsiteX31" fmla="*/ 1171575 w 1927225"/>
                        <a:gd name="connsiteY31" fmla="*/ 682624 h 1120774"/>
                        <a:gd name="connsiteX32" fmla="*/ 1200150 w 1927225"/>
                        <a:gd name="connsiteY32" fmla="*/ 688974 h 1120774"/>
                        <a:gd name="connsiteX33" fmla="*/ 1203325 w 1927225"/>
                        <a:gd name="connsiteY33" fmla="*/ 774699 h 1120774"/>
                        <a:gd name="connsiteX34" fmla="*/ 1219200 w 1927225"/>
                        <a:gd name="connsiteY34" fmla="*/ 809624 h 1120774"/>
                        <a:gd name="connsiteX35" fmla="*/ 1238250 w 1927225"/>
                        <a:gd name="connsiteY35" fmla="*/ 835024 h 1120774"/>
                        <a:gd name="connsiteX36" fmla="*/ 1231900 w 1927225"/>
                        <a:gd name="connsiteY36" fmla="*/ 914399 h 1120774"/>
                        <a:gd name="connsiteX37" fmla="*/ 1212850 w 1927225"/>
                        <a:gd name="connsiteY37" fmla="*/ 958849 h 1120774"/>
                        <a:gd name="connsiteX38" fmla="*/ 1209675 w 1927225"/>
                        <a:gd name="connsiteY38" fmla="*/ 987424 h 1120774"/>
                        <a:gd name="connsiteX39" fmla="*/ 1282700 w 1927225"/>
                        <a:gd name="connsiteY39" fmla="*/ 993774 h 1120774"/>
                        <a:gd name="connsiteX40" fmla="*/ 1311275 w 1927225"/>
                        <a:gd name="connsiteY40" fmla="*/ 981074 h 1120774"/>
                        <a:gd name="connsiteX41" fmla="*/ 1352550 w 1927225"/>
                        <a:gd name="connsiteY41" fmla="*/ 962024 h 1120774"/>
                        <a:gd name="connsiteX42" fmla="*/ 1425575 w 1927225"/>
                        <a:gd name="connsiteY42" fmla="*/ 996949 h 1120774"/>
                        <a:gd name="connsiteX43" fmla="*/ 1457325 w 1927225"/>
                        <a:gd name="connsiteY43" fmla="*/ 952499 h 1120774"/>
                        <a:gd name="connsiteX44" fmla="*/ 1555750 w 1927225"/>
                        <a:gd name="connsiteY44" fmla="*/ 949324 h 1120774"/>
                        <a:gd name="connsiteX45" fmla="*/ 1616075 w 1927225"/>
                        <a:gd name="connsiteY45" fmla="*/ 1003299 h 1120774"/>
                        <a:gd name="connsiteX46" fmla="*/ 1676400 w 1927225"/>
                        <a:gd name="connsiteY46" fmla="*/ 933449 h 1120774"/>
                        <a:gd name="connsiteX47" fmla="*/ 1895475 w 1927225"/>
                        <a:gd name="connsiteY47" fmla="*/ 1120774 h 1120774"/>
                        <a:gd name="connsiteX48" fmla="*/ 1895475 w 1927225"/>
                        <a:gd name="connsiteY48" fmla="*/ 1120774 h 1120774"/>
                        <a:gd name="connsiteX49" fmla="*/ 1927225 w 1927225"/>
                        <a:gd name="connsiteY49" fmla="*/ 1098549 h 1120774"/>
                        <a:gd name="connsiteX50" fmla="*/ 1895475 w 1927225"/>
                        <a:gd name="connsiteY50" fmla="*/ 939799 h 1120774"/>
                        <a:gd name="connsiteX51" fmla="*/ 1778000 w 1927225"/>
                        <a:gd name="connsiteY51" fmla="*/ 885824 h 1120774"/>
                        <a:gd name="connsiteX52" fmla="*/ 1698625 w 1927225"/>
                        <a:gd name="connsiteY52" fmla="*/ 809624 h 1120774"/>
                        <a:gd name="connsiteX53" fmla="*/ 1679575 w 1927225"/>
                        <a:gd name="connsiteY53" fmla="*/ 692149 h 1120774"/>
                        <a:gd name="connsiteX54" fmla="*/ 1673225 w 1927225"/>
                        <a:gd name="connsiteY54" fmla="*/ 652462 h 1120774"/>
                        <a:gd name="connsiteX55" fmla="*/ 1694656 w 1927225"/>
                        <a:gd name="connsiteY55" fmla="*/ 604837 h 1120774"/>
                        <a:gd name="connsiteX56" fmla="*/ 1720850 w 1927225"/>
                        <a:gd name="connsiteY56" fmla="*/ 531018 h 1120774"/>
                        <a:gd name="connsiteX57" fmla="*/ 1747043 w 1927225"/>
                        <a:gd name="connsiteY57" fmla="*/ 488155 h 1120774"/>
                        <a:gd name="connsiteX58" fmla="*/ 1725613 w 1927225"/>
                        <a:gd name="connsiteY58" fmla="*/ 442912 h 1120774"/>
                        <a:gd name="connsiteX59" fmla="*/ 1716088 w 1927225"/>
                        <a:gd name="connsiteY59" fmla="*/ 390524 h 1120774"/>
                        <a:gd name="connsiteX60" fmla="*/ 1713706 w 1927225"/>
                        <a:gd name="connsiteY60" fmla="*/ 309562 h 1120774"/>
                        <a:gd name="connsiteX61" fmla="*/ 1713706 w 1927225"/>
                        <a:gd name="connsiteY61" fmla="*/ 269080 h 1120774"/>
                        <a:gd name="connsiteX62" fmla="*/ 1739900 w 1927225"/>
                        <a:gd name="connsiteY62" fmla="*/ 219074 h 1120774"/>
                        <a:gd name="connsiteX63" fmla="*/ 1680369 w 1927225"/>
                        <a:gd name="connsiteY63" fmla="*/ 176212 h 1120774"/>
                        <a:gd name="connsiteX64" fmla="*/ 1639888 w 1927225"/>
                        <a:gd name="connsiteY64" fmla="*/ 197643 h 1120774"/>
                        <a:gd name="connsiteX65" fmla="*/ 1558925 w 1927225"/>
                        <a:gd name="connsiteY65" fmla="*/ 154780 h 1120774"/>
                        <a:gd name="connsiteX66" fmla="*/ 1556544 w 1927225"/>
                        <a:gd name="connsiteY66" fmla="*/ 104774 h 1120774"/>
                        <a:gd name="connsiteX67" fmla="*/ 1563688 w 1927225"/>
                        <a:gd name="connsiteY67" fmla="*/ 54768 h 1120774"/>
                        <a:gd name="connsiteX68" fmla="*/ 1592263 w 1927225"/>
                        <a:gd name="connsiteY68" fmla="*/ 35717 h 1120774"/>
                        <a:gd name="connsiteX69" fmla="*/ 1537494 w 1927225"/>
                        <a:gd name="connsiteY69" fmla="*/ 0 h 1120774"/>
                        <a:gd name="connsiteX70" fmla="*/ 34925 w 1927225"/>
                        <a:gd name="connsiteY70" fmla="*/ 47624 h 1120774"/>
                        <a:gd name="connsiteX0" fmla="*/ 34925 w 1927225"/>
                        <a:gd name="connsiteY0" fmla="*/ 47624 h 1120774"/>
                        <a:gd name="connsiteX1" fmla="*/ 15875 w 1927225"/>
                        <a:gd name="connsiteY1" fmla="*/ 63499 h 1120774"/>
                        <a:gd name="connsiteX2" fmla="*/ 3175 w 1927225"/>
                        <a:gd name="connsiteY2" fmla="*/ 95249 h 1120774"/>
                        <a:gd name="connsiteX3" fmla="*/ 0 w 1927225"/>
                        <a:gd name="connsiteY3" fmla="*/ 126999 h 1120774"/>
                        <a:gd name="connsiteX4" fmla="*/ 3175 w 1927225"/>
                        <a:gd name="connsiteY4" fmla="*/ 158749 h 1120774"/>
                        <a:gd name="connsiteX5" fmla="*/ 38100 w 1927225"/>
                        <a:gd name="connsiteY5" fmla="*/ 193674 h 1120774"/>
                        <a:gd name="connsiteX6" fmla="*/ 82550 w 1927225"/>
                        <a:gd name="connsiteY6" fmla="*/ 149224 h 1120774"/>
                        <a:gd name="connsiteX7" fmla="*/ 120650 w 1927225"/>
                        <a:gd name="connsiteY7" fmla="*/ 193674 h 1120774"/>
                        <a:gd name="connsiteX8" fmla="*/ 177800 w 1927225"/>
                        <a:gd name="connsiteY8" fmla="*/ 196849 h 1120774"/>
                        <a:gd name="connsiteX9" fmla="*/ 222250 w 1927225"/>
                        <a:gd name="connsiteY9" fmla="*/ 222249 h 1120774"/>
                        <a:gd name="connsiteX10" fmla="*/ 228600 w 1927225"/>
                        <a:gd name="connsiteY10" fmla="*/ 250824 h 1120774"/>
                        <a:gd name="connsiteX11" fmla="*/ 231775 w 1927225"/>
                        <a:gd name="connsiteY11" fmla="*/ 269874 h 1120774"/>
                        <a:gd name="connsiteX12" fmla="*/ 228600 w 1927225"/>
                        <a:gd name="connsiteY12" fmla="*/ 301624 h 1120774"/>
                        <a:gd name="connsiteX13" fmla="*/ 257175 w 1927225"/>
                        <a:gd name="connsiteY13" fmla="*/ 330199 h 1120774"/>
                        <a:gd name="connsiteX14" fmla="*/ 279400 w 1927225"/>
                        <a:gd name="connsiteY14" fmla="*/ 377824 h 1120774"/>
                        <a:gd name="connsiteX15" fmla="*/ 279400 w 1927225"/>
                        <a:gd name="connsiteY15" fmla="*/ 419099 h 1120774"/>
                        <a:gd name="connsiteX16" fmla="*/ 279400 w 1927225"/>
                        <a:gd name="connsiteY16" fmla="*/ 450849 h 1120774"/>
                        <a:gd name="connsiteX17" fmla="*/ 333375 w 1927225"/>
                        <a:gd name="connsiteY17" fmla="*/ 561974 h 1120774"/>
                        <a:gd name="connsiteX18" fmla="*/ 346075 w 1927225"/>
                        <a:gd name="connsiteY18" fmla="*/ 584199 h 1120774"/>
                        <a:gd name="connsiteX19" fmla="*/ 285750 w 1927225"/>
                        <a:gd name="connsiteY19" fmla="*/ 603249 h 1120774"/>
                        <a:gd name="connsiteX20" fmla="*/ 225425 w 1927225"/>
                        <a:gd name="connsiteY20" fmla="*/ 542924 h 1120774"/>
                        <a:gd name="connsiteX21" fmla="*/ 184150 w 1927225"/>
                        <a:gd name="connsiteY21" fmla="*/ 593724 h 1120774"/>
                        <a:gd name="connsiteX22" fmla="*/ 314325 w 1927225"/>
                        <a:gd name="connsiteY22" fmla="*/ 704849 h 1120774"/>
                        <a:gd name="connsiteX23" fmla="*/ 352425 w 1927225"/>
                        <a:gd name="connsiteY23" fmla="*/ 676274 h 1120774"/>
                        <a:gd name="connsiteX24" fmla="*/ 403225 w 1927225"/>
                        <a:gd name="connsiteY24" fmla="*/ 666749 h 1120774"/>
                        <a:gd name="connsiteX25" fmla="*/ 469900 w 1927225"/>
                        <a:gd name="connsiteY25" fmla="*/ 676274 h 1120774"/>
                        <a:gd name="connsiteX26" fmla="*/ 615950 w 1927225"/>
                        <a:gd name="connsiteY26" fmla="*/ 625474 h 1120774"/>
                        <a:gd name="connsiteX27" fmla="*/ 803275 w 1927225"/>
                        <a:gd name="connsiteY27" fmla="*/ 558799 h 1120774"/>
                        <a:gd name="connsiteX28" fmla="*/ 911225 w 1927225"/>
                        <a:gd name="connsiteY28" fmla="*/ 615949 h 1120774"/>
                        <a:gd name="connsiteX29" fmla="*/ 1016000 w 1927225"/>
                        <a:gd name="connsiteY29" fmla="*/ 698499 h 1120774"/>
                        <a:gd name="connsiteX30" fmla="*/ 1092200 w 1927225"/>
                        <a:gd name="connsiteY30" fmla="*/ 647699 h 1120774"/>
                        <a:gd name="connsiteX31" fmla="*/ 1171575 w 1927225"/>
                        <a:gd name="connsiteY31" fmla="*/ 682624 h 1120774"/>
                        <a:gd name="connsiteX32" fmla="*/ 1200150 w 1927225"/>
                        <a:gd name="connsiteY32" fmla="*/ 688974 h 1120774"/>
                        <a:gd name="connsiteX33" fmla="*/ 1203325 w 1927225"/>
                        <a:gd name="connsiteY33" fmla="*/ 774699 h 1120774"/>
                        <a:gd name="connsiteX34" fmla="*/ 1219200 w 1927225"/>
                        <a:gd name="connsiteY34" fmla="*/ 809624 h 1120774"/>
                        <a:gd name="connsiteX35" fmla="*/ 1238250 w 1927225"/>
                        <a:gd name="connsiteY35" fmla="*/ 835024 h 1120774"/>
                        <a:gd name="connsiteX36" fmla="*/ 1231900 w 1927225"/>
                        <a:gd name="connsiteY36" fmla="*/ 914399 h 1120774"/>
                        <a:gd name="connsiteX37" fmla="*/ 1212850 w 1927225"/>
                        <a:gd name="connsiteY37" fmla="*/ 958849 h 1120774"/>
                        <a:gd name="connsiteX38" fmla="*/ 1209675 w 1927225"/>
                        <a:gd name="connsiteY38" fmla="*/ 987424 h 1120774"/>
                        <a:gd name="connsiteX39" fmla="*/ 1282700 w 1927225"/>
                        <a:gd name="connsiteY39" fmla="*/ 993774 h 1120774"/>
                        <a:gd name="connsiteX40" fmla="*/ 1311275 w 1927225"/>
                        <a:gd name="connsiteY40" fmla="*/ 981074 h 1120774"/>
                        <a:gd name="connsiteX41" fmla="*/ 1352550 w 1927225"/>
                        <a:gd name="connsiteY41" fmla="*/ 962024 h 1120774"/>
                        <a:gd name="connsiteX42" fmla="*/ 1425575 w 1927225"/>
                        <a:gd name="connsiteY42" fmla="*/ 996949 h 1120774"/>
                        <a:gd name="connsiteX43" fmla="*/ 1457325 w 1927225"/>
                        <a:gd name="connsiteY43" fmla="*/ 952499 h 1120774"/>
                        <a:gd name="connsiteX44" fmla="*/ 1555750 w 1927225"/>
                        <a:gd name="connsiteY44" fmla="*/ 949324 h 1120774"/>
                        <a:gd name="connsiteX45" fmla="*/ 1616075 w 1927225"/>
                        <a:gd name="connsiteY45" fmla="*/ 1003299 h 1120774"/>
                        <a:gd name="connsiteX46" fmla="*/ 1676400 w 1927225"/>
                        <a:gd name="connsiteY46" fmla="*/ 933449 h 1120774"/>
                        <a:gd name="connsiteX47" fmla="*/ 1895475 w 1927225"/>
                        <a:gd name="connsiteY47" fmla="*/ 1120774 h 1120774"/>
                        <a:gd name="connsiteX48" fmla="*/ 1895475 w 1927225"/>
                        <a:gd name="connsiteY48" fmla="*/ 1120774 h 1120774"/>
                        <a:gd name="connsiteX49" fmla="*/ 1927225 w 1927225"/>
                        <a:gd name="connsiteY49" fmla="*/ 1098549 h 1120774"/>
                        <a:gd name="connsiteX50" fmla="*/ 1895475 w 1927225"/>
                        <a:gd name="connsiteY50" fmla="*/ 939799 h 1120774"/>
                        <a:gd name="connsiteX51" fmla="*/ 1778000 w 1927225"/>
                        <a:gd name="connsiteY51" fmla="*/ 885824 h 1120774"/>
                        <a:gd name="connsiteX52" fmla="*/ 1698625 w 1927225"/>
                        <a:gd name="connsiteY52" fmla="*/ 809624 h 1120774"/>
                        <a:gd name="connsiteX53" fmla="*/ 1679575 w 1927225"/>
                        <a:gd name="connsiteY53" fmla="*/ 692149 h 1120774"/>
                        <a:gd name="connsiteX54" fmla="*/ 1673225 w 1927225"/>
                        <a:gd name="connsiteY54" fmla="*/ 652462 h 1120774"/>
                        <a:gd name="connsiteX55" fmla="*/ 1694656 w 1927225"/>
                        <a:gd name="connsiteY55" fmla="*/ 604837 h 1120774"/>
                        <a:gd name="connsiteX56" fmla="*/ 1720850 w 1927225"/>
                        <a:gd name="connsiteY56" fmla="*/ 531018 h 1120774"/>
                        <a:gd name="connsiteX57" fmla="*/ 1747043 w 1927225"/>
                        <a:gd name="connsiteY57" fmla="*/ 488155 h 1120774"/>
                        <a:gd name="connsiteX58" fmla="*/ 1725613 w 1927225"/>
                        <a:gd name="connsiteY58" fmla="*/ 442912 h 1120774"/>
                        <a:gd name="connsiteX59" fmla="*/ 1716088 w 1927225"/>
                        <a:gd name="connsiteY59" fmla="*/ 390524 h 1120774"/>
                        <a:gd name="connsiteX60" fmla="*/ 1713706 w 1927225"/>
                        <a:gd name="connsiteY60" fmla="*/ 309562 h 1120774"/>
                        <a:gd name="connsiteX61" fmla="*/ 1713706 w 1927225"/>
                        <a:gd name="connsiteY61" fmla="*/ 269080 h 1120774"/>
                        <a:gd name="connsiteX62" fmla="*/ 1739900 w 1927225"/>
                        <a:gd name="connsiteY62" fmla="*/ 219074 h 1120774"/>
                        <a:gd name="connsiteX63" fmla="*/ 1680369 w 1927225"/>
                        <a:gd name="connsiteY63" fmla="*/ 176212 h 1120774"/>
                        <a:gd name="connsiteX64" fmla="*/ 1639888 w 1927225"/>
                        <a:gd name="connsiteY64" fmla="*/ 197643 h 1120774"/>
                        <a:gd name="connsiteX65" fmla="*/ 1558925 w 1927225"/>
                        <a:gd name="connsiteY65" fmla="*/ 154780 h 1120774"/>
                        <a:gd name="connsiteX66" fmla="*/ 1556544 w 1927225"/>
                        <a:gd name="connsiteY66" fmla="*/ 104774 h 1120774"/>
                        <a:gd name="connsiteX67" fmla="*/ 1563688 w 1927225"/>
                        <a:gd name="connsiteY67" fmla="*/ 54768 h 1120774"/>
                        <a:gd name="connsiteX68" fmla="*/ 1592263 w 1927225"/>
                        <a:gd name="connsiteY68" fmla="*/ 35717 h 1120774"/>
                        <a:gd name="connsiteX69" fmla="*/ 1537494 w 1927225"/>
                        <a:gd name="connsiteY69" fmla="*/ 0 h 1120774"/>
                        <a:gd name="connsiteX70" fmla="*/ 1508919 w 1927225"/>
                        <a:gd name="connsiteY70" fmla="*/ 2381 h 1120774"/>
                        <a:gd name="connsiteX71" fmla="*/ 34925 w 1927225"/>
                        <a:gd name="connsiteY71" fmla="*/ 47624 h 1120774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34925 w 1927225"/>
                        <a:gd name="connsiteY71" fmla="*/ 85725 h 1158875"/>
                        <a:gd name="connsiteX0" fmla="*/ 34925 w 1927225"/>
                        <a:gd name="connsiteY0" fmla="*/ 88104 h 1161254"/>
                        <a:gd name="connsiteX1" fmla="*/ 15875 w 1927225"/>
                        <a:gd name="connsiteY1" fmla="*/ 103979 h 1161254"/>
                        <a:gd name="connsiteX2" fmla="*/ 3175 w 1927225"/>
                        <a:gd name="connsiteY2" fmla="*/ 135729 h 1161254"/>
                        <a:gd name="connsiteX3" fmla="*/ 0 w 1927225"/>
                        <a:gd name="connsiteY3" fmla="*/ 167479 h 1161254"/>
                        <a:gd name="connsiteX4" fmla="*/ 3175 w 1927225"/>
                        <a:gd name="connsiteY4" fmla="*/ 199229 h 1161254"/>
                        <a:gd name="connsiteX5" fmla="*/ 38100 w 1927225"/>
                        <a:gd name="connsiteY5" fmla="*/ 234154 h 1161254"/>
                        <a:gd name="connsiteX6" fmla="*/ 82550 w 1927225"/>
                        <a:gd name="connsiteY6" fmla="*/ 189704 h 1161254"/>
                        <a:gd name="connsiteX7" fmla="*/ 120650 w 1927225"/>
                        <a:gd name="connsiteY7" fmla="*/ 234154 h 1161254"/>
                        <a:gd name="connsiteX8" fmla="*/ 177800 w 1927225"/>
                        <a:gd name="connsiteY8" fmla="*/ 237329 h 1161254"/>
                        <a:gd name="connsiteX9" fmla="*/ 222250 w 1927225"/>
                        <a:gd name="connsiteY9" fmla="*/ 262729 h 1161254"/>
                        <a:gd name="connsiteX10" fmla="*/ 228600 w 1927225"/>
                        <a:gd name="connsiteY10" fmla="*/ 291304 h 1161254"/>
                        <a:gd name="connsiteX11" fmla="*/ 231775 w 1927225"/>
                        <a:gd name="connsiteY11" fmla="*/ 310354 h 1161254"/>
                        <a:gd name="connsiteX12" fmla="*/ 228600 w 1927225"/>
                        <a:gd name="connsiteY12" fmla="*/ 342104 h 1161254"/>
                        <a:gd name="connsiteX13" fmla="*/ 257175 w 1927225"/>
                        <a:gd name="connsiteY13" fmla="*/ 370679 h 1161254"/>
                        <a:gd name="connsiteX14" fmla="*/ 279400 w 1927225"/>
                        <a:gd name="connsiteY14" fmla="*/ 418304 h 1161254"/>
                        <a:gd name="connsiteX15" fmla="*/ 279400 w 1927225"/>
                        <a:gd name="connsiteY15" fmla="*/ 459579 h 1161254"/>
                        <a:gd name="connsiteX16" fmla="*/ 279400 w 1927225"/>
                        <a:gd name="connsiteY16" fmla="*/ 491329 h 1161254"/>
                        <a:gd name="connsiteX17" fmla="*/ 333375 w 1927225"/>
                        <a:gd name="connsiteY17" fmla="*/ 602454 h 1161254"/>
                        <a:gd name="connsiteX18" fmla="*/ 346075 w 1927225"/>
                        <a:gd name="connsiteY18" fmla="*/ 624679 h 1161254"/>
                        <a:gd name="connsiteX19" fmla="*/ 285750 w 1927225"/>
                        <a:gd name="connsiteY19" fmla="*/ 643729 h 1161254"/>
                        <a:gd name="connsiteX20" fmla="*/ 225425 w 1927225"/>
                        <a:gd name="connsiteY20" fmla="*/ 583404 h 1161254"/>
                        <a:gd name="connsiteX21" fmla="*/ 184150 w 1927225"/>
                        <a:gd name="connsiteY21" fmla="*/ 634204 h 1161254"/>
                        <a:gd name="connsiteX22" fmla="*/ 314325 w 1927225"/>
                        <a:gd name="connsiteY22" fmla="*/ 745329 h 1161254"/>
                        <a:gd name="connsiteX23" fmla="*/ 352425 w 1927225"/>
                        <a:gd name="connsiteY23" fmla="*/ 716754 h 1161254"/>
                        <a:gd name="connsiteX24" fmla="*/ 403225 w 1927225"/>
                        <a:gd name="connsiteY24" fmla="*/ 707229 h 1161254"/>
                        <a:gd name="connsiteX25" fmla="*/ 469900 w 1927225"/>
                        <a:gd name="connsiteY25" fmla="*/ 716754 h 1161254"/>
                        <a:gd name="connsiteX26" fmla="*/ 615950 w 1927225"/>
                        <a:gd name="connsiteY26" fmla="*/ 665954 h 1161254"/>
                        <a:gd name="connsiteX27" fmla="*/ 803275 w 1927225"/>
                        <a:gd name="connsiteY27" fmla="*/ 599279 h 1161254"/>
                        <a:gd name="connsiteX28" fmla="*/ 911225 w 1927225"/>
                        <a:gd name="connsiteY28" fmla="*/ 656429 h 1161254"/>
                        <a:gd name="connsiteX29" fmla="*/ 1016000 w 1927225"/>
                        <a:gd name="connsiteY29" fmla="*/ 738979 h 1161254"/>
                        <a:gd name="connsiteX30" fmla="*/ 1092200 w 1927225"/>
                        <a:gd name="connsiteY30" fmla="*/ 688179 h 1161254"/>
                        <a:gd name="connsiteX31" fmla="*/ 1171575 w 1927225"/>
                        <a:gd name="connsiteY31" fmla="*/ 723104 h 1161254"/>
                        <a:gd name="connsiteX32" fmla="*/ 1200150 w 1927225"/>
                        <a:gd name="connsiteY32" fmla="*/ 729454 h 1161254"/>
                        <a:gd name="connsiteX33" fmla="*/ 1203325 w 1927225"/>
                        <a:gd name="connsiteY33" fmla="*/ 815179 h 1161254"/>
                        <a:gd name="connsiteX34" fmla="*/ 1219200 w 1927225"/>
                        <a:gd name="connsiteY34" fmla="*/ 850104 h 1161254"/>
                        <a:gd name="connsiteX35" fmla="*/ 1238250 w 1927225"/>
                        <a:gd name="connsiteY35" fmla="*/ 875504 h 1161254"/>
                        <a:gd name="connsiteX36" fmla="*/ 1231900 w 1927225"/>
                        <a:gd name="connsiteY36" fmla="*/ 954879 h 1161254"/>
                        <a:gd name="connsiteX37" fmla="*/ 1212850 w 1927225"/>
                        <a:gd name="connsiteY37" fmla="*/ 999329 h 1161254"/>
                        <a:gd name="connsiteX38" fmla="*/ 1209675 w 1927225"/>
                        <a:gd name="connsiteY38" fmla="*/ 1027904 h 1161254"/>
                        <a:gd name="connsiteX39" fmla="*/ 1282700 w 1927225"/>
                        <a:gd name="connsiteY39" fmla="*/ 1034254 h 1161254"/>
                        <a:gd name="connsiteX40" fmla="*/ 1311275 w 1927225"/>
                        <a:gd name="connsiteY40" fmla="*/ 1021554 h 1161254"/>
                        <a:gd name="connsiteX41" fmla="*/ 1352550 w 1927225"/>
                        <a:gd name="connsiteY41" fmla="*/ 1002504 h 1161254"/>
                        <a:gd name="connsiteX42" fmla="*/ 1425575 w 1927225"/>
                        <a:gd name="connsiteY42" fmla="*/ 1037429 h 1161254"/>
                        <a:gd name="connsiteX43" fmla="*/ 1457325 w 1927225"/>
                        <a:gd name="connsiteY43" fmla="*/ 992979 h 1161254"/>
                        <a:gd name="connsiteX44" fmla="*/ 1555750 w 1927225"/>
                        <a:gd name="connsiteY44" fmla="*/ 989804 h 1161254"/>
                        <a:gd name="connsiteX45" fmla="*/ 1616075 w 1927225"/>
                        <a:gd name="connsiteY45" fmla="*/ 1043779 h 1161254"/>
                        <a:gd name="connsiteX46" fmla="*/ 1676400 w 1927225"/>
                        <a:gd name="connsiteY46" fmla="*/ 973929 h 1161254"/>
                        <a:gd name="connsiteX47" fmla="*/ 1895475 w 1927225"/>
                        <a:gd name="connsiteY47" fmla="*/ 1161254 h 1161254"/>
                        <a:gd name="connsiteX48" fmla="*/ 1895475 w 1927225"/>
                        <a:gd name="connsiteY48" fmla="*/ 1161254 h 1161254"/>
                        <a:gd name="connsiteX49" fmla="*/ 1927225 w 1927225"/>
                        <a:gd name="connsiteY49" fmla="*/ 1139029 h 1161254"/>
                        <a:gd name="connsiteX50" fmla="*/ 1895475 w 1927225"/>
                        <a:gd name="connsiteY50" fmla="*/ 980279 h 1161254"/>
                        <a:gd name="connsiteX51" fmla="*/ 1778000 w 1927225"/>
                        <a:gd name="connsiteY51" fmla="*/ 926304 h 1161254"/>
                        <a:gd name="connsiteX52" fmla="*/ 1698625 w 1927225"/>
                        <a:gd name="connsiteY52" fmla="*/ 850104 h 1161254"/>
                        <a:gd name="connsiteX53" fmla="*/ 1679575 w 1927225"/>
                        <a:gd name="connsiteY53" fmla="*/ 732629 h 1161254"/>
                        <a:gd name="connsiteX54" fmla="*/ 1673225 w 1927225"/>
                        <a:gd name="connsiteY54" fmla="*/ 692942 h 1161254"/>
                        <a:gd name="connsiteX55" fmla="*/ 1694656 w 1927225"/>
                        <a:gd name="connsiteY55" fmla="*/ 645317 h 1161254"/>
                        <a:gd name="connsiteX56" fmla="*/ 1720850 w 1927225"/>
                        <a:gd name="connsiteY56" fmla="*/ 571498 h 1161254"/>
                        <a:gd name="connsiteX57" fmla="*/ 1747043 w 1927225"/>
                        <a:gd name="connsiteY57" fmla="*/ 528635 h 1161254"/>
                        <a:gd name="connsiteX58" fmla="*/ 1725613 w 1927225"/>
                        <a:gd name="connsiteY58" fmla="*/ 483392 h 1161254"/>
                        <a:gd name="connsiteX59" fmla="*/ 1716088 w 1927225"/>
                        <a:gd name="connsiteY59" fmla="*/ 431004 h 1161254"/>
                        <a:gd name="connsiteX60" fmla="*/ 1713706 w 1927225"/>
                        <a:gd name="connsiteY60" fmla="*/ 350042 h 1161254"/>
                        <a:gd name="connsiteX61" fmla="*/ 1713706 w 1927225"/>
                        <a:gd name="connsiteY61" fmla="*/ 309560 h 1161254"/>
                        <a:gd name="connsiteX62" fmla="*/ 1739900 w 1927225"/>
                        <a:gd name="connsiteY62" fmla="*/ 259554 h 1161254"/>
                        <a:gd name="connsiteX63" fmla="*/ 1680369 w 1927225"/>
                        <a:gd name="connsiteY63" fmla="*/ 216692 h 1161254"/>
                        <a:gd name="connsiteX64" fmla="*/ 1639888 w 1927225"/>
                        <a:gd name="connsiteY64" fmla="*/ 238123 h 1161254"/>
                        <a:gd name="connsiteX65" fmla="*/ 1558925 w 1927225"/>
                        <a:gd name="connsiteY65" fmla="*/ 195260 h 1161254"/>
                        <a:gd name="connsiteX66" fmla="*/ 1556544 w 1927225"/>
                        <a:gd name="connsiteY66" fmla="*/ 145254 h 1161254"/>
                        <a:gd name="connsiteX67" fmla="*/ 1563688 w 1927225"/>
                        <a:gd name="connsiteY67" fmla="*/ 95248 h 1161254"/>
                        <a:gd name="connsiteX68" fmla="*/ 1592263 w 1927225"/>
                        <a:gd name="connsiteY68" fmla="*/ 76197 h 1161254"/>
                        <a:gd name="connsiteX69" fmla="*/ 1537494 w 1927225"/>
                        <a:gd name="connsiteY69" fmla="*/ 40480 h 1161254"/>
                        <a:gd name="connsiteX70" fmla="*/ 1497013 w 1927225"/>
                        <a:gd name="connsiteY70" fmla="*/ 2379 h 1161254"/>
                        <a:gd name="connsiteX71" fmla="*/ 1427956 w 1927225"/>
                        <a:gd name="connsiteY71" fmla="*/ 0 h 1161254"/>
                        <a:gd name="connsiteX72" fmla="*/ 34925 w 1927225"/>
                        <a:gd name="connsiteY72" fmla="*/ 88104 h 1161254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34925 w 1927225"/>
                        <a:gd name="connsiteY72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6050 w 1927225"/>
                        <a:gd name="connsiteY72" fmla="*/ 40483 h 1158875"/>
                        <a:gd name="connsiteX73" fmla="*/ 34925 w 1927225"/>
                        <a:gd name="connsiteY73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34925 w 1927225"/>
                        <a:gd name="connsiteY73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77950 w 1927225"/>
                        <a:gd name="connsiteY73" fmla="*/ 47627 h 1158875"/>
                        <a:gd name="connsiteX74" fmla="*/ 34925 w 1927225"/>
                        <a:gd name="connsiteY74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34925 w 1927225"/>
                        <a:gd name="connsiteY74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56519 w 1927225"/>
                        <a:gd name="connsiteY74" fmla="*/ 66677 h 1158875"/>
                        <a:gd name="connsiteX75" fmla="*/ 34925 w 1927225"/>
                        <a:gd name="connsiteY75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34925 w 1927225"/>
                        <a:gd name="connsiteY75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89844 w 1927225"/>
                        <a:gd name="connsiteY75" fmla="*/ 23815 h 1158875"/>
                        <a:gd name="connsiteX76" fmla="*/ 34925 w 1927225"/>
                        <a:gd name="connsiteY76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34925 w 1927225"/>
                        <a:gd name="connsiteY76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185069 w 1927225"/>
                        <a:gd name="connsiteY76" fmla="*/ 138115 h 1158875"/>
                        <a:gd name="connsiteX77" fmla="*/ 34925 w 1927225"/>
                        <a:gd name="connsiteY77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34925 w 1927225"/>
                        <a:gd name="connsiteY77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4106 w 1927225"/>
                        <a:gd name="connsiteY77" fmla="*/ 200027 h 1158875"/>
                        <a:gd name="connsiteX78" fmla="*/ 34925 w 1927225"/>
                        <a:gd name="connsiteY78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34925 w 1927225"/>
                        <a:gd name="connsiteY78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1244 w 1927225"/>
                        <a:gd name="connsiteY78" fmla="*/ 119065 h 1158875"/>
                        <a:gd name="connsiteX79" fmla="*/ 34925 w 1927225"/>
                        <a:gd name="connsiteY79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34925 w 1927225"/>
                        <a:gd name="connsiteY79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27906 w 1927225"/>
                        <a:gd name="connsiteY79" fmla="*/ 57152 h 1158875"/>
                        <a:gd name="connsiteX80" fmla="*/ 34925 w 1927225"/>
                        <a:gd name="connsiteY80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34925 w 1927225"/>
                        <a:gd name="connsiteY80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73138 w 1927225"/>
                        <a:gd name="connsiteY80" fmla="*/ 80965 h 1158875"/>
                        <a:gd name="connsiteX81" fmla="*/ 34925 w 1927225"/>
                        <a:gd name="connsiteY81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34925 w 1927225"/>
                        <a:gd name="connsiteY81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87413 w 1927225"/>
                        <a:gd name="connsiteY81" fmla="*/ 50008 h 1158875"/>
                        <a:gd name="connsiteX82" fmla="*/ 34925 w 1927225"/>
                        <a:gd name="connsiteY82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34925 w 1927225"/>
                        <a:gd name="connsiteY82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08819 w 1927225"/>
                        <a:gd name="connsiteY82" fmla="*/ 119065 h 1158875"/>
                        <a:gd name="connsiteX83" fmla="*/ 34925 w 1927225"/>
                        <a:gd name="connsiteY83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34925 w 1927225"/>
                        <a:gd name="connsiteY83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54050 w 1927225"/>
                        <a:gd name="connsiteY83" fmla="*/ 121446 h 1158875"/>
                        <a:gd name="connsiteX84" fmla="*/ 34925 w 1927225"/>
                        <a:gd name="connsiteY84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34925 w 1927225"/>
                        <a:gd name="connsiteY84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44513 w 1927225"/>
                        <a:gd name="connsiteY84" fmla="*/ 176215 h 1158875"/>
                        <a:gd name="connsiteX85" fmla="*/ 34925 w 1927225"/>
                        <a:gd name="connsiteY85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34925 w 1927225"/>
                        <a:gd name="connsiteY85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520700 w 1927225"/>
                        <a:gd name="connsiteY85" fmla="*/ 176215 h 1158875"/>
                        <a:gd name="connsiteX86" fmla="*/ 34925 w 1927225"/>
                        <a:gd name="connsiteY86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523081 w 1927225"/>
                        <a:gd name="connsiteY85" fmla="*/ 211933 h 1158875"/>
                        <a:gd name="connsiteX86" fmla="*/ 34925 w 1927225"/>
                        <a:gd name="connsiteY86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523081 w 1927225"/>
                        <a:gd name="connsiteY85" fmla="*/ 211933 h 1158875"/>
                        <a:gd name="connsiteX86" fmla="*/ 415925 w 1927225"/>
                        <a:gd name="connsiteY86" fmla="*/ 185740 h 1158875"/>
                        <a:gd name="connsiteX87" fmla="*/ 34925 w 1927225"/>
                        <a:gd name="connsiteY87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523081 w 1927225"/>
                        <a:gd name="connsiteY85" fmla="*/ 211933 h 1158875"/>
                        <a:gd name="connsiteX86" fmla="*/ 311150 w 1927225"/>
                        <a:gd name="connsiteY86" fmla="*/ 92871 h 1158875"/>
                        <a:gd name="connsiteX87" fmla="*/ 34925 w 1927225"/>
                        <a:gd name="connsiteY87" fmla="*/ 85725 h 1158875"/>
                        <a:gd name="connsiteX0" fmla="*/ 34925 w 1927225"/>
                        <a:gd name="connsiteY0" fmla="*/ 90487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523081 w 1927225"/>
                        <a:gd name="connsiteY85" fmla="*/ 211933 h 1158875"/>
                        <a:gd name="connsiteX86" fmla="*/ 311150 w 1927225"/>
                        <a:gd name="connsiteY86" fmla="*/ 92871 h 1158875"/>
                        <a:gd name="connsiteX87" fmla="*/ 34925 w 1927225"/>
                        <a:gd name="connsiteY87" fmla="*/ 90487 h 1158875"/>
                        <a:gd name="connsiteX0" fmla="*/ 34925 w 1927225"/>
                        <a:gd name="connsiteY0" fmla="*/ 90487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797050 w 1927225"/>
                        <a:gd name="connsiteY47" fmla="*/ 1073946 h 1158875"/>
                        <a:gd name="connsiteX48" fmla="*/ 1895475 w 1927225"/>
                        <a:gd name="connsiteY48" fmla="*/ 1158875 h 1158875"/>
                        <a:gd name="connsiteX49" fmla="*/ 1895475 w 1927225"/>
                        <a:gd name="connsiteY49" fmla="*/ 1158875 h 1158875"/>
                        <a:gd name="connsiteX50" fmla="*/ 1927225 w 1927225"/>
                        <a:gd name="connsiteY50" fmla="*/ 1136650 h 1158875"/>
                        <a:gd name="connsiteX51" fmla="*/ 1895475 w 1927225"/>
                        <a:gd name="connsiteY51" fmla="*/ 977900 h 1158875"/>
                        <a:gd name="connsiteX52" fmla="*/ 1778000 w 1927225"/>
                        <a:gd name="connsiteY52" fmla="*/ 923925 h 1158875"/>
                        <a:gd name="connsiteX53" fmla="*/ 1698625 w 1927225"/>
                        <a:gd name="connsiteY53" fmla="*/ 847725 h 1158875"/>
                        <a:gd name="connsiteX54" fmla="*/ 1679575 w 1927225"/>
                        <a:gd name="connsiteY54" fmla="*/ 730250 h 1158875"/>
                        <a:gd name="connsiteX55" fmla="*/ 1673225 w 1927225"/>
                        <a:gd name="connsiteY55" fmla="*/ 690563 h 1158875"/>
                        <a:gd name="connsiteX56" fmla="*/ 1694656 w 1927225"/>
                        <a:gd name="connsiteY56" fmla="*/ 642938 h 1158875"/>
                        <a:gd name="connsiteX57" fmla="*/ 1720850 w 1927225"/>
                        <a:gd name="connsiteY57" fmla="*/ 569119 h 1158875"/>
                        <a:gd name="connsiteX58" fmla="*/ 1747043 w 1927225"/>
                        <a:gd name="connsiteY58" fmla="*/ 526256 h 1158875"/>
                        <a:gd name="connsiteX59" fmla="*/ 1725613 w 1927225"/>
                        <a:gd name="connsiteY59" fmla="*/ 481013 h 1158875"/>
                        <a:gd name="connsiteX60" fmla="*/ 1716088 w 1927225"/>
                        <a:gd name="connsiteY60" fmla="*/ 428625 h 1158875"/>
                        <a:gd name="connsiteX61" fmla="*/ 1713706 w 1927225"/>
                        <a:gd name="connsiteY61" fmla="*/ 347663 h 1158875"/>
                        <a:gd name="connsiteX62" fmla="*/ 1713706 w 1927225"/>
                        <a:gd name="connsiteY62" fmla="*/ 307181 h 1158875"/>
                        <a:gd name="connsiteX63" fmla="*/ 1739900 w 1927225"/>
                        <a:gd name="connsiteY63" fmla="*/ 257175 h 1158875"/>
                        <a:gd name="connsiteX64" fmla="*/ 1680369 w 1927225"/>
                        <a:gd name="connsiteY64" fmla="*/ 214313 h 1158875"/>
                        <a:gd name="connsiteX65" fmla="*/ 1639888 w 1927225"/>
                        <a:gd name="connsiteY65" fmla="*/ 235744 h 1158875"/>
                        <a:gd name="connsiteX66" fmla="*/ 1558925 w 1927225"/>
                        <a:gd name="connsiteY66" fmla="*/ 192881 h 1158875"/>
                        <a:gd name="connsiteX67" fmla="*/ 1556544 w 1927225"/>
                        <a:gd name="connsiteY67" fmla="*/ 142875 h 1158875"/>
                        <a:gd name="connsiteX68" fmla="*/ 1563688 w 1927225"/>
                        <a:gd name="connsiteY68" fmla="*/ 92869 h 1158875"/>
                        <a:gd name="connsiteX69" fmla="*/ 1592263 w 1927225"/>
                        <a:gd name="connsiteY69" fmla="*/ 73818 h 1158875"/>
                        <a:gd name="connsiteX70" fmla="*/ 1537494 w 1927225"/>
                        <a:gd name="connsiteY70" fmla="*/ 38101 h 1158875"/>
                        <a:gd name="connsiteX71" fmla="*/ 1497013 w 1927225"/>
                        <a:gd name="connsiteY71" fmla="*/ 0 h 1158875"/>
                        <a:gd name="connsiteX72" fmla="*/ 1470819 w 1927225"/>
                        <a:gd name="connsiteY72" fmla="*/ 40483 h 1158875"/>
                        <a:gd name="connsiteX73" fmla="*/ 1411288 w 1927225"/>
                        <a:gd name="connsiteY73" fmla="*/ 45245 h 1158875"/>
                        <a:gd name="connsiteX74" fmla="*/ 1394619 w 1927225"/>
                        <a:gd name="connsiteY74" fmla="*/ 61915 h 1158875"/>
                        <a:gd name="connsiteX75" fmla="*/ 1349375 w 1927225"/>
                        <a:gd name="connsiteY75" fmla="*/ 23814 h 1158875"/>
                        <a:gd name="connsiteX76" fmla="*/ 1261269 w 1927225"/>
                        <a:gd name="connsiteY76" fmla="*/ 145258 h 1158875"/>
                        <a:gd name="connsiteX77" fmla="*/ 1208881 w 1927225"/>
                        <a:gd name="connsiteY77" fmla="*/ 207171 h 1158875"/>
                        <a:gd name="connsiteX78" fmla="*/ 1106488 w 1927225"/>
                        <a:gd name="connsiteY78" fmla="*/ 123827 h 1158875"/>
                        <a:gd name="connsiteX79" fmla="*/ 1068387 w 1927225"/>
                        <a:gd name="connsiteY79" fmla="*/ 54771 h 1158875"/>
                        <a:gd name="connsiteX80" fmla="*/ 1030288 w 1927225"/>
                        <a:gd name="connsiteY80" fmla="*/ 83346 h 1158875"/>
                        <a:gd name="connsiteX81" fmla="*/ 961231 w 1927225"/>
                        <a:gd name="connsiteY81" fmla="*/ 47627 h 1158875"/>
                        <a:gd name="connsiteX82" fmla="*/ 863600 w 1927225"/>
                        <a:gd name="connsiteY82" fmla="*/ 128590 h 1158875"/>
                        <a:gd name="connsiteX83" fmla="*/ 737394 w 1927225"/>
                        <a:gd name="connsiteY83" fmla="*/ 126208 h 1158875"/>
                        <a:gd name="connsiteX84" fmla="*/ 625475 w 1927225"/>
                        <a:gd name="connsiteY84" fmla="*/ 195265 h 1158875"/>
                        <a:gd name="connsiteX85" fmla="*/ 575469 w 1927225"/>
                        <a:gd name="connsiteY85" fmla="*/ 188121 h 1158875"/>
                        <a:gd name="connsiteX86" fmla="*/ 523081 w 1927225"/>
                        <a:gd name="connsiteY86" fmla="*/ 211933 h 1158875"/>
                        <a:gd name="connsiteX87" fmla="*/ 311150 w 1927225"/>
                        <a:gd name="connsiteY87" fmla="*/ 92871 h 1158875"/>
                        <a:gd name="connsiteX88" fmla="*/ 34925 w 1927225"/>
                        <a:gd name="connsiteY88" fmla="*/ 90487 h 1158875"/>
                        <a:gd name="connsiteX0" fmla="*/ 34925 w 1927225"/>
                        <a:gd name="connsiteY0" fmla="*/ 90487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763712 w 1927225"/>
                        <a:gd name="connsiteY47" fmla="*/ 1085852 h 1158875"/>
                        <a:gd name="connsiteX48" fmla="*/ 1895475 w 1927225"/>
                        <a:gd name="connsiteY48" fmla="*/ 1158875 h 1158875"/>
                        <a:gd name="connsiteX49" fmla="*/ 1895475 w 1927225"/>
                        <a:gd name="connsiteY49" fmla="*/ 1158875 h 1158875"/>
                        <a:gd name="connsiteX50" fmla="*/ 1927225 w 1927225"/>
                        <a:gd name="connsiteY50" fmla="*/ 1136650 h 1158875"/>
                        <a:gd name="connsiteX51" fmla="*/ 1895475 w 1927225"/>
                        <a:gd name="connsiteY51" fmla="*/ 977900 h 1158875"/>
                        <a:gd name="connsiteX52" fmla="*/ 1778000 w 1927225"/>
                        <a:gd name="connsiteY52" fmla="*/ 923925 h 1158875"/>
                        <a:gd name="connsiteX53" fmla="*/ 1698625 w 1927225"/>
                        <a:gd name="connsiteY53" fmla="*/ 847725 h 1158875"/>
                        <a:gd name="connsiteX54" fmla="*/ 1679575 w 1927225"/>
                        <a:gd name="connsiteY54" fmla="*/ 730250 h 1158875"/>
                        <a:gd name="connsiteX55" fmla="*/ 1673225 w 1927225"/>
                        <a:gd name="connsiteY55" fmla="*/ 690563 h 1158875"/>
                        <a:gd name="connsiteX56" fmla="*/ 1694656 w 1927225"/>
                        <a:gd name="connsiteY56" fmla="*/ 642938 h 1158875"/>
                        <a:gd name="connsiteX57" fmla="*/ 1720850 w 1927225"/>
                        <a:gd name="connsiteY57" fmla="*/ 569119 h 1158875"/>
                        <a:gd name="connsiteX58" fmla="*/ 1747043 w 1927225"/>
                        <a:gd name="connsiteY58" fmla="*/ 526256 h 1158875"/>
                        <a:gd name="connsiteX59" fmla="*/ 1725613 w 1927225"/>
                        <a:gd name="connsiteY59" fmla="*/ 481013 h 1158875"/>
                        <a:gd name="connsiteX60" fmla="*/ 1716088 w 1927225"/>
                        <a:gd name="connsiteY60" fmla="*/ 428625 h 1158875"/>
                        <a:gd name="connsiteX61" fmla="*/ 1713706 w 1927225"/>
                        <a:gd name="connsiteY61" fmla="*/ 347663 h 1158875"/>
                        <a:gd name="connsiteX62" fmla="*/ 1713706 w 1927225"/>
                        <a:gd name="connsiteY62" fmla="*/ 307181 h 1158875"/>
                        <a:gd name="connsiteX63" fmla="*/ 1739900 w 1927225"/>
                        <a:gd name="connsiteY63" fmla="*/ 257175 h 1158875"/>
                        <a:gd name="connsiteX64" fmla="*/ 1680369 w 1927225"/>
                        <a:gd name="connsiteY64" fmla="*/ 214313 h 1158875"/>
                        <a:gd name="connsiteX65" fmla="*/ 1639888 w 1927225"/>
                        <a:gd name="connsiteY65" fmla="*/ 235744 h 1158875"/>
                        <a:gd name="connsiteX66" fmla="*/ 1558925 w 1927225"/>
                        <a:gd name="connsiteY66" fmla="*/ 192881 h 1158875"/>
                        <a:gd name="connsiteX67" fmla="*/ 1556544 w 1927225"/>
                        <a:gd name="connsiteY67" fmla="*/ 142875 h 1158875"/>
                        <a:gd name="connsiteX68" fmla="*/ 1563688 w 1927225"/>
                        <a:gd name="connsiteY68" fmla="*/ 92869 h 1158875"/>
                        <a:gd name="connsiteX69" fmla="*/ 1592263 w 1927225"/>
                        <a:gd name="connsiteY69" fmla="*/ 73818 h 1158875"/>
                        <a:gd name="connsiteX70" fmla="*/ 1537494 w 1927225"/>
                        <a:gd name="connsiteY70" fmla="*/ 38101 h 1158875"/>
                        <a:gd name="connsiteX71" fmla="*/ 1497013 w 1927225"/>
                        <a:gd name="connsiteY71" fmla="*/ 0 h 1158875"/>
                        <a:gd name="connsiteX72" fmla="*/ 1470819 w 1927225"/>
                        <a:gd name="connsiteY72" fmla="*/ 40483 h 1158875"/>
                        <a:gd name="connsiteX73" fmla="*/ 1411288 w 1927225"/>
                        <a:gd name="connsiteY73" fmla="*/ 45245 h 1158875"/>
                        <a:gd name="connsiteX74" fmla="*/ 1394619 w 1927225"/>
                        <a:gd name="connsiteY74" fmla="*/ 61915 h 1158875"/>
                        <a:gd name="connsiteX75" fmla="*/ 1349375 w 1927225"/>
                        <a:gd name="connsiteY75" fmla="*/ 23814 h 1158875"/>
                        <a:gd name="connsiteX76" fmla="*/ 1261269 w 1927225"/>
                        <a:gd name="connsiteY76" fmla="*/ 145258 h 1158875"/>
                        <a:gd name="connsiteX77" fmla="*/ 1208881 w 1927225"/>
                        <a:gd name="connsiteY77" fmla="*/ 207171 h 1158875"/>
                        <a:gd name="connsiteX78" fmla="*/ 1106488 w 1927225"/>
                        <a:gd name="connsiteY78" fmla="*/ 123827 h 1158875"/>
                        <a:gd name="connsiteX79" fmla="*/ 1068387 w 1927225"/>
                        <a:gd name="connsiteY79" fmla="*/ 54771 h 1158875"/>
                        <a:gd name="connsiteX80" fmla="*/ 1030288 w 1927225"/>
                        <a:gd name="connsiteY80" fmla="*/ 83346 h 1158875"/>
                        <a:gd name="connsiteX81" fmla="*/ 961231 w 1927225"/>
                        <a:gd name="connsiteY81" fmla="*/ 47627 h 1158875"/>
                        <a:gd name="connsiteX82" fmla="*/ 863600 w 1927225"/>
                        <a:gd name="connsiteY82" fmla="*/ 128590 h 1158875"/>
                        <a:gd name="connsiteX83" fmla="*/ 737394 w 1927225"/>
                        <a:gd name="connsiteY83" fmla="*/ 126208 h 1158875"/>
                        <a:gd name="connsiteX84" fmla="*/ 625475 w 1927225"/>
                        <a:gd name="connsiteY84" fmla="*/ 195265 h 1158875"/>
                        <a:gd name="connsiteX85" fmla="*/ 575469 w 1927225"/>
                        <a:gd name="connsiteY85" fmla="*/ 188121 h 1158875"/>
                        <a:gd name="connsiteX86" fmla="*/ 523081 w 1927225"/>
                        <a:gd name="connsiteY86" fmla="*/ 211933 h 1158875"/>
                        <a:gd name="connsiteX87" fmla="*/ 311150 w 1927225"/>
                        <a:gd name="connsiteY87" fmla="*/ 92871 h 1158875"/>
                        <a:gd name="connsiteX88" fmla="*/ 34925 w 1927225"/>
                        <a:gd name="connsiteY88" fmla="*/ 90487 h 115887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</a:cxnLst>
                      <a:rect l="l" t="t" r="r" b="b"/>
                      <a:pathLst>
                        <a:path w="1927225" h="1158875">
                          <a:moveTo>
                            <a:pt x="34925" y="90487"/>
                          </a:moveTo>
                          <a:lnTo>
                            <a:pt x="15875" y="101600"/>
                          </a:lnTo>
                          <a:lnTo>
                            <a:pt x="3175" y="133350"/>
                          </a:lnTo>
                          <a:lnTo>
                            <a:pt x="0" y="165100"/>
                          </a:lnTo>
                          <a:lnTo>
                            <a:pt x="3175" y="196850"/>
                          </a:lnTo>
                          <a:lnTo>
                            <a:pt x="38100" y="231775"/>
                          </a:lnTo>
                          <a:lnTo>
                            <a:pt x="82550" y="187325"/>
                          </a:lnTo>
                          <a:lnTo>
                            <a:pt x="120650" y="231775"/>
                          </a:lnTo>
                          <a:lnTo>
                            <a:pt x="177800" y="234950"/>
                          </a:lnTo>
                          <a:lnTo>
                            <a:pt x="222250" y="260350"/>
                          </a:lnTo>
                          <a:lnTo>
                            <a:pt x="228600" y="288925"/>
                          </a:lnTo>
                          <a:lnTo>
                            <a:pt x="231775" y="307975"/>
                          </a:lnTo>
                          <a:lnTo>
                            <a:pt x="228600" y="339725"/>
                          </a:lnTo>
                          <a:lnTo>
                            <a:pt x="257175" y="368300"/>
                          </a:lnTo>
                          <a:lnTo>
                            <a:pt x="279400" y="415925"/>
                          </a:lnTo>
                          <a:lnTo>
                            <a:pt x="279400" y="457200"/>
                          </a:lnTo>
                          <a:lnTo>
                            <a:pt x="279400" y="488950"/>
                          </a:lnTo>
                          <a:lnTo>
                            <a:pt x="333375" y="600075"/>
                          </a:lnTo>
                          <a:lnTo>
                            <a:pt x="346075" y="622300"/>
                          </a:lnTo>
                          <a:lnTo>
                            <a:pt x="285750" y="641350"/>
                          </a:lnTo>
                          <a:lnTo>
                            <a:pt x="225425" y="581025"/>
                          </a:lnTo>
                          <a:lnTo>
                            <a:pt x="184150" y="631825"/>
                          </a:lnTo>
                          <a:lnTo>
                            <a:pt x="314325" y="742950"/>
                          </a:lnTo>
                          <a:lnTo>
                            <a:pt x="352425" y="714375"/>
                          </a:lnTo>
                          <a:lnTo>
                            <a:pt x="403225" y="704850"/>
                          </a:lnTo>
                          <a:lnTo>
                            <a:pt x="469900" y="714375"/>
                          </a:lnTo>
                          <a:lnTo>
                            <a:pt x="615950" y="663575"/>
                          </a:lnTo>
                          <a:lnTo>
                            <a:pt x="803275" y="596900"/>
                          </a:lnTo>
                          <a:lnTo>
                            <a:pt x="911225" y="654050"/>
                          </a:lnTo>
                          <a:lnTo>
                            <a:pt x="1016000" y="736600"/>
                          </a:lnTo>
                          <a:lnTo>
                            <a:pt x="1092200" y="685800"/>
                          </a:lnTo>
                          <a:lnTo>
                            <a:pt x="1171575" y="720725"/>
                          </a:lnTo>
                          <a:lnTo>
                            <a:pt x="1200150" y="727075"/>
                          </a:lnTo>
                          <a:lnTo>
                            <a:pt x="1203325" y="812800"/>
                          </a:lnTo>
                          <a:lnTo>
                            <a:pt x="1219200" y="847725"/>
                          </a:lnTo>
                          <a:lnTo>
                            <a:pt x="1238250" y="873125"/>
                          </a:lnTo>
                          <a:lnTo>
                            <a:pt x="1231900" y="952500"/>
                          </a:lnTo>
                          <a:lnTo>
                            <a:pt x="1212850" y="996950"/>
                          </a:lnTo>
                          <a:lnTo>
                            <a:pt x="1209675" y="1025525"/>
                          </a:lnTo>
                          <a:lnTo>
                            <a:pt x="1282700" y="1031875"/>
                          </a:lnTo>
                          <a:lnTo>
                            <a:pt x="1311275" y="1019175"/>
                          </a:lnTo>
                          <a:lnTo>
                            <a:pt x="1352550" y="1000125"/>
                          </a:lnTo>
                          <a:lnTo>
                            <a:pt x="1425575" y="1035050"/>
                          </a:lnTo>
                          <a:lnTo>
                            <a:pt x="1457325" y="990600"/>
                          </a:lnTo>
                          <a:lnTo>
                            <a:pt x="1555750" y="987425"/>
                          </a:lnTo>
                          <a:lnTo>
                            <a:pt x="1616075" y="1041400"/>
                          </a:lnTo>
                          <a:lnTo>
                            <a:pt x="1676400" y="971550"/>
                          </a:lnTo>
                          <a:lnTo>
                            <a:pt x="1763712" y="1085852"/>
                          </a:lnTo>
                          <a:lnTo>
                            <a:pt x="1895475" y="1158875"/>
                          </a:lnTo>
                          <a:lnTo>
                            <a:pt x="1895475" y="1158875"/>
                          </a:lnTo>
                          <a:lnTo>
                            <a:pt x="1927225" y="1136650"/>
                          </a:lnTo>
                          <a:lnTo>
                            <a:pt x="1895475" y="977900"/>
                          </a:lnTo>
                          <a:lnTo>
                            <a:pt x="1778000" y="923925"/>
                          </a:lnTo>
                          <a:lnTo>
                            <a:pt x="1698625" y="847725"/>
                          </a:lnTo>
                          <a:lnTo>
                            <a:pt x="1679575" y="730250"/>
                          </a:lnTo>
                          <a:lnTo>
                            <a:pt x="1673225" y="690563"/>
                          </a:lnTo>
                          <a:lnTo>
                            <a:pt x="1694656" y="642938"/>
                          </a:lnTo>
                          <a:lnTo>
                            <a:pt x="1720850" y="569119"/>
                          </a:lnTo>
                          <a:lnTo>
                            <a:pt x="1747043" y="526256"/>
                          </a:lnTo>
                          <a:lnTo>
                            <a:pt x="1725613" y="481013"/>
                          </a:lnTo>
                          <a:lnTo>
                            <a:pt x="1716088" y="428625"/>
                          </a:lnTo>
                          <a:lnTo>
                            <a:pt x="1713706" y="347663"/>
                          </a:lnTo>
                          <a:lnTo>
                            <a:pt x="1713706" y="307181"/>
                          </a:lnTo>
                          <a:lnTo>
                            <a:pt x="1739900" y="257175"/>
                          </a:lnTo>
                          <a:lnTo>
                            <a:pt x="1680369" y="214313"/>
                          </a:lnTo>
                          <a:lnTo>
                            <a:pt x="1639888" y="235744"/>
                          </a:lnTo>
                          <a:lnTo>
                            <a:pt x="1558925" y="192881"/>
                          </a:lnTo>
                          <a:lnTo>
                            <a:pt x="1556544" y="142875"/>
                          </a:lnTo>
                          <a:lnTo>
                            <a:pt x="1563688" y="92869"/>
                          </a:lnTo>
                          <a:lnTo>
                            <a:pt x="1592263" y="73818"/>
                          </a:lnTo>
                          <a:lnTo>
                            <a:pt x="1537494" y="38101"/>
                          </a:lnTo>
                          <a:lnTo>
                            <a:pt x="1497013" y="0"/>
                          </a:lnTo>
                          <a:lnTo>
                            <a:pt x="1470819" y="40483"/>
                          </a:lnTo>
                          <a:lnTo>
                            <a:pt x="1411288" y="45245"/>
                          </a:lnTo>
                          <a:lnTo>
                            <a:pt x="1394619" y="61915"/>
                          </a:lnTo>
                          <a:lnTo>
                            <a:pt x="1349375" y="23814"/>
                          </a:lnTo>
                          <a:lnTo>
                            <a:pt x="1261269" y="145258"/>
                          </a:lnTo>
                          <a:lnTo>
                            <a:pt x="1208881" y="207171"/>
                          </a:lnTo>
                          <a:lnTo>
                            <a:pt x="1106488" y="123827"/>
                          </a:lnTo>
                          <a:lnTo>
                            <a:pt x="1068387" y="54771"/>
                          </a:lnTo>
                          <a:lnTo>
                            <a:pt x="1030288" y="83346"/>
                          </a:lnTo>
                          <a:lnTo>
                            <a:pt x="961231" y="47627"/>
                          </a:lnTo>
                          <a:lnTo>
                            <a:pt x="863600" y="128590"/>
                          </a:lnTo>
                          <a:lnTo>
                            <a:pt x="737394" y="126208"/>
                          </a:lnTo>
                          <a:lnTo>
                            <a:pt x="625475" y="195265"/>
                          </a:lnTo>
                          <a:lnTo>
                            <a:pt x="575469" y="188121"/>
                          </a:lnTo>
                          <a:lnTo>
                            <a:pt x="523081" y="211933"/>
                          </a:lnTo>
                          <a:lnTo>
                            <a:pt x="311150" y="92871"/>
                          </a:lnTo>
                          <a:lnTo>
                            <a:pt x="34925" y="90487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8" name="Freeform 10"/>
                    <p:cNvSpPr/>
                    <p:nvPr/>
                  </p:nvSpPr>
                  <p:spPr>
                    <a:xfrm>
                      <a:off x="2163032" y="1718865"/>
                      <a:ext cx="1578630" cy="1280796"/>
                    </a:xfrm>
                    <a:custGeom>
                      <a:avLst/>
                      <a:gdLst>
                        <a:gd name="connsiteX0" fmla="*/ 450056 w 2245518"/>
                        <a:gd name="connsiteY0" fmla="*/ 1964531 h 1964531"/>
                        <a:gd name="connsiteX1" fmla="*/ 914400 w 2245518"/>
                        <a:gd name="connsiteY1" fmla="*/ 1888331 h 1964531"/>
                        <a:gd name="connsiteX2" fmla="*/ 921543 w 2245518"/>
                        <a:gd name="connsiteY2" fmla="*/ 1835943 h 1964531"/>
                        <a:gd name="connsiteX3" fmla="*/ 962025 w 2245518"/>
                        <a:gd name="connsiteY3" fmla="*/ 1752600 h 1964531"/>
                        <a:gd name="connsiteX4" fmla="*/ 1033462 w 2245518"/>
                        <a:gd name="connsiteY4" fmla="*/ 1757362 h 1964531"/>
                        <a:gd name="connsiteX5" fmla="*/ 1276350 w 2245518"/>
                        <a:gd name="connsiteY5" fmla="*/ 1507331 h 1964531"/>
                        <a:gd name="connsiteX6" fmla="*/ 1316831 w 2245518"/>
                        <a:gd name="connsiteY6" fmla="*/ 1521618 h 1964531"/>
                        <a:gd name="connsiteX7" fmla="*/ 1343025 w 2245518"/>
                        <a:gd name="connsiteY7" fmla="*/ 1421606 h 1964531"/>
                        <a:gd name="connsiteX8" fmla="*/ 1469231 w 2245518"/>
                        <a:gd name="connsiteY8" fmla="*/ 1440656 h 1964531"/>
                        <a:gd name="connsiteX9" fmla="*/ 1571625 w 2245518"/>
                        <a:gd name="connsiteY9" fmla="*/ 1240631 h 1964531"/>
                        <a:gd name="connsiteX10" fmla="*/ 1688306 w 2245518"/>
                        <a:gd name="connsiteY10" fmla="*/ 1231106 h 1964531"/>
                        <a:gd name="connsiteX11" fmla="*/ 1816893 w 2245518"/>
                        <a:gd name="connsiteY11" fmla="*/ 1350168 h 1964531"/>
                        <a:gd name="connsiteX12" fmla="*/ 1850231 w 2245518"/>
                        <a:gd name="connsiteY12" fmla="*/ 1404937 h 1964531"/>
                        <a:gd name="connsiteX13" fmla="*/ 1847850 w 2245518"/>
                        <a:gd name="connsiteY13" fmla="*/ 1433512 h 1964531"/>
                        <a:gd name="connsiteX14" fmla="*/ 1935956 w 2245518"/>
                        <a:gd name="connsiteY14" fmla="*/ 1488281 h 1964531"/>
                        <a:gd name="connsiteX15" fmla="*/ 2000250 w 2245518"/>
                        <a:gd name="connsiteY15" fmla="*/ 1431131 h 1964531"/>
                        <a:gd name="connsiteX16" fmla="*/ 2245518 w 2245518"/>
                        <a:gd name="connsiteY16" fmla="*/ 1254918 h 1964531"/>
                        <a:gd name="connsiteX17" fmla="*/ 2219325 w 2245518"/>
                        <a:gd name="connsiteY17" fmla="*/ 1209675 h 1964531"/>
                        <a:gd name="connsiteX18" fmla="*/ 2190750 w 2245518"/>
                        <a:gd name="connsiteY18" fmla="*/ 1185862 h 1964531"/>
                        <a:gd name="connsiteX19" fmla="*/ 2195512 w 2245518"/>
                        <a:gd name="connsiteY19" fmla="*/ 1145381 h 1964531"/>
                        <a:gd name="connsiteX20" fmla="*/ 2164556 w 2245518"/>
                        <a:gd name="connsiteY20" fmla="*/ 1064418 h 1964531"/>
                        <a:gd name="connsiteX21" fmla="*/ 2121693 w 2245518"/>
                        <a:gd name="connsiteY21" fmla="*/ 1033462 h 1964531"/>
                        <a:gd name="connsiteX22" fmla="*/ 1974056 w 2245518"/>
                        <a:gd name="connsiteY22" fmla="*/ 952500 h 1964531"/>
                        <a:gd name="connsiteX23" fmla="*/ 1997868 w 2245518"/>
                        <a:gd name="connsiteY23" fmla="*/ 895350 h 1964531"/>
                        <a:gd name="connsiteX24" fmla="*/ 1971675 w 2245518"/>
                        <a:gd name="connsiteY24" fmla="*/ 871537 h 1964531"/>
                        <a:gd name="connsiteX25" fmla="*/ 1921668 w 2245518"/>
                        <a:gd name="connsiteY25" fmla="*/ 909637 h 1964531"/>
                        <a:gd name="connsiteX26" fmla="*/ 1838325 w 2245518"/>
                        <a:gd name="connsiteY26" fmla="*/ 828675 h 1964531"/>
                        <a:gd name="connsiteX27" fmla="*/ 1862137 w 2245518"/>
                        <a:gd name="connsiteY27" fmla="*/ 785812 h 1964531"/>
                        <a:gd name="connsiteX28" fmla="*/ 1852612 w 2245518"/>
                        <a:gd name="connsiteY28" fmla="*/ 688181 h 1964531"/>
                        <a:gd name="connsiteX29" fmla="*/ 1950243 w 2245518"/>
                        <a:gd name="connsiteY29" fmla="*/ 571500 h 1964531"/>
                        <a:gd name="connsiteX30" fmla="*/ 1988343 w 2245518"/>
                        <a:gd name="connsiteY30" fmla="*/ 547687 h 1964531"/>
                        <a:gd name="connsiteX31" fmla="*/ 1952625 w 2245518"/>
                        <a:gd name="connsiteY31" fmla="*/ 411956 h 1964531"/>
                        <a:gd name="connsiteX32" fmla="*/ 1881187 w 2245518"/>
                        <a:gd name="connsiteY32" fmla="*/ 290512 h 1964531"/>
                        <a:gd name="connsiteX33" fmla="*/ 1874043 w 2245518"/>
                        <a:gd name="connsiteY33" fmla="*/ 259556 h 1964531"/>
                        <a:gd name="connsiteX34" fmla="*/ 1912143 w 2245518"/>
                        <a:gd name="connsiteY34" fmla="*/ 238125 h 1964531"/>
                        <a:gd name="connsiteX35" fmla="*/ 1850231 w 2245518"/>
                        <a:gd name="connsiteY35" fmla="*/ 142875 h 1964531"/>
                        <a:gd name="connsiteX36" fmla="*/ 1807368 w 2245518"/>
                        <a:gd name="connsiteY36" fmla="*/ 183356 h 1964531"/>
                        <a:gd name="connsiteX37" fmla="*/ 1809750 w 2245518"/>
                        <a:gd name="connsiteY37" fmla="*/ 90487 h 1964531"/>
                        <a:gd name="connsiteX38" fmla="*/ 1731168 w 2245518"/>
                        <a:gd name="connsiteY38" fmla="*/ 97631 h 1964531"/>
                        <a:gd name="connsiteX39" fmla="*/ 1716881 w 2245518"/>
                        <a:gd name="connsiteY39" fmla="*/ 140493 h 1964531"/>
                        <a:gd name="connsiteX40" fmla="*/ 1697831 w 2245518"/>
                        <a:gd name="connsiteY40" fmla="*/ 180975 h 1964531"/>
                        <a:gd name="connsiteX41" fmla="*/ 1688306 w 2245518"/>
                        <a:gd name="connsiteY41" fmla="*/ 219075 h 1964531"/>
                        <a:gd name="connsiteX42" fmla="*/ 1633537 w 2245518"/>
                        <a:gd name="connsiteY42" fmla="*/ 266700 h 1964531"/>
                        <a:gd name="connsiteX43" fmla="*/ 1485900 w 2245518"/>
                        <a:gd name="connsiteY43" fmla="*/ 273843 h 1964531"/>
                        <a:gd name="connsiteX44" fmla="*/ 1445418 w 2245518"/>
                        <a:gd name="connsiteY44" fmla="*/ 271462 h 1964531"/>
                        <a:gd name="connsiteX45" fmla="*/ 1412081 w 2245518"/>
                        <a:gd name="connsiteY45" fmla="*/ 216693 h 1964531"/>
                        <a:gd name="connsiteX46" fmla="*/ 1376362 w 2245518"/>
                        <a:gd name="connsiteY46" fmla="*/ 216693 h 1964531"/>
                        <a:gd name="connsiteX47" fmla="*/ 1366837 w 2245518"/>
                        <a:gd name="connsiteY47" fmla="*/ 254793 h 1964531"/>
                        <a:gd name="connsiteX48" fmla="*/ 1352550 w 2245518"/>
                        <a:gd name="connsiteY48" fmla="*/ 302418 h 1964531"/>
                        <a:gd name="connsiteX49" fmla="*/ 1309687 w 2245518"/>
                        <a:gd name="connsiteY49" fmla="*/ 311943 h 1964531"/>
                        <a:gd name="connsiteX50" fmla="*/ 1266825 w 2245518"/>
                        <a:gd name="connsiteY50" fmla="*/ 280987 h 1964531"/>
                        <a:gd name="connsiteX51" fmla="*/ 1238250 w 2245518"/>
                        <a:gd name="connsiteY51" fmla="*/ 252412 h 1964531"/>
                        <a:gd name="connsiteX52" fmla="*/ 1178718 w 2245518"/>
                        <a:gd name="connsiteY52" fmla="*/ 266700 h 1964531"/>
                        <a:gd name="connsiteX53" fmla="*/ 1088231 w 2245518"/>
                        <a:gd name="connsiteY53" fmla="*/ 192881 h 1964531"/>
                        <a:gd name="connsiteX54" fmla="*/ 1095375 w 2245518"/>
                        <a:gd name="connsiteY54" fmla="*/ 111918 h 1964531"/>
                        <a:gd name="connsiteX55" fmla="*/ 1000125 w 2245518"/>
                        <a:gd name="connsiteY55" fmla="*/ 85725 h 1964531"/>
                        <a:gd name="connsiteX56" fmla="*/ 947737 w 2245518"/>
                        <a:gd name="connsiteY56" fmla="*/ 76200 h 1964531"/>
                        <a:gd name="connsiteX57" fmla="*/ 902493 w 2245518"/>
                        <a:gd name="connsiteY57" fmla="*/ 133350 h 1964531"/>
                        <a:gd name="connsiteX58" fmla="*/ 850106 w 2245518"/>
                        <a:gd name="connsiteY58" fmla="*/ 150018 h 1964531"/>
                        <a:gd name="connsiteX59" fmla="*/ 816768 w 2245518"/>
                        <a:gd name="connsiteY59" fmla="*/ 97631 h 1964531"/>
                        <a:gd name="connsiteX60" fmla="*/ 797718 w 2245518"/>
                        <a:gd name="connsiteY60" fmla="*/ 80962 h 1964531"/>
                        <a:gd name="connsiteX61" fmla="*/ 685800 w 2245518"/>
                        <a:gd name="connsiteY61" fmla="*/ 66675 h 1964531"/>
                        <a:gd name="connsiteX62" fmla="*/ 645318 w 2245518"/>
                        <a:gd name="connsiteY62" fmla="*/ 92868 h 1964531"/>
                        <a:gd name="connsiteX63" fmla="*/ 597693 w 2245518"/>
                        <a:gd name="connsiteY63" fmla="*/ 107156 h 1964531"/>
                        <a:gd name="connsiteX64" fmla="*/ 569118 w 2245518"/>
                        <a:gd name="connsiteY64" fmla="*/ 154781 h 1964531"/>
                        <a:gd name="connsiteX65" fmla="*/ 528637 w 2245518"/>
                        <a:gd name="connsiteY65" fmla="*/ 176212 h 1964531"/>
                        <a:gd name="connsiteX66" fmla="*/ 471487 w 2245518"/>
                        <a:gd name="connsiteY66" fmla="*/ 188118 h 1964531"/>
                        <a:gd name="connsiteX67" fmla="*/ 421481 w 2245518"/>
                        <a:gd name="connsiteY67" fmla="*/ 135731 h 1964531"/>
                        <a:gd name="connsiteX68" fmla="*/ 350043 w 2245518"/>
                        <a:gd name="connsiteY68" fmla="*/ 59531 h 1964531"/>
                        <a:gd name="connsiteX69" fmla="*/ 300037 w 2245518"/>
                        <a:gd name="connsiteY69" fmla="*/ 0 h 1964531"/>
                        <a:gd name="connsiteX70" fmla="*/ 240506 w 2245518"/>
                        <a:gd name="connsiteY70" fmla="*/ 52387 h 1964531"/>
                        <a:gd name="connsiteX71" fmla="*/ 278606 w 2245518"/>
                        <a:gd name="connsiteY71" fmla="*/ 85725 h 1964531"/>
                        <a:gd name="connsiteX72" fmla="*/ 285750 w 2245518"/>
                        <a:gd name="connsiteY72" fmla="*/ 119062 h 1964531"/>
                        <a:gd name="connsiteX73" fmla="*/ 285750 w 2245518"/>
                        <a:gd name="connsiteY73" fmla="*/ 140493 h 1964531"/>
                        <a:gd name="connsiteX74" fmla="*/ 264318 w 2245518"/>
                        <a:gd name="connsiteY74" fmla="*/ 169068 h 1964531"/>
                        <a:gd name="connsiteX75" fmla="*/ 238125 w 2245518"/>
                        <a:gd name="connsiteY75" fmla="*/ 178593 h 1964531"/>
                        <a:gd name="connsiteX76" fmla="*/ 269081 w 2245518"/>
                        <a:gd name="connsiteY76" fmla="*/ 188118 h 1964531"/>
                        <a:gd name="connsiteX77" fmla="*/ 245268 w 2245518"/>
                        <a:gd name="connsiteY77" fmla="*/ 214312 h 1964531"/>
                        <a:gd name="connsiteX78" fmla="*/ 254793 w 2245518"/>
                        <a:gd name="connsiteY78" fmla="*/ 292893 h 1964531"/>
                        <a:gd name="connsiteX79" fmla="*/ 269081 w 2245518"/>
                        <a:gd name="connsiteY79" fmla="*/ 352425 h 1964531"/>
                        <a:gd name="connsiteX80" fmla="*/ 171450 w 2245518"/>
                        <a:gd name="connsiteY80" fmla="*/ 447675 h 1964531"/>
                        <a:gd name="connsiteX81" fmla="*/ 88106 w 2245518"/>
                        <a:gd name="connsiteY81" fmla="*/ 454818 h 1964531"/>
                        <a:gd name="connsiteX82" fmla="*/ 40481 w 2245518"/>
                        <a:gd name="connsiteY82" fmla="*/ 469106 h 1964531"/>
                        <a:gd name="connsiteX83" fmla="*/ 0 w 2245518"/>
                        <a:gd name="connsiteY83" fmla="*/ 531018 h 1964531"/>
                        <a:gd name="connsiteX84" fmla="*/ 59531 w 2245518"/>
                        <a:gd name="connsiteY84" fmla="*/ 583406 h 1964531"/>
                        <a:gd name="connsiteX85" fmla="*/ 95250 w 2245518"/>
                        <a:gd name="connsiteY85" fmla="*/ 602456 h 1964531"/>
                        <a:gd name="connsiteX86" fmla="*/ 61912 w 2245518"/>
                        <a:gd name="connsiteY86" fmla="*/ 619125 h 1964531"/>
                        <a:gd name="connsiteX87" fmla="*/ 61912 w 2245518"/>
                        <a:gd name="connsiteY87" fmla="*/ 726281 h 1964531"/>
                        <a:gd name="connsiteX88" fmla="*/ 147637 w 2245518"/>
                        <a:gd name="connsiteY88" fmla="*/ 766762 h 1964531"/>
                        <a:gd name="connsiteX89" fmla="*/ 185737 w 2245518"/>
                        <a:gd name="connsiteY89" fmla="*/ 745331 h 1964531"/>
                        <a:gd name="connsiteX90" fmla="*/ 245268 w 2245518"/>
                        <a:gd name="connsiteY90" fmla="*/ 792956 h 1964531"/>
                        <a:gd name="connsiteX91" fmla="*/ 207168 w 2245518"/>
                        <a:gd name="connsiteY91" fmla="*/ 835818 h 1964531"/>
                        <a:gd name="connsiteX92" fmla="*/ 223837 w 2245518"/>
                        <a:gd name="connsiteY92" fmla="*/ 997743 h 1964531"/>
                        <a:gd name="connsiteX93" fmla="*/ 250031 w 2245518"/>
                        <a:gd name="connsiteY93" fmla="*/ 1057275 h 1964531"/>
                        <a:gd name="connsiteX94" fmla="*/ 173831 w 2245518"/>
                        <a:gd name="connsiteY94" fmla="*/ 1226343 h 1964531"/>
                        <a:gd name="connsiteX95" fmla="*/ 197643 w 2245518"/>
                        <a:gd name="connsiteY95" fmla="*/ 1381125 h 1964531"/>
                        <a:gd name="connsiteX96" fmla="*/ 290512 w 2245518"/>
                        <a:gd name="connsiteY96" fmla="*/ 1459706 h 1964531"/>
                        <a:gd name="connsiteX97" fmla="*/ 400050 w 2245518"/>
                        <a:gd name="connsiteY97" fmla="*/ 1516856 h 1964531"/>
                        <a:gd name="connsiteX98" fmla="*/ 428625 w 2245518"/>
                        <a:gd name="connsiteY98" fmla="*/ 1669256 h 1964531"/>
                        <a:gd name="connsiteX99" fmla="*/ 450056 w 2245518"/>
                        <a:gd name="connsiteY99" fmla="*/ 1964531 h 1964531"/>
                        <a:gd name="connsiteX0" fmla="*/ 450056 w 2245518"/>
                        <a:gd name="connsiteY0" fmla="*/ 1964531 h 1964531"/>
                        <a:gd name="connsiteX1" fmla="*/ 914400 w 2245518"/>
                        <a:gd name="connsiteY1" fmla="*/ 1888331 h 1964531"/>
                        <a:gd name="connsiteX2" fmla="*/ 921543 w 2245518"/>
                        <a:gd name="connsiteY2" fmla="*/ 1835943 h 1964531"/>
                        <a:gd name="connsiteX3" fmla="*/ 962025 w 2245518"/>
                        <a:gd name="connsiteY3" fmla="*/ 1752600 h 1964531"/>
                        <a:gd name="connsiteX4" fmla="*/ 1033462 w 2245518"/>
                        <a:gd name="connsiteY4" fmla="*/ 1757362 h 1964531"/>
                        <a:gd name="connsiteX5" fmla="*/ 1276350 w 2245518"/>
                        <a:gd name="connsiteY5" fmla="*/ 1507331 h 1964531"/>
                        <a:gd name="connsiteX6" fmla="*/ 1316831 w 2245518"/>
                        <a:gd name="connsiteY6" fmla="*/ 1521618 h 1964531"/>
                        <a:gd name="connsiteX7" fmla="*/ 1343025 w 2245518"/>
                        <a:gd name="connsiteY7" fmla="*/ 1421606 h 1964531"/>
                        <a:gd name="connsiteX8" fmla="*/ 1469231 w 2245518"/>
                        <a:gd name="connsiteY8" fmla="*/ 1440656 h 1964531"/>
                        <a:gd name="connsiteX9" fmla="*/ 1571625 w 2245518"/>
                        <a:gd name="connsiteY9" fmla="*/ 1240631 h 1964531"/>
                        <a:gd name="connsiteX10" fmla="*/ 1688306 w 2245518"/>
                        <a:gd name="connsiteY10" fmla="*/ 1231106 h 1964531"/>
                        <a:gd name="connsiteX11" fmla="*/ 1816893 w 2245518"/>
                        <a:gd name="connsiteY11" fmla="*/ 1350168 h 1964531"/>
                        <a:gd name="connsiteX12" fmla="*/ 1850231 w 2245518"/>
                        <a:gd name="connsiteY12" fmla="*/ 1404937 h 1964531"/>
                        <a:gd name="connsiteX13" fmla="*/ 1847850 w 2245518"/>
                        <a:gd name="connsiteY13" fmla="*/ 1433512 h 1964531"/>
                        <a:gd name="connsiteX14" fmla="*/ 1935956 w 2245518"/>
                        <a:gd name="connsiteY14" fmla="*/ 1488281 h 1964531"/>
                        <a:gd name="connsiteX15" fmla="*/ 2000250 w 2245518"/>
                        <a:gd name="connsiteY15" fmla="*/ 1431131 h 1964531"/>
                        <a:gd name="connsiteX16" fmla="*/ 2245518 w 2245518"/>
                        <a:gd name="connsiteY16" fmla="*/ 1254918 h 1964531"/>
                        <a:gd name="connsiteX17" fmla="*/ 2219325 w 2245518"/>
                        <a:gd name="connsiteY17" fmla="*/ 1209675 h 1964531"/>
                        <a:gd name="connsiteX18" fmla="*/ 2190750 w 2245518"/>
                        <a:gd name="connsiteY18" fmla="*/ 1185862 h 1964531"/>
                        <a:gd name="connsiteX19" fmla="*/ 2195512 w 2245518"/>
                        <a:gd name="connsiteY19" fmla="*/ 1145381 h 1964531"/>
                        <a:gd name="connsiteX20" fmla="*/ 2164556 w 2245518"/>
                        <a:gd name="connsiteY20" fmla="*/ 1064418 h 1964531"/>
                        <a:gd name="connsiteX21" fmla="*/ 2121693 w 2245518"/>
                        <a:gd name="connsiteY21" fmla="*/ 1033462 h 1964531"/>
                        <a:gd name="connsiteX22" fmla="*/ 1974056 w 2245518"/>
                        <a:gd name="connsiteY22" fmla="*/ 952500 h 1964531"/>
                        <a:gd name="connsiteX23" fmla="*/ 1997868 w 2245518"/>
                        <a:gd name="connsiteY23" fmla="*/ 895350 h 1964531"/>
                        <a:gd name="connsiteX24" fmla="*/ 1971675 w 2245518"/>
                        <a:gd name="connsiteY24" fmla="*/ 871537 h 1964531"/>
                        <a:gd name="connsiteX25" fmla="*/ 1921668 w 2245518"/>
                        <a:gd name="connsiteY25" fmla="*/ 909637 h 1964531"/>
                        <a:gd name="connsiteX26" fmla="*/ 1838325 w 2245518"/>
                        <a:gd name="connsiteY26" fmla="*/ 828675 h 1964531"/>
                        <a:gd name="connsiteX27" fmla="*/ 1862137 w 2245518"/>
                        <a:gd name="connsiteY27" fmla="*/ 785812 h 1964531"/>
                        <a:gd name="connsiteX28" fmla="*/ 1852612 w 2245518"/>
                        <a:gd name="connsiteY28" fmla="*/ 688181 h 1964531"/>
                        <a:gd name="connsiteX29" fmla="*/ 1950243 w 2245518"/>
                        <a:gd name="connsiteY29" fmla="*/ 571500 h 1964531"/>
                        <a:gd name="connsiteX30" fmla="*/ 1988343 w 2245518"/>
                        <a:gd name="connsiteY30" fmla="*/ 547687 h 1964531"/>
                        <a:gd name="connsiteX31" fmla="*/ 1952625 w 2245518"/>
                        <a:gd name="connsiteY31" fmla="*/ 411956 h 1964531"/>
                        <a:gd name="connsiteX32" fmla="*/ 1881187 w 2245518"/>
                        <a:gd name="connsiteY32" fmla="*/ 290512 h 1964531"/>
                        <a:gd name="connsiteX33" fmla="*/ 1874043 w 2245518"/>
                        <a:gd name="connsiteY33" fmla="*/ 259556 h 1964531"/>
                        <a:gd name="connsiteX34" fmla="*/ 1912143 w 2245518"/>
                        <a:gd name="connsiteY34" fmla="*/ 238125 h 1964531"/>
                        <a:gd name="connsiteX35" fmla="*/ 1850231 w 2245518"/>
                        <a:gd name="connsiteY35" fmla="*/ 142875 h 1964531"/>
                        <a:gd name="connsiteX36" fmla="*/ 1807368 w 2245518"/>
                        <a:gd name="connsiteY36" fmla="*/ 183356 h 1964531"/>
                        <a:gd name="connsiteX37" fmla="*/ 1809750 w 2245518"/>
                        <a:gd name="connsiteY37" fmla="*/ 90487 h 1964531"/>
                        <a:gd name="connsiteX38" fmla="*/ 1731168 w 2245518"/>
                        <a:gd name="connsiteY38" fmla="*/ 97631 h 1964531"/>
                        <a:gd name="connsiteX39" fmla="*/ 1716881 w 2245518"/>
                        <a:gd name="connsiteY39" fmla="*/ 140493 h 1964531"/>
                        <a:gd name="connsiteX40" fmla="*/ 1697831 w 2245518"/>
                        <a:gd name="connsiteY40" fmla="*/ 180975 h 1964531"/>
                        <a:gd name="connsiteX41" fmla="*/ 1688306 w 2245518"/>
                        <a:gd name="connsiteY41" fmla="*/ 219075 h 1964531"/>
                        <a:gd name="connsiteX42" fmla="*/ 1633537 w 2245518"/>
                        <a:gd name="connsiteY42" fmla="*/ 266700 h 1964531"/>
                        <a:gd name="connsiteX43" fmla="*/ 1485900 w 2245518"/>
                        <a:gd name="connsiteY43" fmla="*/ 273843 h 1964531"/>
                        <a:gd name="connsiteX44" fmla="*/ 1445418 w 2245518"/>
                        <a:gd name="connsiteY44" fmla="*/ 271462 h 1964531"/>
                        <a:gd name="connsiteX45" fmla="*/ 1412081 w 2245518"/>
                        <a:gd name="connsiteY45" fmla="*/ 216693 h 1964531"/>
                        <a:gd name="connsiteX46" fmla="*/ 1376362 w 2245518"/>
                        <a:gd name="connsiteY46" fmla="*/ 216693 h 1964531"/>
                        <a:gd name="connsiteX47" fmla="*/ 1366837 w 2245518"/>
                        <a:gd name="connsiteY47" fmla="*/ 254793 h 1964531"/>
                        <a:gd name="connsiteX48" fmla="*/ 1352550 w 2245518"/>
                        <a:gd name="connsiteY48" fmla="*/ 302418 h 1964531"/>
                        <a:gd name="connsiteX49" fmla="*/ 1309687 w 2245518"/>
                        <a:gd name="connsiteY49" fmla="*/ 311943 h 1964531"/>
                        <a:gd name="connsiteX50" fmla="*/ 1266825 w 2245518"/>
                        <a:gd name="connsiteY50" fmla="*/ 280987 h 1964531"/>
                        <a:gd name="connsiteX51" fmla="*/ 1238250 w 2245518"/>
                        <a:gd name="connsiteY51" fmla="*/ 252412 h 1964531"/>
                        <a:gd name="connsiteX52" fmla="*/ 1178718 w 2245518"/>
                        <a:gd name="connsiteY52" fmla="*/ 266700 h 1964531"/>
                        <a:gd name="connsiteX53" fmla="*/ 1088231 w 2245518"/>
                        <a:gd name="connsiteY53" fmla="*/ 192881 h 1964531"/>
                        <a:gd name="connsiteX54" fmla="*/ 1095375 w 2245518"/>
                        <a:gd name="connsiteY54" fmla="*/ 111918 h 1964531"/>
                        <a:gd name="connsiteX55" fmla="*/ 1000125 w 2245518"/>
                        <a:gd name="connsiteY55" fmla="*/ 85725 h 1964531"/>
                        <a:gd name="connsiteX56" fmla="*/ 947737 w 2245518"/>
                        <a:gd name="connsiteY56" fmla="*/ 76200 h 1964531"/>
                        <a:gd name="connsiteX57" fmla="*/ 902493 w 2245518"/>
                        <a:gd name="connsiteY57" fmla="*/ 133350 h 1964531"/>
                        <a:gd name="connsiteX58" fmla="*/ 850106 w 2245518"/>
                        <a:gd name="connsiteY58" fmla="*/ 150018 h 1964531"/>
                        <a:gd name="connsiteX59" fmla="*/ 816768 w 2245518"/>
                        <a:gd name="connsiteY59" fmla="*/ 97631 h 1964531"/>
                        <a:gd name="connsiteX60" fmla="*/ 797718 w 2245518"/>
                        <a:gd name="connsiteY60" fmla="*/ 80962 h 1964531"/>
                        <a:gd name="connsiteX61" fmla="*/ 685800 w 2245518"/>
                        <a:gd name="connsiteY61" fmla="*/ 66675 h 1964531"/>
                        <a:gd name="connsiteX62" fmla="*/ 645318 w 2245518"/>
                        <a:gd name="connsiteY62" fmla="*/ 92868 h 1964531"/>
                        <a:gd name="connsiteX63" fmla="*/ 597693 w 2245518"/>
                        <a:gd name="connsiteY63" fmla="*/ 107156 h 1964531"/>
                        <a:gd name="connsiteX64" fmla="*/ 569118 w 2245518"/>
                        <a:gd name="connsiteY64" fmla="*/ 154781 h 1964531"/>
                        <a:gd name="connsiteX65" fmla="*/ 528637 w 2245518"/>
                        <a:gd name="connsiteY65" fmla="*/ 176212 h 1964531"/>
                        <a:gd name="connsiteX66" fmla="*/ 471487 w 2245518"/>
                        <a:gd name="connsiteY66" fmla="*/ 188118 h 1964531"/>
                        <a:gd name="connsiteX67" fmla="*/ 421481 w 2245518"/>
                        <a:gd name="connsiteY67" fmla="*/ 135731 h 1964531"/>
                        <a:gd name="connsiteX68" fmla="*/ 350043 w 2245518"/>
                        <a:gd name="connsiteY68" fmla="*/ 59531 h 1964531"/>
                        <a:gd name="connsiteX69" fmla="*/ 300037 w 2245518"/>
                        <a:gd name="connsiteY69" fmla="*/ 0 h 1964531"/>
                        <a:gd name="connsiteX70" fmla="*/ 240506 w 2245518"/>
                        <a:gd name="connsiteY70" fmla="*/ 52387 h 1964531"/>
                        <a:gd name="connsiteX71" fmla="*/ 278606 w 2245518"/>
                        <a:gd name="connsiteY71" fmla="*/ 85725 h 1964531"/>
                        <a:gd name="connsiteX72" fmla="*/ 285750 w 2245518"/>
                        <a:gd name="connsiteY72" fmla="*/ 119062 h 1964531"/>
                        <a:gd name="connsiteX73" fmla="*/ 285750 w 2245518"/>
                        <a:gd name="connsiteY73" fmla="*/ 140493 h 1964531"/>
                        <a:gd name="connsiteX74" fmla="*/ 264318 w 2245518"/>
                        <a:gd name="connsiteY74" fmla="*/ 169068 h 1964531"/>
                        <a:gd name="connsiteX75" fmla="*/ 238125 w 2245518"/>
                        <a:gd name="connsiteY75" fmla="*/ 178593 h 1964531"/>
                        <a:gd name="connsiteX76" fmla="*/ 269081 w 2245518"/>
                        <a:gd name="connsiteY76" fmla="*/ 188118 h 1964531"/>
                        <a:gd name="connsiteX77" fmla="*/ 245268 w 2245518"/>
                        <a:gd name="connsiteY77" fmla="*/ 214312 h 1964531"/>
                        <a:gd name="connsiteX78" fmla="*/ 254793 w 2245518"/>
                        <a:gd name="connsiteY78" fmla="*/ 292893 h 1964531"/>
                        <a:gd name="connsiteX79" fmla="*/ 269081 w 2245518"/>
                        <a:gd name="connsiteY79" fmla="*/ 352425 h 1964531"/>
                        <a:gd name="connsiteX80" fmla="*/ 171450 w 2245518"/>
                        <a:gd name="connsiteY80" fmla="*/ 447675 h 1964531"/>
                        <a:gd name="connsiteX81" fmla="*/ 88106 w 2245518"/>
                        <a:gd name="connsiteY81" fmla="*/ 454818 h 1964531"/>
                        <a:gd name="connsiteX82" fmla="*/ 40481 w 2245518"/>
                        <a:gd name="connsiteY82" fmla="*/ 469106 h 1964531"/>
                        <a:gd name="connsiteX83" fmla="*/ 0 w 2245518"/>
                        <a:gd name="connsiteY83" fmla="*/ 531018 h 1964531"/>
                        <a:gd name="connsiteX84" fmla="*/ 59531 w 2245518"/>
                        <a:gd name="connsiteY84" fmla="*/ 583406 h 1964531"/>
                        <a:gd name="connsiteX85" fmla="*/ 95250 w 2245518"/>
                        <a:gd name="connsiteY85" fmla="*/ 602456 h 1964531"/>
                        <a:gd name="connsiteX86" fmla="*/ 61912 w 2245518"/>
                        <a:gd name="connsiteY86" fmla="*/ 619125 h 1964531"/>
                        <a:gd name="connsiteX87" fmla="*/ 61912 w 2245518"/>
                        <a:gd name="connsiteY87" fmla="*/ 726281 h 1964531"/>
                        <a:gd name="connsiteX88" fmla="*/ 147637 w 2245518"/>
                        <a:gd name="connsiteY88" fmla="*/ 766762 h 1964531"/>
                        <a:gd name="connsiteX89" fmla="*/ 185737 w 2245518"/>
                        <a:gd name="connsiteY89" fmla="*/ 745331 h 1964531"/>
                        <a:gd name="connsiteX90" fmla="*/ 245268 w 2245518"/>
                        <a:gd name="connsiteY90" fmla="*/ 792956 h 1964531"/>
                        <a:gd name="connsiteX91" fmla="*/ 207168 w 2245518"/>
                        <a:gd name="connsiteY91" fmla="*/ 835818 h 1964531"/>
                        <a:gd name="connsiteX92" fmla="*/ 223837 w 2245518"/>
                        <a:gd name="connsiteY92" fmla="*/ 997743 h 1964531"/>
                        <a:gd name="connsiteX93" fmla="*/ 250031 w 2245518"/>
                        <a:gd name="connsiteY93" fmla="*/ 1057275 h 1964531"/>
                        <a:gd name="connsiteX94" fmla="*/ 228600 w 2245518"/>
                        <a:gd name="connsiteY94" fmla="*/ 1102518 h 1964531"/>
                        <a:gd name="connsiteX95" fmla="*/ 173831 w 2245518"/>
                        <a:gd name="connsiteY95" fmla="*/ 1226343 h 1964531"/>
                        <a:gd name="connsiteX96" fmla="*/ 197643 w 2245518"/>
                        <a:gd name="connsiteY96" fmla="*/ 1381125 h 1964531"/>
                        <a:gd name="connsiteX97" fmla="*/ 290512 w 2245518"/>
                        <a:gd name="connsiteY97" fmla="*/ 1459706 h 1964531"/>
                        <a:gd name="connsiteX98" fmla="*/ 400050 w 2245518"/>
                        <a:gd name="connsiteY98" fmla="*/ 1516856 h 1964531"/>
                        <a:gd name="connsiteX99" fmla="*/ 428625 w 2245518"/>
                        <a:gd name="connsiteY99" fmla="*/ 1669256 h 1964531"/>
                        <a:gd name="connsiteX100" fmla="*/ 450056 w 2245518"/>
                        <a:gd name="connsiteY100" fmla="*/ 1964531 h 1964531"/>
                        <a:gd name="connsiteX0" fmla="*/ 450056 w 2245518"/>
                        <a:gd name="connsiteY0" fmla="*/ 1964531 h 1964531"/>
                        <a:gd name="connsiteX1" fmla="*/ 914400 w 2245518"/>
                        <a:gd name="connsiteY1" fmla="*/ 1888331 h 1964531"/>
                        <a:gd name="connsiteX2" fmla="*/ 921543 w 2245518"/>
                        <a:gd name="connsiteY2" fmla="*/ 1835943 h 1964531"/>
                        <a:gd name="connsiteX3" fmla="*/ 962025 w 2245518"/>
                        <a:gd name="connsiteY3" fmla="*/ 1752600 h 1964531"/>
                        <a:gd name="connsiteX4" fmla="*/ 1033462 w 2245518"/>
                        <a:gd name="connsiteY4" fmla="*/ 1757362 h 1964531"/>
                        <a:gd name="connsiteX5" fmla="*/ 1276350 w 2245518"/>
                        <a:gd name="connsiteY5" fmla="*/ 1507331 h 1964531"/>
                        <a:gd name="connsiteX6" fmla="*/ 1316831 w 2245518"/>
                        <a:gd name="connsiteY6" fmla="*/ 1521618 h 1964531"/>
                        <a:gd name="connsiteX7" fmla="*/ 1343025 w 2245518"/>
                        <a:gd name="connsiteY7" fmla="*/ 1421606 h 1964531"/>
                        <a:gd name="connsiteX8" fmla="*/ 1469231 w 2245518"/>
                        <a:gd name="connsiteY8" fmla="*/ 1440656 h 1964531"/>
                        <a:gd name="connsiteX9" fmla="*/ 1571625 w 2245518"/>
                        <a:gd name="connsiteY9" fmla="*/ 1240631 h 1964531"/>
                        <a:gd name="connsiteX10" fmla="*/ 1688306 w 2245518"/>
                        <a:gd name="connsiteY10" fmla="*/ 1231106 h 1964531"/>
                        <a:gd name="connsiteX11" fmla="*/ 1816893 w 2245518"/>
                        <a:gd name="connsiteY11" fmla="*/ 1350168 h 1964531"/>
                        <a:gd name="connsiteX12" fmla="*/ 1850231 w 2245518"/>
                        <a:gd name="connsiteY12" fmla="*/ 1404937 h 1964531"/>
                        <a:gd name="connsiteX13" fmla="*/ 1847850 w 2245518"/>
                        <a:gd name="connsiteY13" fmla="*/ 1433512 h 1964531"/>
                        <a:gd name="connsiteX14" fmla="*/ 1935956 w 2245518"/>
                        <a:gd name="connsiteY14" fmla="*/ 1488281 h 1964531"/>
                        <a:gd name="connsiteX15" fmla="*/ 2000250 w 2245518"/>
                        <a:gd name="connsiteY15" fmla="*/ 1431131 h 1964531"/>
                        <a:gd name="connsiteX16" fmla="*/ 2245518 w 2245518"/>
                        <a:gd name="connsiteY16" fmla="*/ 1254918 h 1964531"/>
                        <a:gd name="connsiteX17" fmla="*/ 2219325 w 2245518"/>
                        <a:gd name="connsiteY17" fmla="*/ 1209675 h 1964531"/>
                        <a:gd name="connsiteX18" fmla="*/ 2190750 w 2245518"/>
                        <a:gd name="connsiteY18" fmla="*/ 1185862 h 1964531"/>
                        <a:gd name="connsiteX19" fmla="*/ 2195512 w 2245518"/>
                        <a:gd name="connsiteY19" fmla="*/ 1145381 h 1964531"/>
                        <a:gd name="connsiteX20" fmla="*/ 2164556 w 2245518"/>
                        <a:gd name="connsiteY20" fmla="*/ 1064418 h 1964531"/>
                        <a:gd name="connsiteX21" fmla="*/ 2121693 w 2245518"/>
                        <a:gd name="connsiteY21" fmla="*/ 1033462 h 1964531"/>
                        <a:gd name="connsiteX22" fmla="*/ 1974056 w 2245518"/>
                        <a:gd name="connsiteY22" fmla="*/ 952500 h 1964531"/>
                        <a:gd name="connsiteX23" fmla="*/ 1997868 w 2245518"/>
                        <a:gd name="connsiteY23" fmla="*/ 895350 h 1964531"/>
                        <a:gd name="connsiteX24" fmla="*/ 1971675 w 2245518"/>
                        <a:gd name="connsiteY24" fmla="*/ 871537 h 1964531"/>
                        <a:gd name="connsiteX25" fmla="*/ 1921668 w 2245518"/>
                        <a:gd name="connsiteY25" fmla="*/ 909637 h 1964531"/>
                        <a:gd name="connsiteX26" fmla="*/ 1838325 w 2245518"/>
                        <a:gd name="connsiteY26" fmla="*/ 828675 h 1964531"/>
                        <a:gd name="connsiteX27" fmla="*/ 1862137 w 2245518"/>
                        <a:gd name="connsiteY27" fmla="*/ 785812 h 1964531"/>
                        <a:gd name="connsiteX28" fmla="*/ 1852612 w 2245518"/>
                        <a:gd name="connsiteY28" fmla="*/ 688181 h 1964531"/>
                        <a:gd name="connsiteX29" fmla="*/ 1950243 w 2245518"/>
                        <a:gd name="connsiteY29" fmla="*/ 571500 h 1964531"/>
                        <a:gd name="connsiteX30" fmla="*/ 1988343 w 2245518"/>
                        <a:gd name="connsiteY30" fmla="*/ 547687 h 1964531"/>
                        <a:gd name="connsiteX31" fmla="*/ 1952625 w 2245518"/>
                        <a:gd name="connsiteY31" fmla="*/ 411956 h 1964531"/>
                        <a:gd name="connsiteX32" fmla="*/ 1881187 w 2245518"/>
                        <a:gd name="connsiteY32" fmla="*/ 290512 h 1964531"/>
                        <a:gd name="connsiteX33" fmla="*/ 1874043 w 2245518"/>
                        <a:gd name="connsiteY33" fmla="*/ 259556 h 1964531"/>
                        <a:gd name="connsiteX34" fmla="*/ 1912143 w 2245518"/>
                        <a:gd name="connsiteY34" fmla="*/ 238125 h 1964531"/>
                        <a:gd name="connsiteX35" fmla="*/ 1850231 w 2245518"/>
                        <a:gd name="connsiteY35" fmla="*/ 142875 h 1964531"/>
                        <a:gd name="connsiteX36" fmla="*/ 1807368 w 2245518"/>
                        <a:gd name="connsiteY36" fmla="*/ 183356 h 1964531"/>
                        <a:gd name="connsiteX37" fmla="*/ 1809750 w 2245518"/>
                        <a:gd name="connsiteY37" fmla="*/ 90487 h 1964531"/>
                        <a:gd name="connsiteX38" fmla="*/ 1731168 w 2245518"/>
                        <a:gd name="connsiteY38" fmla="*/ 97631 h 1964531"/>
                        <a:gd name="connsiteX39" fmla="*/ 1716881 w 2245518"/>
                        <a:gd name="connsiteY39" fmla="*/ 140493 h 1964531"/>
                        <a:gd name="connsiteX40" fmla="*/ 1697831 w 2245518"/>
                        <a:gd name="connsiteY40" fmla="*/ 180975 h 1964531"/>
                        <a:gd name="connsiteX41" fmla="*/ 1688306 w 2245518"/>
                        <a:gd name="connsiteY41" fmla="*/ 219075 h 1964531"/>
                        <a:gd name="connsiteX42" fmla="*/ 1633537 w 2245518"/>
                        <a:gd name="connsiteY42" fmla="*/ 266700 h 1964531"/>
                        <a:gd name="connsiteX43" fmla="*/ 1485900 w 2245518"/>
                        <a:gd name="connsiteY43" fmla="*/ 273843 h 1964531"/>
                        <a:gd name="connsiteX44" fmla="*/ 1445418 w 2245518"/>
                        <a:gd name="connsiteY44" fmla="*/ 271462 h 1964531"/>
                        <a:gd name="connsiteX45" fmla="*/ 1412081 w 2245518"/>
                        <a:gd name="connsiteY45" fmla="*/ 216693 h 1964531"/>
                        <a:gd name="connsiteX46" fmla="*/ 1376362 w 2245518"/>
                        <a:gd name="connsiteY46" fmla="*/ 216693 h 1964531"/>
                        <a:gd name="connsiteX47" fmla="*/ 1366837 w 2245518"/>
                        <a:gd name="connsiteY47" fmla="*/ 254793 h 1964531"/>
                        <a:gd name="connsiteX48" fmla="*/ 1352550 w 2245518"/>
                        <a:gd name="connsiteY48" fmla="*/ 302418 h 1964531"/>
                        <a:gd name="connsiteX49" fmla="*/ 1309687 w 2245518"/>
                        <a:gd name="connsiteY49" fmla="*/ 311943 h 1964531"/>
                        <a:gd name="connsiteX50" fmla="*/ 1266825 w 2245518"/>
                        <a:gd name="connsiteY50" fmla="*/ 280987 h 1964531"/>
                        <a:gd name="connsiteX51" fmla="*/ 1238250 w 2245518"/>
                        <a:gd name="connsiteY51" fmla="*/ 252412 h 1964531"/>
                        <a:gd name="connsiteX52" fmla="*/ 1178718 w 2245518"/>
                        <a:gd name="connsiteY52" fmla="*/ 266700 h 1964531"/>
                        <a:gd name="connsiteX53" fmla="*/ 1088231 w 2245518"/>
                        <a:gd name="connsiteY53" fmla="*/ 192881 h 1964531"/>
                        <a:gd name="connsiteX54" fmla="*/ 1095375 w 2245518"/>
                        <a:gd name="connsiteY54" fmla="*/ 111918 h 1964531"/>
                        <a:gd name="connsiteX55" fmla="*/ 1000125 w 2245518"/>
                        <a:gd name="connsiteY55" fmla="*/ 85725 h 1964531"/>
                        <a:gd name="connsiteX56" fmla="*/ 947737 w 2245518"/>
                        <a:gd name="connsiteY56" fmla="*/ 76200 h 1964531"/>
                        <a:gd name="connsiteX57" fmla="*/ 902493 w 2245518"/>
                        <a:gd name="connsiteY57" fmla="*/ 133350 h 1964531"/>
                        <a:gd name="connsiteX58" fmla="*/ 850106 w 2245518"/>
                        <a:gd name="connsiteY58" fmla="*/ 150018 h 1964531"/>
                        <a:gd name="connsiteX59" fmla="*/ 816768 w 2245518"/>
                        <a:gd name="connsiteY59" fmla="*/ 97631 h 1964531"/>
                        <a:gd name="connsiteX60" fmla="*/ 797718 w 2245518"/>
                        <a:gd name="connsiteY60" fmla="*/ 80962 h 1964531"/>
                        <a:gd name="connsiteX61" fmla="*/ 685800 w 2245518"/>
                        <a:gd name="connsiteY61" fmla="*/ 66675 h 1964531"/>
                        <a:gd name="connsiteX62" fmla="*/ 645318 w 2245518"/>
                        <a:gd name="connsiteY62" fmla="*/ 92868 h 1964531"/>
                        <a:gd name="connsiteX63" fmla="*/ 597693 w 2245518"/>
                        <a:gd name="connsiteY63" fmla="*/ 107156 h 1964531"/>
                        <a:gd name="connsiteX64" fmla="*/ 569118 w 2245518"/>
                        <a:gd name="connsiteY64" fmla="*/ 154781 h 1964531"/>
                        <a:gd name="connsiteX65" fmla="*/ 528637 w 2245518"/>
                        <a:gd name="connsiteY65" fmla="*/ 176212 h 1964531"/>
                        <a:gd name="connsiteX66" fmla="*/ 471487 w 2245518"/>
                        <a:gd name="connsiteY66" fmla="*/ 188118 h 1964531"/>
                        <a:gd name="connsiteX67" fmla="*/ 421481 w 2245518"/>
                        <a:gd name="connsiteY67" fmla="*/ 135731 h 1964531"/>
                        <a:gd name="connsiteX68" fmla="*/ 350043 w 2245518"/>
                        <a:gd name="connsiteY68" fmla="*/ 59531 h 1964531"/>
                        <a:gd name="connsiteX69" fmla="*/ 300037 w 2245518"/>
                        <a:gd name="connsiteY69" fmla="*/ 0 h 1964531"/>
                        <a:gd name="connsiteX70" fmla="*/ 240506 w 2245518"/>
                        <a:gd name="connsiteY70" fmla="*/ 52387 h 1964531"/>
                        <a:gd name="connsiteX71" fmla="*/ 278606 w 2245518"/>
                        <a:gd name="connsiteY71" fmla="*/ 85725 h 1964531"/>
                        <a:gd name="connsiteX72" fmla="*/ 285750 w 2245518"/>
                        <a:gd name="connsiteY72" fmla="*/ 119062 h 1964531"/>
                        <a:gd name="connsiteX73" fmla="*/ 285750 w 2245518"/>
                        <a:gd name="connsiteY73" fmla="*/ 140493 h 1964531"/>
                        <a:gd name="connsiteX74" fmla="*/ 264318 w 2245518"/>
                        <a:gd name="connsiteY74" fmla="*/ 169068 h 1964531"/>
                        <a:gd name="connsiteX75" fmla="*/ 238125 w 2245518"/>
                        <a:gd name="connsiteY75" fmla="*/ 178593 h 1964531"/>
                        <a:gd name="connsiteX76" fmla="*/ 269081 w 2245518"/>
                        <a:gd name="connsiteY76" fmla="*/ 188118 h 1964531"/>
                        <a:gd name="connsiteX77" fmla="*/ 245268 w 2245518"/>
                        <a:gd name="connsiteY77" fmla="*/ 214312 h 1964531"/>
                        <a:gd name="connsiteX78" fmla="*/ 254793 w 2245518"/>
                        <a:gd name="connsiteY78" fmla="*/ 292893 h 1964531"/>
                        <a:gd name="connsiteX79" fmla="*/ 269081 w 2245518"/>
                        <a:gd name="connsiteY79" fmla="*/ 352425 h 1964531"/>
                        <a:gd name="connsiteX80" fmla="*/ 171450 w 2245518"/>
                        <a:gd name="connsiteY80" fmla="*/ 447675 h 1964531"/>
                        <a:gd name="connsiteX81" fmla="*/ 88106 w 2245518"/>
                        <a:gd name="connsiteY81" fmla="*/ 454818 h 1964531"/>
                        <a:gd name="connsiteX82" fmla="*/ 40481 w 2245518"/>
                        <a:gd name="connsiteY82" fmla="*/ 469106 h 1964531"/>
                        <a:gd name="connsiteX83" fmla="*/ 0 w 2245518"/>
                        <a:gd name="connsiteY83" fmla="*/ 531018 h 1964531"/>
                        <a:gd name="connsiteX84" fmla="*/ 59531 w 2245518"/>
                        <a:gd name="connsiteY84" fmla="*/ 583406 h 1964531"/>
                        <a:gd name="connsiteX85" fmla="*/ 95250 w 2245518"/>
                        <a:gd name="connsiteY85" fmla="*/ 602456 h 1964531"/>
                        <a:gd name="connsiteX86" fmla="*/ 61912 w 2245518"/>
                        <a:gd name="connsiteY86" fmla="*/ 619125 h 1964531"/>
                        <a:gd name="connsiteX87" fmla="*/ 61912 w 2245518"/>
                        <a:gd name="connsiteY87" fmla="*/ 726281 h 1964531"/>
                        <a:gd name="connsiteX88" fmla="*/ 147637 w 2245518"/>
                        <a:gd name="connsiteY88" fmla="*/ 766762 h 1964531"/>
                        <a:gd name="connsiteX89" fmla="*/ 185737 w 2245518"/>
                        <a:gd name="connsiteY89" fmla="*/ 745331 h 1964531"/>
                        <a:gd name="connsiteX90" fmla="*/ 245268 w 2245518"/>
                        <a:gd name="connsiteY90" fmla="*/ 792956 h 1964531"/>
                        <a:gd name="connsiteX91" fmla="*/ 207168 w 2245518"/>
                        <a:gd name="connsiteY91" fmla="*/ 835818 h 1964531"/>
                        <a:gd name="connsiteX92" fmla="*/ 223837 w 2245518"/>
                        <a:gd name="connsiteY92" fmla="*/ 997743 h 1964531"/>
                        <a:gd name="connsiteX93" fmla="*/ 250031 w 2245518"/>
                        <a:gd name="connsiteY93" fmla="*/ 1057275 h 1964531"/>
                        <a:gd name="connsiteX94" fmla="*/ 223837 w 2245518"/>
                        <a:gd name="connsiteY94" fmla="*/ 1104900 h 1964531"/>
                        <a:gd name="connsiteX95" fmla="*/ 173831 w 2245518"/>
                        <a:gd name="connsiteY95" fmla="*/ 1226343 h 1964531"/>
                        <a:gd name="connsiteX96" fmla="*/ 197643 w 2245518"/>
                        <a:gd name="connsiteY96" fmla="*/ 1381125 h 1964531"/>
                        <a:gd name="connsiteX97" fmla="*/ 290512 w 2245518"/>
                        <a:gd name="connsiteY97" fmla="*/ 1459706 h 1964531"/>
                        <a:gd name="connsiteX98" fmla="*/ 400050 w 2245518"/>
                        <a:gd name="connsiteY98" fmla="*/ 1516856 h 1964531"/>
                        <a:gd name="connsiteX99" fmla="*/ 428625 w 2245518"/>
                        <a:gd name="connsiteY99" fmla="*/ 1669256 h 1964531"/>
                        <a:gd name="connsiteX100" fmla="*/ 450056 w 2245518"/>
                        <a:gd name="connsiteY100" fmla="*/ 1964531 h 1964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</a:cxnLst>
                      <a:rect l="l" t="t" r="r" b="b"/>
                      <a:pathLst>
                        <a:path w="2245518" h="1964531">
                          <a:moveTo>
                            <a:pt x="450056" y="1964531"/>
                          </a:moveTo>
                          <a:lnTo>
                            <a:pt x="914400" y="1888331"/>
                          </a:lnTo>
                          <a:lnTo>
                            <a:pt x="921543" y="1835943"/>
                          </a:lnTo>
                          <a:lnTo>
                            <a:pt x="962025" y="1752600"/>
                          </a:lnTo>
                          <a:lnTo>
                            <a:pt x="1033462" y="1757362"/>
                          </a:lnTo>
                          <a:lnTo>
                            <a:pt x="1276350" y="1507331"/>
                          </a:lnTo>
                          <a:lnTo>
                            <a:pt x="1316831" y="1521618"/>
                          </a:lnTo>
                          <a:lnTo>
                            <a:pt x="1343025" y="1421606"/>
                          </a:lnTo>
                          <a:lnTo>
                            <a:pt x="1469231" y="1440656"/>
                          </a:lnTo>
                          <a:lnTo>
                            <a:pt x="1571625" y="1240631"/>
                          </a:lnTo>
                          <a:lnTo>
                            <a:pt x="1688306" y="1231106"/>
                          </a:lnTo>
                          <a:lnTo>
                            <a:pt x="1816893" y="1350168"/>
                          </a:lnTo>
                          <a:lnTo>
                            <a:pt x="1850231" y="1404937"/>
                          </a:lnTo>
                          <a:lnTo>
                            <a:pt x="1847850" y="1433512"/>
                          </a:lnTo>
                          <a:lnTo>
                            <a:pt x="1935956" y="1488281"/>
                          </a:lnTo>
                          <a:lnTo>
                            <a:pt x="2000250" y="1431131"/>
                          </a:lnTo>
                          <a:lnTo>
                            <a:pt x="2245518" y="1254918"/>
                          </a:lnTo>
                          <a:lnTo>
                            <a:pt x="2219325" y="1209675"/>
                          </a:lnTo>
                          <a:lnTo>
                            <a:pt x="2190750" y="1185862"/>
                          </a:lnTo>
                          <a:lnTo>
                            <a:pt x="2195512" y="1145381"/>
                          </a:lnTo>
                          <a:lnTo>
                            <a:pt x="2164556" y="1064418"/>
                          </a:lnTo>
                          <a:lnTo>
                            <a:pt x="2121693" y="1033462"/>
                          </a:lnTo>
                          <a:lnTo>
                            <a:pt x="1974056" y="952500"/>
                          </a:lnTo>
                          <a:lnTo>
                            <a:pt x="1997868" y="895350"/>
                          </a:lnTo>
                          <a:lnTo>
                            <a:pt x="1971675" y="871537"/>
                          </a:lnTo>
                          <a:lnTo>
                            <a:pt x="1921668" y="909637"/>
                          </a:lnTo>
                          <a:lnTo>
                            <a:pt x="1838325" y="828675"/>
                          </a:lnTo>
                          <a:lnTo>
                            <a:pt x="1862137" y="785812"/>
                          </a:lnTo>
                          <a:lnTo>
                            <a:pt x="1852612" y="688181"/>
                          </a:lnTo>
                          <a:lnTo>
                            <a:pt x="1950243" y="571500"/>
                          </a:lnTo>
                          <a:lnTo>
                            <a:pt x="1988343" y="547687"/>
                          </a:lnTo>
                          <a:lnTo>
                            <a:pt x="1952625" y="411956"/>
                          </a:lnTo>
                          <a:lnTo>
                            <a:pt x="1881187" y="290512"/>
                          </a:lnTo>
                          <a:lnTo>
                            <a:pt x="1874043" y="259556"/>
                          </a:lnTo>
                          <a:lnTo>
                            <a:pt x="1912143" y="238125"/>
                          </a:lnTo>
                          <a:lnTo>
                            <a:pt x="1850231" y="142875"/>
                          </a:lnTo>
                          <a:lnTo>
                            <a:pt x="1807368" y="183356"/>
                          </a:lnTo>
                          <a:lnTo>
                            <a:pt x="1809750" y="90487"/>
                          </a:lnTo>
                          <a:lnTo>
                            <a:pt x="1731168" y="97631"/>
                          </a:lnTo>
                          <a:lnTo>
                            <a:pt x="1716881" y="140493"/>
                          </a:lnTo>
                          <a:lnTo>
                            <a:pt x="1697831" y="180975"/>
                          </a:lnTo>
                          <a:lnTo>
                            <a:pt x="1688306" y="219075"/>
                          </a:lnTo>
                          <a:lnTo>
                            <a:pt x="1633537" y="266700"/>
                          </a:lnTo>
                          <a:lnTo>
                            <a:pt x="1485900" y="273843"/>
                          </a:lnTo>
                          <a:lnTo>
                            <a:pt x="1445418" y="271462"/>
                          </a:lnTo>
                          <a:lnTo>
                            <a:pt x="1412081" y="216693"/>
                          </a:lnTo>
                          <a:lnTo>
                            <a:pt x="1376362" y="216693"/>
                          </a:lnTo>
                          <a:lnTo>
                            <a:pt x="1366837" y="254793"/>
                          </a:lnTo>
                          <a:lnTo>
                            <a:pt x="1352550" y="302418"/>
                          </a:lnTo>
                          <a:lnTo>
                            <a:pt x="1309687" y="311943"/>
                          </a:lnTo>
                          <a:lnTo>
                            <a:pt x="1266825" y="280987"/>
                          </a:lnTo>
                          <a:lnTo>
                            <a:pt x="1238250" y="252412"/>
                          </a:lnTo>
                          <a:lnTo>
                            <a:pt x="1178718" y="266700"/>
                          </a:lnTo>
                          <a:lnTo>
                            <a:pt x="1088231" y="192881"/>
                          </a:lnTo>
                          <a:lnTo>
                            <a:pt x="1095375" y="111918"/>
                          </a:lnTo>
                          <a:lnTo>
                            <a:pt x="1000125" y="85725"/>
                          </a:lnTo>
                          <a:lnTo>
                            <a:pt x="947737" y="76200"/>
                          </a:lnTo>
                          <a:lnTo>
                            <a:pt x="902493" y="133350"/>
                          </a:lnTo>
                          <a:lnTo>
                            <a:pt x="850106" y="150018"/>
                          </a:lnTo>
                          <a:lnTo>
                            <a:pt x="816768" y="97631"/>
                          </a:lnTo>
                          <a:lnTo>
                            <a:pt x="797718" y="80962"/>
                          </a:lnTo>
                          <a:lnTo>
                            <a:pt x="685800" y="66675"/>
                          </a:lnTo>
                          <a:lnTo>
                            <a:pt x="645318" y="92868"/>
                          </a:lnTo>
                          <a:lnTo>
                            <a:pt x="597693" y="107156"/>
                          </a:lnTo>
                          <a:lnTo>
                            <a:pt x="569118" y="154781"/>
                          </a:lnTo>
                          <a:lnTo>
                            <a:pt x="528637" y="176212"/>
                          </a:lnTo>
                          <a:lnTo>
                            <a:pt x="471487" y="188118"/>
                          </a:lnTo>
                          <a:lnTo>
                            <a:pt x="421481" y="135731"/>
                          </a:lnTo>
                          <a:lnTo>
                            <a:pt x="350043" y="59531"/>
                          </a:lnTo>
                          <a:lnTo>
                            <a:pt x="300037" y="0"/>
                          </a:lnTo>
                          <a:lnTo>
                            <a:pt x="240506" y="52387"/>
                          </a:lnTo>
                          <a:lnTo>
                            <a:pt x="278606" y="85725"/>
                          </a:lnTo>
                          <a:lnTo>
                            <a:pt x="285750" y="119062"/>
                          </a:lnTo>
                          <a:lnTo>
                            <a:pt x="285750" y="140493"/>
                          </a:lnTo>
                          <a:lnTo>
                            <a:pt x="264318" y="169068"/>
                          </a:lnTo>
                          <a:lnTo>
                            <a:pt x="238125" y="178593"/>
                          </a:lnTo>
                          <a:lnTo>
                            <a:pt x="269081" y="188118"/>
                          </a:lnTo>
                          <a:lnTo>
                            <a:pt x="245268" y="214312"/>
                          </a:lnTo>
                          <a:lnTo>
                            <a:pt x="254793" y="292893"/>
                          </a:lnTo>
                          <a:lnTo>
                            <a:pt x="269081" y="352425"/>
                          </a:lnTo>
                          <a:lnTo>
                            <a:pt x="171450" y="447675"/>
                          </a:lnTo>
                          <a:lnTo>
                            <a:pt x="88106" y="454818"/>
                          </a:lnTo>
                          <a:lnTo>
                            <a:pt x="40481" y="469106"/>
                          </a:lnTo>
                          <a:lnTo>
                            <a:pt x="0" y="531018"/>
                          </a:lnTo>
                          <a:lnTo>
                            <a:pt x="59531" y="583406"/>
                          </a:lnTo>
                          <a:lnTo>
                            <a:pt x="95250" y="602456"/>
                          </a:lnTo>
                          <a:lnTo>
                            <a:pt x="61912" y="619125"/>
                          </a:lnTo>
                          <a:lnTo>
                            <a:pt x="61912" y="726281"/>
                          </a:lnTo>
                          <a:lnTo>
                            <a:pt x="147637" y="766762"/>
                          </a:lnTo>
                          <a:lnTo>
                            <a:pt x="185737" y="745331"/>
                          </a:lnTo>
                          <a:lnTo>
                            <a:pt x="245268" y="792956"/>
                          </a:lnTo>
                          <a:lnTo>
                            <a:pt x="207168" y="835818"/>
                          </a:lnTo>
                          <a:lnTo>
                            <a:pt x="223837" y="997743"/>
                          </a:lnTo>
                          <a:lnTo>
                            <a:pt x="250031" y="1057275"/>
                          </a:lnTo>
                          <a:lnTo>
                            <a:pt x="223837" y="1104900"/>
                          </a:lnTo>
                          <a:lnTo>
                            <a:pt x="173831" y="1226343"/>
                          </a:lnTo>
                          <a:lnTo>
                            <a:pt x="197643" y="1381125"/>
                          </a:lnTo>
                          <a:lnTo>
                            <a:pt x="290512" y="1459706"/>
                          </a:lnTo>
                          <a:lnTo>
                            <a:pt x="400050" y="1516856"/>
                          </a:lnTo>
                          <a:lnTo>
                            <a:pt x="428625" y="1669256"/>
                          </a:lnTo>
                          <a:lnTo>
                            <a:pt x="450056" y="1964531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9" name="Freeform 11"/>
                    <p:cNvSpPr/>
                    <p:nvPr/>
                  </p:nvSpPr>
                  <p:spPr>
                    <a:xfrm>
                      <a:off x="2791961" y="2527167"/>
                      <a:ext cx="1526370" cy="1191359"/>
                    </a:xfrm>
                    <a:custGeom>
                      <a:avLst/>
                      <a:gdLst>
                        <a:gd name="connsiteX0" fmla="*/ 0 w 2171700"/>
                        <a:gd name="connsiteY0" fmla="*/ 652462 h 1828800"/>
                        <a:gd name="connsiteX1" fmla="*/ 295275 w 2171700"/>
                        <a:gd name="connsiteY1" fmla="*/ 892968 h 1828800"/>
                        <a:gd name="connsiteX2" fmla="*/ 485775 w 2171700"/>
                        <a:gd name="connsiteY2" fmla="*/ 1054893 h 1828800"/>
                        <a:gd name="connsiteX3" fmla="*/ 547688 w 2171700"/>
                        <a:gd name="connsiteY3" fmla="*/ 1097756 h 1828800"/>
                        <a:gd name="connsiteX4" fmla="*/ 566738 w 2171700"/>
                        <a:gd name="connsiteY4" fmla="*/ 1140618 h 1828800"/>
                        <a:gd name="connsiteX5" fmla="*/ 545307 w 2171700"/>
                        <a:gd name="connsiteY5" fmla="*/ 1157287 h 1828800"/>
                        <a:gd name="connsiteX6" fmla="*/ 754857 w 2171700"/>
                        <a:gd name="connsiteY6" fmla="*/ 1423987 h 1828800"/>
                        <a:gd name="connsiteX7" fmla="*/ 909638 w 2171700"/>
                        <a:gd name="connsiteY7" fmla="*/ 1388268 h 1828800"/>
                        <a:gd name="connsiteX8" fmla="*/ 1023938 w 2171700"/>
                        <a:gd name="connsiteY8" fmla="*/ 1378743 h 1828800"/>
                        <a:gd name="connsiteX9" fmla="*/ 1109663 w 2171700"/>
                        <a:gd name="connsiteY9" fmla="*/ 1395412 h 1828800"/>
                        <a:gd name="connsiteX10" fmla="*/ 1228725 w 2171700"/>
                        <a:gd name="connsiteY10" fmla="*/ 1404937 h 1828800"/>
                        <a:gd name="connsiteX11" fmla="*/ 1328738 w 2171700"/>
                        <a:gd name="connsiteY11" fmla="*/ 1416843 h 1828800"/>
                        <a:gd name="connsiteX12" fmla="*/ 1428750 w 2171700"/>
                        <a:gd name="connsiteY12" fmla="*/ 1359693 h 1828800"/>
                        <a:gd name="connsiteX13" fmla="*/ 1500188 w 2171700"/>
                        <a:gd name="connsiteY13" fmla="*/ 1450181 h 1828800"/>
                        <a:gd name="connsiteX14" fmla="*/ 1590675 w 2171700"/>
                        <a:gd name="connsiteY14" fmla="*/ 1502568 h 1828800"/>
                        <a:gd name="connsiteX15" fmla="*/ 1643063 w 2171700"/>
                        <a:gd name="connsiteY15" fmla="*/ 1650206 h 1828800"/>
                        <a:gd name="connsiteX16" fmla="*/ 1728788 w 2171700"/>
                        <a:gd name="connsiteY16" fmla="*/ 1600200 h 1828800"/>
                        <a:gd name="connsiteX17" fmla="*/ 1709738 w 2171700"/>
                        <a:gd name="connsiteY17" fmla="*/ 1828800 h 1828800"/>
                        <a:gd name="connsiteX18" fmla="*/ 1909763 w 2171700"/>
                        <a:gd name="connsiteY18" fmla="*/ 1676400 h 1828800"/>
                        <a:gd name="connsiteX19" fmla="*/ 1985963 w 2171700"/>
                        <a:gd name="connsiteY19" fmla="*/ 1645443 h 1828800"/>
                        <a:gd name="connsiteX20" fmla="*/ 2131219 w 2171700"/>
                        <a:gd name="connsiteY20" fmla="*/ 1545431 h 1828800"/>
                        <a:gd name="connsiteX21" fmla="*/ 2081213 w 2171700"/>
                        <a:gd name="connsiteY21" fmla="*/ 1471612 h 1828800"/>
                        <a:gd name="connsiteX22" fmla="*/ 2169319 w 2171700"/>
                        <a:gd name="connsiteY22" fmla="*/ 1395412 h 1828800"/>
                        <a:gd name="connsiteX23" fmla="*/ 2162175 w 2171700"/>
                        <a:gd name="connsiteY23" fmla="*/ 1345406 h 1828800"/>
                        <a:gd name="connsiteX24" fmla="*/ 2169319 w 2171700"/>
                        <a:gd name="connsiteY24" fmla="*/ 1290637 h 1828800"/>
                        <a:gd name="connsiteX25" fmla="*/ 2171700 w 2171700"/>
                        <a:gd name="connsiteY25" fmla="*/ 1259681 h 1828800"/>
                        <a:gd name="connsiteX26" fmla="*/ 2062163 w 2171700"/>
                        <a:gd name="connsiteY26" fmla="*/ 1171575 h 1828800"/>
                        <a:gd name="connsiteX27" fmla="*/ 2059782 w 2171700"/>
                        <a:gd name="connsiteY27" fmla="*/ 947737 h 1828800"/>
                        <a:gd name="connsiteX28" fmla="*/ 1988344 w 2171700"/>
                        <a:gd name="connsiteY28" fmla="*/ 847725 h 1828800"/>
                        <a:gd name="connsiteX29" fmla="*/ 2019300 w 2171700"/>
                        <a:gd name="connsiteY29" fmla="*/ 657225 h 1828800"/>
                        <a:gd name="connsiteX30" fmla="*/ 1990725 w 2171700"/>
                        <a:gd name="connsiteY30" fmla="*/ 619125 h 1828800"/>
                        <a:gd name="connsiteX31" fmla="*/ 1976438 w 2171700"/>
                        <a:gd name="connsiteY31" fmla="*/ 597693 h 1828800"/>
                        <a:gd name="connsiteX32" fmla="*/ 1916907 w 2171700"/>
                        <a:gd name="connsiteY32" fmla="*/ 597693 h 1828800"/>
                        <a:gd name="connsiteX33" fmla="*/ 1864519 w 2171700"/>
                        <a:gd name="connsiteY33" fmla="*/ 590550 h 1828800"/>
                        <a:gd name="connsiteX34" fmla="*/ 1831182 w 2171700"/>
                        <a:gd name="connsiteY34" fmla="*/ 619125 h 1828800"/>
                        <a:gd name="connsiteX35" fmla="*/ 1621632 w 2171700"/>
                        <a:gd name="connsiteY35" fmla="*/ 609600 h 1828800"/>
                        <a:gd name="connsiteX36" fmla="*/ 1516857 w 2171700"/>
                        <a:gd name="connsiteY36" fmla="*/ 509587 h 1828800"/>
                        <a:gd name="connsiteX37" fmla="*/ 1250157 w 2171700"/>
                        <a:gd name="connsiteY37" fmla="*/ 390525 h 1828800"/>
                        <a:gd name="connsiteX38" fmla="*/ 1135857 w 2171700"/>
                        <a:gd name="connsiteY38" fmla="*/ 335756 h 1828800"/>
                        <a:gd name="connsiteX39" fmla="*/ 1083469 w 2171700"/>
                        <a:gd name="connsiteY39" fmla="*/ 273843 h 1828800"/>
                        <a:gd name="connsiteX40" fmla="*/ 1040607 w 2171700"/>
                        <a:gd name="connsiteY40" fmla="*/ 271462 h 1828800"/>
                        <a:gd name="connsiteX41" fmla="*/ 947738 w 2171700"/>
                        <a:gd name="connsiteY41" fmla="*/ 190500 h 1828800"/>
                        <a:gd name="connsiteX42" fmla="*/ 950119 w 2171700"/>
                        <a:gd name="connsiteY42" fmla="*/ 159543 h 1828800"/>
                        <a:gd name="connsiteX43" fmla="*/ 878682 w 2171700"/>
                        <a:gd name="connsiteY43" fmla="*/ 76200 h 1828800"/>
                        <a:gd name="connsiteX44" fmla="*/ 797719 w 2171700"/>
                        <a:gd name="connsiteY44" fmla="*/ 0 h 1828800"/>
                        <a:gd name="connsiteX45" fmla="*/ 685800 w 2171700"/>
                        <a:gd name="connsiteY45" fmla="*/ 0 h 1828800"/>
                        <a:gd name="connsiteX46" fmla="*/ 640557 w 2171700"/>
                        <a:gd name="connsiteY46" fmla="*/ 71437 h 1828800"/>
                        <a:gd name="connsiteX47" fmla="*/ 576263 w 2171700"/>
                        <a:gd name="connsiteY47" fmla="*/ 202406 h 1828800"/>
                        <a:gd name="connsiteX48" fmla="*/ 452438 w 2171700"/>
                        <a:gd name="connsiteY48" fmla="*/ 185737 h 1828800"/>
                        <a:gd name="connsiteX49" fmla="*/ 423863 w 2171700"/>
                        <a:gd name="connsiteY49" fmla="*/ 288131 h 1828800"/>
                        <a:gd name="connsiteX50" fmla="*/ 385763 w 2171700"/>
                        <a:gd name="connsiteY50" fmla="*/ 271462 h 1828800"/>
                        <a:gd name="connsiteX51" fmla="*/ 145257 w 2171700"/>
                        <a:gd name="connsiteY51" fmla="*/ 519112 h 1828800"/>
                        <a:gd name="connsiteX52" fmla="*/ 71438 w 2171700"/>
                        <a:gd name="connsiteY52" fmla="*/ 516731 h 1828800"/>
                        <a:gd name="connsiteX53" fmla="*/ 40482 w 2171700"/>
                        <a:gd name="connsiteY53" fmla="*/ 566737 h 1828800"/>
                        <a:gd name="connsiteX54" fmla="*/ 28575 w 2171700"/>
                        <a:gd name="connsiteY54" fmla="*/ 602456 h 1828800"/>
                        <a:gd name="connsiteX55" fmla="*/ 0 w 2171700"/>
                        <a:gd name="connsiteY55" fmla="*/ 652462 h 1828800"/>
                        <a:gd name="connsiteX0" fmla="*/ 0 w 2171700"/>
                        <a:gd name="connsiteY0" fmla="*/ 652462 h 1828800"/>
                        <a:gd name="connsiteX1" fmla="*/ 295275 w 2171700"/>
                        <a:gd name="connsiteY1" fmla="*/ 892968 h 1828800"/>
                        <a:gd name="connsiteX2" fmla="*/ 485775 w 2171700"/>
                        <a:gd name="connsiteY2" fmla="*/ 1054893 h 1828800"/>
                        <a:gd name="connsiteX3" fmla="*/ 547688 w 2171700"/>
                        <a:gd name="connsiteY3" fmla="*/ 1097756 h 1828800"/>
                        <a:gd name="connsiteX4" fmla="*/ 566738 w 2171700"/>
                        <a:gd name="connsiteY4" fmla="*/ 1140618 h 1828800"/>
                        <a:gd name="connsiteX5" fmla="*/ 545307 w 2171700"/>
                        <a:gd name="connsiteY5" fmla="*/ 1157287 h 1828800"/>
                        <a:gd name="connsiteX6" fmla="*/ 754857 w 2171700"/>
                        <a:gd name="connsiteY6" fmla="*/ 1423987 h 1828800"/>
                        <a:gd name="connsiteX7" fmla="*/ 909638 w 2171700"/>
                        <a:gd name="connsiteY7" fmla="*/ 1388268 h 1828800"/>
                        <a:gd name="connsiteX8" fmla="*/ 1023938 w 2171700"/>
                        <a:gd name="connsiteY8" fmla="*/ 1378743 h 1828800"/>
                        <a:gd name="connsiteX9" fmla="*/ 1109663 w 2171700"/>
                        <a:gd name="connsiteY9" fmla="*/ 1395412 h 1828800"/>
                        <a:gd name="connsiteX10" fmla="*/ 1228725 w 2171700"/>
                        <a:gd name="connsiteY10" fmla="*/ 1404937 h 1828800"/>
                        <a:gd name="connsiteX11" fmla="*/ 1328738 w 2171700"/>
                        <a:gd name="connsiteY11" fmla="*/ 1416843 h 1828800"/>
                        <a:gd name="connsiteX12" fmla="*/ 1428750 w 2171700"/>
                        <a:gd name="connsiteY12" fmla="*/ 1359693 h 1828800"/>
                        <a:gd name="connsiteX13" fmla="*/ 1500188 w 2171700"/>
                        <a:gd name="connsiteY13" fmla="*/ 1450181 h 1828800"/>
                        <a:gd name="connsiteX14" fmla="*/ 1590675 w 2171700"/>
                        <a:gd name="connsiteY14" fmla="*/ 1502568 h 1828800"/>
                        <a:gd name="connsiteX15" fmla="*/ 1643063 w 2171700"/>
                        <a:gd name="connsiteY15" fmla="*/ 1650206 h 1828800"/>
                        <a:gd name="connsiteX16" fmla="*/ 1728788 w 2171700"/>
                        <a:gd name="connsiteY16" fmla="*/ 1600200 h 1828800"/>
                        <a:gd name="connsiteX17" fmla="*/ 1709738 w 2171700"/>
                        <a:gd name="connsiteY17" fmla="*/ 1828800 h 1828800"/>
                        <a:gd name="connsiteX18" fmla="*/ 1909763 w 2171700"/>
                        <a:gd name="connsiteY18" fmla="*/ 1676400 h 1828800"/>
                        <a:gd name="connsiteX19" fmla="*/ 1985963 w 2171700"/>
                        <a:gd name="connsiteY19" fmla="*/ 1645443 h 1828800"/>
                        <a:gd name="connsiteX20" fmla="*/ 2131219 w 2171700"/>
                        <a:gd name="connsiteY20" fmla="*/ 1545431 h 1828800"/>
                        <a:gd name="connsiteX21" fmla="*/ 2081213 w 2171700"/>
                        <a:gd name="connsiteY21" fmla="*/ 1471612 h 1828800"/>
                        <a:gd name="connsiteX22" fmla="*/ 2169319 w 2171700"/>
                        <a:gd name="connsiteY22" fmla="*/ 1395412 h 1828800"/>
                        <a:gd name="connsiteX23" fmla="*/ 2162175 w 2171700"/>
                        <a:gd name="connsiteY23" fmla="*/ 1345406 h 1828800"/>
                        <a:gd name="connsiteX24" fmla="*/ 2169319 w 2171700"/>
                        <a:gd name="connsiteY24" fmla="*/ 1290637 h 1828800"/>
                        <a:gd name="connsiteX25" fmla="*/ 2171700 w 2171700"/>
                        <a:gd name="connsiteY25" fmla="*/ 1259681 h 1828800"/>
                        <a:gd name="connsiteX26" fmla="*/ 2062163 w 2171700"/>
                        <a:gd name="connsiteY26" fmla="*/ 1171575 h 1828800"/>
                        <a:gd name="connsiteX27" fmla="*/ 2059782 w 2171700"/>
                        <a:gd name="connsiteY27" fmla="*/ 947737 h 1828800"/>
                        <a:gd name="connsiteX28" fmla="*/ 1988344 w 2171700"/>
                        <a:gd name="connsiteY28" fmla="*/ 847725 h 1828800"/>
                        <a:gd name="connsiteX29" fmla="*/ 2019300 w 2171700"/>
                        <a:gd name="connsiteY29" fmla="*/ 657225 h 1828800"/>
                        <a:gd name="connsiteX30" fmla="*/ 1990725 w 2171700"/>
                        <a:gd name="connsiteY30" fmla="*/ 619125 h 1828800"/>
                        <a:gd name="connsiteX31" fmla="*/ 1976438 w 2171700"/>
                        <a:gd name="connsiteY31" fmla="*/ 597693 h 1828800"/>
                        <a:gd name="connsiteX32" fmla="*/ 1916907 w 2171700"/>
                        <a:gd name="connsiteY32" fmla="*/ 597693 h 1828800"/>
                        <a:gd name="connsiteX33" fmla="*/ 1864519 w 2171700"/>
                        <a:gd name="connsiteY33" fmla="*/ 590550 h 1828800"/>
                        <a:gd name="connsiteX34" fmla="*/ 1831182 w 2171700"/>
                        <a:gd name="connsiteY34" fmla="*/ 619125 h 1828800"/>
                        <a:gd name="connsiteX35" fmla="*/ 1621632 w 2171700"/>
                        <a:gd name="connsiteY35" fmla="*/ 609600 h 1828800"/>
                        <a:gd name="connsiteX36" fmla="*/ 1516857 w 2171700"/>
                        <a:gd name="connsiteY36" fmla="*/ 509587 h 1828800"/>
                        <a:gd name="connsiteX37" fmla="*/ 1250157 w 2171700"/>
                        <a:gd name="connsiteY37" fmla="*/ 390525 h 1828800"/>
                        <a:gd name="connsiteX38" fmla="*/ 1135857 w 2171700"/>
                        <a:gd name="connsiteY38" fmla="*/ 335756 h 1828800"/>
                        <a:gd name="connsiteX39" fmla="*/ 1083469 w 2171700"/>
                        <a:gd name="connsiteY39" fmla="*/ 273843 h 1828800"/>
                        <a:gd name="connsiteX40" fmla="*/ 1040607 w 2171700"/>
                        <a:gd name="connsiteY40" fmla="*/ 271462 h 1828800"/>
                        <a:gd name="connsiteX41" fmla="*/ 1014413 w 2171700"/>
                        <a:gd name="connsiteY41" fmla="*/ 247650 h 1828800"/>
                        <a:gd name="connsiteX42" fmla="*/ 947738 w 2171700"/>
                        <a:gd name="connsiteY42" fmla="*/ 190500 h 1828800"/>
                        <a:gd name="connsiteX43" fmla="*/ 950119 w 2171700"/>
                        <a:gd name="connsiteY43" fmla="*/ 159543 h 1828800"/>
                        <a:gd name="connsiteX44" fmla="*/ 878682 w 2171700"/>
                        <a:gd name="connsiteY44" fmla="*/ 76200 h 1828800"/>
                        <a:gd name="connsiteX45" fmla="*/ 797719 w 2171700"/>
                        <a:gd name="connsiteY45" fmla="*/ 0 h 1828800"/>
                        <a:gd name="connsiteX46" fmla="*/ 685800 w 2171700"/>
                        <a:gd name="connsiteY46" fmla="*/ 0 h 1828800"/>
                        <a:gd name="connsiteX47" fmla="*/ 640557 w 2171700"/>
                        <a:gd name="connsiteY47" fmla="*/ 71437 h 1828800"/>
                        <a:gd name="connsiteX48" fmla="*/ 576263 w 2171700"/>
                        <a:gd name="connsiteY48" fmla="*/ 202406 h 1828800"/>
                        <a:gd name="connsiteX49" fmla="*/ 452438 w 2171700"/>
                        <a:gd name="connsiteY49" fmla="*/ 185737 h 1828800"/>
                        <a:gd name="connsiteX50" fmla="*/ 423863 w 2171700"/>
                        <a:gd name="connsiteY50" fmla="*/ 288131 h 1828800"/>
                        <a:gd name="connsiteX51" fmla="*/ 385763 w 2171700"/>
                        <a:gd name="connsiteY51" fmla="*/ 271462 h 1828800"/>
                        <a:gd name="connsiteX52" fmla="*/ 145257 w 2171700"/>
                        <a:gd name="connsiteY52" fmla="*/ 519112 h 1828800"/>
                        <a:gd name="connsiteX53" fmla="*/ 71438 w 2171700"/>
                        <a:gd name="connsiteY53" fmla="*/ 516731 h 1828800"/>
                        <a:gd name="connsiteX54" fmla="*/ 40482 w 2171700"/>
                        <a:gd name="connsiteY54" fmla="*/ 566737 h 1828800"/>
                        <a:gd name="connsiteX55" fmla="*/ 28575 w 2171700"/>
                        <a:gd name="connsiteY55" fmla="*/ 602456 h 1828800"/>
                        <a:gd name="connsiteX56" fmla="*/ 0 w 2171700"/>
                        <a:gd name="connsiteY56" fmla="*/ 652462 h 1828800"/>
                        <a:gd name="connsiteX0" fmla="*/ 0 w 2171700"/>
                        <a:gd name="connsiteY0" fmla="*/ 652462 h 1828800"/>
                        <a:gd name="connsiteX1" fmla="*/ 295275 w 2171700"/>
                        <a:gd name="connsiteY1" fmla="*/ 892968 h 1828800"/>
                        <a:gd name="connsiteX2" fmla="*/ 485775 w 2171700"/>
                        <a:gd name="connsiteY2" fmla="*/ 1054893 h 1828800"/>
                        <a:gd name="connsiteX3" fmla="*/ 547688 w 2171700"/>
                        <a:gd name="connsiteY3" fmla="*/ 1097756 h 1828800"/>
                        <a:gd name="connsiteX4" fmla="*/ 566738 w 2171700"/>
                        <a:gd name="connsiteY4" fmla="*/ 1140618 h 1828800"/>
                        <a:gd name="connsiteX5" fmla="*/ 545307 w 2171700"/>
                        <a:gd name="connsiteY5" fmla="*/ 1157287 h 1828800"/>
                        <a:gd name="connsiteX6" fmla="*/ 754857 w 2171700"/>
                        <a:gd name="connsiteY6" fmla="*/ 1423987 h 1828800"/>
                        <a:gd name="connsiteX7" fmla="*/ 909638 w 2171700"/>
                        <a:gd name="connsiteY7" fmla="*/ 1388268 h 1828800"/>
                        <a:gd name="connsiteX8" fmla="*/ 1023938 w 2171700"/>
                        <a:gd name="connsiteY8" fmla="*/ 1378743 h 1828800"/>
                        <a:gd name="connsiteX9" fmla="*/ 1109663 w 2171700"/>
                        <a:gd name="connsiteY9" fmla="*/ 1395412 h 1828800"/>
                        <a:gd name="connsiteX10" fmla="*/ 1228725 w 2171700"/>
                        <a:gd name="connsiteY10" fmla="*/ 1404937 h 1828800"/>
                        <a:gd name="connsiteX11" fmla="*/ 1328738 w 2171700"/>
                        <a:gd name="connsiteY11" fmla="*/ 1416843 h 1828800"/>
                        <a:gd name="connsiteX12" fmla="*/ 1428750 w 2171700"/>
                        <a:gd name="connsiteY12" fmla="*/ 1359693 h 1828800"/>
                        <a:gd name="connsiteX13" fmla="*/ 1500188 w 2171700"/>
                        <a:gd name="connsiteY13" fmla="*/ 1450181 h 1828800"/>
                        <a:gd name="connsiteX14" fmla="*/ 1590675 w 2171700"/>
                        <a:gd name="connsiteY14" fmla="*/ 1502568 h 1828800"/>
                        <a:gd name="connsiteX15" fmla="*/ 1643063 w 2171700"/>
                        <a:gd name="connsiteY15" fmla="*/ 1650206 h 1828800"/>
                        <a:gd name="connsiteX16" fmla="*/ 1728788 w 2171700"/>
                        <a:gd name="connsiteY16" fmla="*/ 1600200 h 1828800"/>
                        <a:gd name="connsiteX17" fmla="*/ 1709738 w 2171700"/>
                        <a:gd name="connsiteY17" fmla="*/ 1828800 h 1828800"/>
                        <a:gd name="connsiteX18" fmla="*/ 1909763 w 2171700"/>
                        <a:gd name="connsiteY18" fmla="*/ 1676400 h 1828800"/>
                        <a:gd name="connsiteX19" fmla="*/ 1985963 w 2171700"/>
                        <a:gd name="connsiteY19" fmla="*/ 1645443 h 1828800"/>
                        <a:gd name="connsiteX20" fmla="*/ 2131219 w 2171700"/>
                        <a:gd name="connsiteY20" fmla="*/ 1545431 h 1828800"/>
                        <a:gd name="connsiteX21" fmla="*/ 2081213 w 2171700"/>
                        <a:gd name="connsiteY21" fmla="*/ 1471612 h 1828800"/>
                        <a:gd name="connsiteX22" fmla="*/ 2169319 w 2171700"/>
                        <a:gd name="connsiteY22" fmla="*/ 1395412 h 1828800"/>
                        <a:gd name="connsiteX23" fmla="*/ 2162175 w 2171700"/>
                        <a:gd name="connsiteY23" fmla="*/ 1345406 h 1828800"/>
                        <a:gd name="connsiteX24" fmla="*/ 2169319 w 2171700"/>
                        <a:gd name="connsiteY24" fmla="*/ 1290637 h 1828800"/>
                        <a:gd name="connsiteX25" fmla="*/ 2171700 w 2171700"/>
                        <a:gd name="connsiteY25" fmla="*/ 1259681 h 1828800"/>
                        <a:gd name="connsiteX26" fmla="*/ 2062163 w 2171700"/>
                        <a:gd name="connsiteY26" fmla="*/ 1171575 h 1828800"/>
                        <a:gd name="connsiteX27" fmla="*/ 2059782 w 2171700"/>
                        <a:gd name="connsiteY27" fmla="*/ 947737 h 1828800"/>
                        <a:gd name="connsiteX28" fmla="*/ 1988344 w 2171700"/>
                        <a:gd name="connsiteY28" fmla="*/ 847725 h 1828800"/>
                        <a:gd name="connsiteX29" fmla="*/ 2019300 w 2171700"/>
                        <a:gd name="connsiteY29" fmla="*/ 657225 h 1828800"/>
                        <a:gd name="connsiteX30" fmla="*/ 1990725 w 2171700"/>
                        <a:gd name="connsiteY30" fmla="*/ 619125 h 1828800"/>
                        <a:gd name="connsiteX31" fmla="*/ 1976438 w 2171700"/>
                        <a:gd name="connsiteY31" fmla="*/ 597693 h 1828800"/>
                        <a:gd name="connsiteX32" fmla="*/ 1916907 w 2171700"/>
                        <a:gd name="connsiteY32" fmla="*/ 597693 h 1828800"/>
                        <a:gd name="connsiteX33" fmla="*/ 1864519 w 2171700"/>
                        <a:gd name="connsiteY33" fmla="*/ 590550 h 1828800"/>
                        <a:gd name="connsiteX34" fmla="*/ 1831182 w 2171700"/>
                        <a:gd name="connsiteY34" fmla="*/ 619125 h 1828800"/>
                        <a:gd name="connsiteX35" fmla="*/ 1621632 w 2171700"/>
                        <a:gd name="connsiteY35" fmla="*/ 609600 h 1828800"/>
                        <a:gd name="connsiteX36" fmla="*/ 1516857 w 2171700"/>
                        <a:gd name="connsiteY36" fmla="*/ 509587 h 1828800"/>
                        <a:gd name="connsiteX37" fmla="*/ 1250157 w 2171700"/>
                        <a:gd name="connsiteY37" fmla="*/ 390525 h 1828800"/>
                        <a:gd name="connsiteX38" fmla="*/ 1135857 w 2171700"/>
                        <a:gd name="connsiteY38" fmla="*/ 335756 h 1828800"/>
                        <a:gd name="connsiteX39" fmla="*/ 1083469 w 2171700"/>
                        <a:gd name="connsiteY39" fmla="*/ 273843 h 1828800"/>
                        <a:gd name="connsiteX40" fmla="*/ 1040607 w 2171700"/>
                        <a:gd name="connsiteY40" fmla="*/ 271462 h 1828800"/>
                        <a:gd name="connsiteX41" fmla="*/ 1042988 w 2171700"/>
                        <a:gd name="connsiteY41" fmla="*/ 242887 h 1828800"/>
                        <a:gd name="connsiteX42" fmla="*/ 947738 w 2171700"/>
                        <a:gd name="connsiteY42" fmla="*/ 190500 h 1828800"/>
                        <a:gd name="connsiteX43" fmla="*/ 950119 w 2171700"/>
                        <a:gd name="connsiteY43" fmla="*/ 159543 h 1828800"/>
                        <a:gd name="connsiteX44" fmla="*/ 878682 w 2171700"/>
                        <a:gd name="connsiteY44" fmla="*/ 76200 h 1828800"/>
                        <a:gd name="connsiteX45" fmla="*/ 797719 w 2171700"/>
                        <a:gd name="connsiteY45" fmla="*/ 0 h 1828800"/>
                        <a:gd name="connsiteX46" fmla="*/ 685800 w 2171700"/>
                        <a:gd name="connsiteY46" fmla="*/ 0 h 1828800"/>
                        <a:gd name="connsiteX47" fmla="*/ 640557 w 2171700"/>
                        <a:gd name="connsiteY47" fmla="*/ 71437 h 1828800"/>
                        <a:gd name="connsiteX48" fmla="*/ 576263 w 2171700"/>
                        <a:gd name="connsiteY48" fmla="*/ 202406 h 1828800"/>
                        <a:gd name="connsiteX49" fmla="*/ 452438 w 2171700"/>
                        <a:gd name="connsiteY49" fmla="*/ 185737 h 1828800"/>
                        <a:gd name="connsiteX50" fmla="*/ 423863 w 2171700"/>
                        <a:gd name="connsiteY50" fmla="*/ 288131 h 1828800"/>
                        <a:gd name="connsiteX51" fmla="*/ 385763 w 2171700"/>
                        <a:gd name="connsiteY51" fmla="*/ 271462 h 1828800"/>
                        <a:gd name="connsiteX52" fmla="*/ 145257 w 2171700"/>
                        <a:gd name="connsiteY52" fmla="*/ 519112 h 1828800"/>
                        <a:gd name="connsiteX53" fmla="*/ 71438 w 2171700"/>
                        <a:gd name="connsiteY53" fmla="*/ 516731 h 1828800"/>
                        <a:gd name="connsiteX54" fmla="*/ 40482 w 2171700"/>
                        <a:gd name="connsiteY54" fmla="*/ 566737 h 1828800"/>
                        <a:gd name="connsiteX55" fmla="*/ 28575 w 2171700"/>
                        <a:gd name="connsiteY55" fmla="*/ 602456 h 1828800"/>
                        <a:gd name="connsiteX56" fmla="*/ 0 w 2171700"/>
                        <a:gd name="connsiteY56" fmla="*/ 652462 h 1828800"/>
                        <a:gd name="connsiteX0" fmla="*/ 0 w 2171700"/>
                        <a:gd name="connsiteY0" fmla="*/ 652462 h 1828800"/>
                        <a:gd name="connsiteX1" fmla="*/ 295275 w 2171700"/>
                        <a:gd name="connsiteY1" fmla="*/ 892968 h 1828800"/>
                        <a:gd name="connsiteX2" fmla="*/ 485775 w 2171700"/>
                        <a:gd name="connsiteY2" fmla="*/ 1054893 h 1828800"/>
                        <a:gd name="connsiteX3" fmla="*/ 547688 w 2171700"/>
                        <a:gd name="connsiteY3" fmla="*/ 1097756 h 1828800"/>
                        <a:gd name="connsiteX4" fmla="*/ 566738 w 2171700"/>
                        <a:gd name="connsiteY4" fmla="*/ 1140618 h 1828800"/>
                        <a:gd name="connsiteX5" fmla="*/ 545307 w 2171700"/>
                        <a:gd name="connsiteY5" fmla="*/ 1157287 h 1828800"/>
                        <a:gd name="connsiteX6" fmla="*/ 754857 w 2171700"/>
                        <a:gd name="connsiteY6" fmla="*/ 1423987 h 1828800"/>
                        <a:gd name="connsiteX7" fmla="*/ 909638 w 2171700"/>
                        <a:gd name="connsiteY7" fmla="*/ 1388268 h 1828800"/>
                        <a:gd name="connsiteX8" fmla="*/ 1023938 w 2171700"/>
                        <a:gd name="connsiteY8" fmla="*/ 1378743 h 1828800"/>
                        <a:gd name="connsiteX9" fmla="*/ 1109663 w 2171700"/>
                        <a:gd name="connsiteY9" fmla="*/ 1395412 h 1828800"/>
                        <a:gd name="connsiteX10" fmla="*/ 1228725 w 2171700"/>
                        <a:gd name="connsiteY10" fmla="*/ 1404937 h 1828800"/>
                        <a:gd name="connsiteX11" fmla="*/ 1328738 w 2171700"/>
                        <a:gd name="connsiteY11" fmla="*/ 1416843 h 1828800"/>
                        <a:gd name="connsiteX12" fmla="*/ 1428750 w 2171700"/>
                        <a:gd name="connsiteY12" fmla="*/ 1359693 h 1828800"/>
                        <a:gd name="connsiteX13" fmla="*/ 1500188 w 2171700"/>
                        <a:gd name="connsiteY13" fmla="*/ 1450181 h 1828800"/>
                        <a:gd name="connsiteX14" fmla="*/ 1590675 w 2171700"/>
                        <a:gd name="connsiteY14" fmla="*/ 1502568 h 1828800"/>
                        <a:gd name="connsiteX15" fmla="*/ 1643063 w 2171700"/>
                        <a:gd name="connsiteY15" fmla="*/ 1650206 h 1828800"/>
                        <a:gd name="connsiteX16" fmla="*/ 1728788 w 2171700"/>
                        <a:gd name="connsiteY16" fmla="*/ 1600200 h 1828800"/>
                        <a:gd name="connsiteX17" fmla="*/ 1709738 w 2171700"/>
                        <a:gd name="connsiteY17" fmla="*/ 1828800 h 1828800"/>
                        <a:gd name="connsiteX18" fmla="*/ 1909763 w 2171700"/>
                        <a:gd name="connsiteY18" fmla="*/ 1676400 h 1828800"/>
                        <a:gd name="connsiteX19" fmla="*/ 1985963 w 2171700"/>
                        <a:gd name="connsiteY19" fmla="*/ 1645443 h 1828800"/>
                        <a:gd name="connsiteX20" fmla="*/ 2131219 w 2171700"/>
                        <a:gd name="connsiteY20" fmla="*/ 1545431 h 1828800"/>
                        <a:gd name="connsiteX21" fmla="*/ 2081213 w 2171700"/>
                        <a:gd name="connsiteY21" fmla="*/ 1471612 h 1828800"/>
                        <a:gd name="connsiteX22" fmla="*/ 2169319 w 2171700"/>
                        <a:gd name="connsiteY22" fmla="*/ 1395412 h 1828800"/>
                        <a:gd name="connsiteX23" fmla="*/ 2162175 w 2171700"/>
                        <a:gd name="connsiteY23" fmla="*/ 1345406 h 1828800"/>
                        <a:gd name="connsiteX24" fmla="*/ 2169319 w 2171700"/>
                        <a:gd name="connsiteY24" fmla="*/ 1290637 h 1828800"/>
                        <a:gd name="connsiteX25" fmla="*/ 2171700 w 2171700"/>
                        <a:gd name="connsiteY25" fmla="*/ 1259681 h 1828800"/>
                        <a:gd name="connsiteX26" fmla="*/ 2062163 w 2171700"/>
                        <a:gd name="connsiteY26" fmla="*/ 1171575 h 1828800"/>
                        <a:gd name="connsiteX27" fmla="*/ 2059782 w 2171700"/>
                        <a:gd name="connsiteY27" fmla="*/ 947737 h 1828800"/>
                        <a:gd name="connsiteX28" fmla="*/ 1988344 w 2171700"/>
                        <a:gd name="connsiteY28" fmla="*/ 847725 h 1828800"/>
                        <a:gd name="connsiteX29" fmla="*/ 2019300 w 2171700"/>
                        <a:gd name="connsiteY29" fmla="*/ 657225 h 1828800"/>
                        <a:gd name="connsiteX30" fmla="*/ 1990725 w 2171700"/>
                        <a:gd name="connsiteY30" fmla="*/ 619125 h 1828800"/>
                        <a:gd name="connsiteX31" fmla="*/ 1976438 w 2171700"/>
                        <a:gd name="connsiteY31" fmla="*/ 597693 h 1828800"/>
                        <a:gd name="connsiteX32" fmla="*/ 1916907 w 2171700"/>
                        <a:gd name="connsiteY32" fmla="*/ 597693 h 1828800"/>
                        <a:gd name="connsiteX33" fmla="*/ 1864519 w 2171700"/>
                        <a:gd name="connsiteY33" fmla="*/ 590550 h 1828800"/>
                        <a:gd name="connsiteX34" fmla="*/ 1831182 w 2171700"/>
                        <a:gd name="connsiteY34" fmla="*/ 619125 h 1828800"/>
                        <a:gd name="connsiteX35" fmla="*/ 1621632 w 2171700"/>
                        <a:gd name="connsiteY35" fmla="*/ 609600 h 1828800"/>
                        <a:gd name="connsiteX36" fmla="*/ 1516857 w 2171700"/>
                        <a:gd name="connsiteY36" fmla="*/ 509587 h 1828800"/>
                        <a:gd name="connsiteX37" fmla="*/ 1250157 w 2171700"/>
                        <a:gd name="connsiteY37" fmla="*/ 390525 h 1828800"/>
                        <a:gd name="connsiteX38" fmla="*/ 1135857 w 2171700"/>
                        <a:gd name="connsiteY38" fmla="*/ 335756 h 1828800"/>
                        <a:gd name="connsiteX39" fmla="*/ 1083469 w 2171700"/>
                        <a:gd name="connsiteY39" fmla="*/ 273843 h 1828800"/>
                        <a:gd name="connsiteX40" fmla="*/ 1040607 w 2171700"/>
                        <a:gd name="connsiteY40" fmla="*/ 271462 h 1828800"/>
                        <a:gd name="connsiteX41" fmla="*/ 1042988 w 2171700"/>
                        <a:gd name="connsiteY41" fmla="*/ 242887 h 1828800"/>
                        <a:gd name="connsiteX42" fmla="*/ 947738 w 2171700"/>
                        <a:gd name="connsiteY42" fmla="*/ 190500 h 1828800"/>
                        <a:gd name="connsiteX43" fmla="*/ 950119 w 2171700"/>
                        <a:gd name="connsiteY43" fmla="*/ 159543 h 1828800"/>
                        <a:gd name="connsiteX44" fmla="*/ 914400 w 2171700"/>
                        <a:gd name="connsiteY44" fmla="*/ 116681 h 1828800"/>
                        <a:gd name="connsiteX45" fmla="*/ 878682 w 2171700"/>
                        <a:gd name="connsiteY45" fmla="*/ 76200 h 1828800"/>
                        <a:gd name="connsiteX46" fmla="*/ 797719 w 2171700"/>
                        <a:gd name="connsiteY46" fmla="*/ 0 h 1828800"/>
                        <a:gd name="connsiteX47" fmla="*/ 685800 w 2171700"/>
                        <a:gd name="connsiteY47" fmla="*/ 0 h 1828800"/>
                        <a:gd name="connsiteX48" fmla="*/ 640557 w 2171700"/>
                        <a:gd name="connsiteY48" fmla="*/ 71437 h 1828800"/>
                        <a:gd name="connsiteX49" fmla="*/ 576263 w 2171700"/>
                        <a:gd name="connsiteY49" fmla="*/ 202406 h 1828800"/>
                        <a:gd name="connsiteX50" fmla="*/ 452438 w 2171700"/>
                        <a:gd name="connsiteY50" fmla="*/ 185737 h 1828800"/>
                        <a:gd name="connsiteX51" fmla="*/ 423863 w 2171700"/>
                        <a:gd name="connsiteY51" fmla="*/ 288131 h 1828800"/>
                        <a:gd name="connsiteX52" fmla="*/ 385763 w 2171700"/>
                        <a:gd name="connsiteY52" fmla="*/ 271462 h 1828800"/>
                        <a:gd name="connsiteX53" fmla="*/ 145257 w 2171700"/>
                        <a:gd name="connsiteY53" fmla="*/ 519112 h 1828800"/>
                        <a:gd name="connsiteX54" fmla="*/ 71438 w 2171700"/>
                        <a:gd name="connsiteY54" fmla="*/ 516731 h 1828800"/>
                        <a:gd name="connsiteX55" fmla="*/ 40482 w 2171700"/>
                        <a:gd name="connsiteY55" fmla="*/ 566737 h 1828800"/>
                        <a:gd name="connsiteX56" fmla="*/ 28575 w 2171700"/>
                        <a:gd name="connsiteY56" fmla="*/ 602456 h 1828800"/>
                        <a:gd name="connsiteX57" fmla="*/ 0 w 2171700"/>
                        <a:gd name="connsiteY57" fmla="*/ 652462 h 1828800"/>
                        <a:gd name="connsiteX0" fmla="*/ 0 w 2171700"/>
                        <a:gd name="connsiteY0" fmla="*/ 652462 h 1828800"/>
                        <a:gd name="connsiteX1" fmla="*/ 295275 w 2171700"/>
                        <a:gd name="connsiteY1" fmla="*/ 892968 h 1828800"/>
                        <a:gd name="connsiteX2" fmla="*/ 485775 w 2171700"/>
                        <a:gd name="connsiteY2" fmla="*/ 1054893 h 1828800"/>
                        <a:gd name="connsiteX3" fmla="*/ 547688 w 2171700"/>
                        <a:gd name="connsiteY3" fmla="*/ 1097756 h 1828800"/>
                        <a:gd name="connsiteX4" fmla="*/ 566738 w 2171700"/>
                        <a:gd name="connsiteY4" fmla="*/ 1140618 h 1828800"/>
                        <a:gd name="connsiteX5" fmla="*/ 545307 w 2171700"/>
                        <a:gd name="connsiteY5" fmla="*/ 1157287 h 1828800"/>
                        <a:gd name="connsiteX6" fmla="*/ 754857 w 2171700"/>
                        <a:gd name="connsiteY6" fmla="*/ 1423987 h 1828800"/>
                        <a:gd name="connsiteX7" fmla="*/ 909638 w 2171700"/>
                        <a:gd name="connsiteY7" fmla="*/ 1388268 h 1828800"/>
                        <a:gd name="connsiteX8" fmla="*/ 1023938 w 2171700"/>
                        <a:gd name="connsiteY8" fmla="*/ 1378743 h 1828800"/>
                        <a:gd name="connsiteX9" fmla="*/ 1109663 w 2171700"/>
                        <a:gd name="connsiteY9" fmla="*/ 1395412 h 1828800"/>
                        <a:gd name="connsiteX10" fmla="*/ 1228725 w 2171700"/>
                        <a:gd name="connsiteY10" fmla="*/ 1404937 h 1828800"/>
                        <a:gd name="connsiteX11" fmla="*/ 1328738 w 2171700"/>
                        <a:gd name="connsiteY11" fmla="*/ 1416843 h 1828800"/>
                        <a:gd name="connsiteX12" fmla="*/ 1428750 w 2171700"/>
                        <a:gd name="connsiteY12" fmla="*/ 1359693 h 1828800"/>
                        <a:gd name="connsiteX13" fmla="*/ 1500188 w 2171700"/>
                        <a:gd name="connsiteY13" fmla="*/ 1450181 h 1828800"/>
                        <a:gd name="connsiteX14" fmla="*/ 1590675 w 2171700"/>
                        <a:gd name="connsiteY14" fmla="*/ 1502568 h 1828800"/>
                        <a:gd name="connsiteX15" fmla="*/ 1643063 w 2171700"/>
                        <a:gd name="connsiteY15" fmla="*/ 1650206 h 1828800"/>
                        <a:gd name="connsiteX16" fmla="*/ 1728788 w 2171700"/>
                        <a:gd name="connsiteY16" fmla="*/ 1600200 h 1828800"/>
                        <a:gd name="connsiteX17" fmla="*/ 1709738 w 2171700"/>
                        <a:gd name="connsiteY17" fmla="*/ 1828800 h 1828800"/>
                        <a:gd name="connsiteX18" fmla="*/ 1909763 w 2171700"/>
                        <a:gd name="connsiteY18" fmla="*/ 1676400 h 1828800"/>
                        <a:gd name="connsiteX19" fmla="*/ 1985963 w 2171700"/>
                        <a:gd name="connsiteY19" fmla="*/ 1645443 h 1828800"/>
                        <a:gd name="connsiteX20" fmla="*/ 2131219 w 2171700"/>
                        <a:gd name="connsiteY20" fmla="*/ 1545431 h 1828800"/>
                        <a:gd name="connsiteX21" fmla="*/ 2081213 w 2171700"/>
                        <a:gd name="connsiteY21" fmla="*/ 1471612 h 1828800"/>
                        <a:gd name="connsiteX22" fmla="*/ 2169319 w 2171700"/>
                        <a:gd name="connsiteY22" fmla="*/ 1395412 h 1828800"/>
                        <a:gd name="connsiteX23" fmla="*/ 2162175 w 2171700"/>
                        <a:gd name="connsiteY23" fmla="*/ 1345406 h 1828800"/>
                        <a:gd name="connsiteX24" fmla="*/ 2169319 w 2171700"/>
                        <a:gd name="connsiteY24" fmla="*/ 1290637 h 1828800"/>
                        <a:gd name="connsiteX25" fmla="*/ 2171700 w 2171700"/>
                        <a:gd name="connsiteY25" fmla="*/ 1259681 h 1828800"/>
                        <a:gd name="connsiteX26" fmla="*/ 2062163 w 2171700"/>
                        <a:gd name="connsiteY26" fmla="*/ 1171575 h 1828800"/>
                        <a:gd name="connsiteX27" fmla="*/ 2059782 w 2171700"/>
                        <a:gd name="connsiteY27" fmla="*/ 947737 h 1828800"/>
                        <a:gd name="connsiteX28" fmla="*/ 1988344 w 2171700"/>
                        <a:gd name="connsiteY28" fmla="*/ 847725 h 1828800"/>
                        <a:gd name="connsiteX29" fmla="*/ 2019300 w 2171700"/>
                        <a:gd name="connsiteY29" fmla="*/ 657225 h 1828800"/>
                        <a:gd name="connsiteX30" fmla="*/ 1990725 w 2171700"/>
                        <a:gd name="connsiteY30" fmla="*/ 619125 h 1828800"/>
                        <a:gd name="connsiteX31" fmla="*/ 1976438 w 2171700"/>
                        <a:gd name="connsiteY31" fmla="*/ 597693 h 1828800"/>
                        <a:gd name="connsiteX32" fmla="*/ 1916907 w 2171700"/>
                        <a:gd name="connsiteY32" fmla="*/ 597693 h 1828800"/>
                        <a:gd name="connsiteX33" fmla="*/ 1864519 w 2171700"/>
                        <a:gd name="connsiteY33" fmla="*/ 590550 h 1828800"/>
                        <a:gd name="connsiteX34" fmla="*/ 1831182 w 2171700"/>
                        <a:gd name="connsiteY34" fmla="*/ 619125 h 1828800"/>
                        <a:gd name="connsiteX35" fmla="*/ 1621632 w 2171700"/>
                        <a:gd name="connsiteY35" fmla="*/ 609600 h 1828800"/>
                        <a:gd name="connsiteX36" fmla="*/ 1516857 w 2171700"/>
                        <a:gd name="connsiteY36" fmla="*/ 509587 h 1828800"/>
                        <a:gd name="connsiteX37" fmla="*/ 1250157 w 2171700"/>
                        <a:gd name="connsiteY37" fmla="*/ 390525 h 1828800"/>
                        <a:gd name="connsiteX38" fmla="*/ 1135857 w 2171700"/>
                        <a:gd name="connsiteY38" fmla="*/ 335756 h 1828800"/>
                        <a:gd name="connsiteX39" fmla="*/ 1083469 w 2171700"/>
                        <a:gd name="connsiteY39" fmla="*/ 273843 h 1828800"/>
                        <a:gd name="connsiteX40" fmla="*/ 1040607 w 2171700"/>
                        <a:gd name="connsiteY40" fmla="*/ 271462 h 1828800"/>
                        <a:gd name="connsiteX41" fmla="*/ 1042988 w 2171700"/>
                        <a:gd name="connsiteY41" fmla="*/ 242887 h 1828800"/>
                        <a:gd name="connsiteX42" fmla="*/ 947738 w 2171700"/>
                        <a:gd name="connsiteY42" fmla="*/ 190500 h 1828800"/>
                        <a:gd name="connsiteX43" fmla="*/ 950119 w 2171700"/>
                        <a:gd name="connsiteY43" fmla="*/ 159543 h 1828800"/>
                        <a:gd name="connsiteX44" fmla="*/ 923925 w 2171700"/>
                        <a:gd name="connsiteY44" fmla="*/ 114299 h 1828800"/>
                        <a:gd name="connsiteX45" fmla="*/ 878682 w 2171700"/>
                        <a:gd name="connsiteY45" fmla="*/ 76200 h 1828800"/>
                        <a:gd name="connsiteX46" fmla="*/ 797719 w 2171700"/>
                        <a:gd name="connsiteY46" fmla="*/ 0 h 1828800"/>
                        <a:gd name="connsiteX47" fmla="*/ 685800 w 2171700"/>
                        <a:gd name="connsiteY47" fmla="*/ 0 h 1828800"/>
                        <a:gd name="connsiteX48" fmla="*/ 640557 w 2171700"/>
                        <a:gd name="connsiteY48" fmla="*/ 71437 h 1828800"/>
                        <a:gd name="connsiteX49" fmla="*/ 576263 w 2171700"/>
                        <a:gd name="connsiteY49" fmla="*/ 202406 h 1828800"/>
                        <a:gd name="connsiteX50" fmla="*/ 452438 w 2171700"/>
                        <a:gd name="connsiteY50" fmla="*/ 185737 h 1828800"/>
                        <a:gd name="connsiteX51" fmla="*/ 423863 w 2171700"/>
                        <a:gd name="connsiteY51" fmla="*/ 288131 h 1828800"/>
                        <a:gd name="connsiteX52" fmla="*/ 385763 w 2171700"/>
                        <a:gd name="connsiteY52" fmla="*/ 271462 h 1828800"/>
                        <a:gd name="connsiteX53" fmla="*/ 145257 w 2171700"/>
                        <a:gd name="connsiteY53" fmla="*/ 519112 h 1828800"/>
                        <a:gd name="connsiteX54" fmla="*/ 71438 w 2171700"/>
                        <a:gd name="connsiteY54" fmla="*/ 516731 h 1828800"/>
                        <a:gd name="connsiteX55" fmla="*/ 40482 w 2171700"/>
                        <a:gd name="connsiteY55" fmla="*/ 566737 h 1828800"/>
                        <a:gd name="connsiteX56" fmla="*/ 28575 w 2171700"/>
                        <a:gd name="connsiteY56" fmla="*/ 602456 h 1828800"/>
                        <a:gd name="connsiteX57" fmla="*/ 0 w 2171700"/>
                        <a:gd name="connsiteY57" fmla="*/ 652462 h 18288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</a:cxnLst>
                      <a:rect l="l" t="t" r="r" b="b"/>
                      <a:pathLst>
                        <a:path w="2171700" h="1828800">
                          <a:moveTo>
                            <a:pt x="0" y="652462"/>
                          </a:moveTo>
                          <a:lnTo>
                            <a:pt x="295275" y="892968"/>
                          </a:lnTo>
                          <a:lnTo>
                            <a:pt x="485775" y="1054893"/>
                          </a:lnTo>
                          <a:lnTo>
                            <a:pt x="547688" y="1097756"/>
                          </a:lnTo>
                          <a:lnTo>
                            <a:pt x="566738" y="1140618"/>
                          </a:lnTo>
                          <a:lnTo>
                            <a:pt x="545307" y="1157287"/>
                          </a:lnTo>
                          <a:lnTo>
                            <a:pt x="754857" y="1423987"/>
                          </a:lnTo>
                          <a:lnTo>
                            <a:pt x="909638" y="1388268"/>
                          </a:lnTo>
                          <a:lnTo>
                            <a:pt x="1023938" y="1378743"/>
                          </a:lnTo>
                          <a:lnTo>
                            <a:pt x="1109663" y="1395412"/>
                          </a:lnTo>
                          <a:lnTo>
                            <a:pt x="1228725" y="1404937"/>
                          </a:lnTo>
                          <a:lnTo>
                            <a:pt x="1328738" y="1416843"/>
                          </a:lnTo>
                          <a:lnTo>
                            <a:pt x="1428750" y="1359693"/>
                          </a:lnTo>
                          <a:lnTo>
                            <a:pt x="1500188" y="1450181"/>
                          </a:lnTo>
                          <a:lnTo>
                            <a:pt x="1590675" y="1502568"/>
                          </a:lnTo>
                          <a:lnTo>
                            <a:pt x="1643063" y="1650206"/>
                          </a:lnTo>
                          <a:lnTo>
                            <a:pt x="1728788" y="1600200"/>
                          </a:lnTo>
                          <a:lnTo>
                            <a:pt x="1709738" y="1828800"/>
                          </a:lnTo>
                          <a:lnTo>
                            <a:pt x="1909763" y="1676400"/>
                          </a:lnTo>
                          <a:lnTo>
                            <a:pt x="1985963" y="1645443"/>
                          </a:lnTo>
                          <a:lnTo>
                            <a:pt x="2131219" y="1545431"/>
                          </a:lnTo>
                          <a:lnTo>
                            <a:pt x="2081213" y="1471612"/>
                          </a:lnTo>
                          <a:lnTo>
                            <a:pt x="2169319" y="1395412"/>
                          </a:lnTo>
                          <a:lnTo>
                            <a:pt x="2162175" y="1345406"/>
                          </a:lnTo>
                          <a:lnTo>
                            <a:pt x="2169319" y="1290637"/>
                          </a:lnTo>
                          <a:lnTo>
                            <a:pt x="2171700" y="1259681"/>
                          </a:lnTo>
                          <a:lnTo>
                            <a:pt x="2062163" y="1171575"/>
                          </a:lnTo>
                          <a:cubicBezTo>
                            <a:pt x="2061369" y="1096962"/>
                            <a:pt x="2060576" y="1022350"/>
                            <a:pt x="2059782" y="947737"/>
                          </a:cubicBezTo>
                          <a:lnTo>
                            <a:pt x="1988344" y="847725"/>
                          </a:lnTo>
                          <a:lnTo>
                            <a:pt x="2019300" y="657225"/>
                          </a:lnTo>
                          <a:lnTo>
                            <a:pt x="1990725" y="619125"/>
                          </a:lnTo>
                          <a:lnTo>
                            <a:pt x="1976438" y="597693"/>
                          </a:lnTo>
                          <a:lnTo>
                            <a:pt x="1916907" y="597693"/>
                          </a:lnTo>
                          <a:lnTo>
                            <a:pt x="1864519" y="590550"/>
                          </a:lnTo>
                          <a:lnTo>
                            <a:pt x="1831182" y="619125"/>
                          </a:lnTo>
                          <a:lnTo>
                            <a:pt x="1621632" y="609600"/>
                          </a:lnTo>
                          <a:lnTo>
                            <a:pt x="1516857" y="509587"/>
                          </a:lnTo>
                          <a:lnTo>
                            <a:pt x="1250157" y="390525"/>
                          </a:lnTo>
                          <a:lnTo>
                            <a:pt x="1135857" y="335756"/>
                          </a:lnTo>
                          <a:lnTo>
                            <a:pt x="1083469" y="273843"/>
                          </a:lnTo>
                          <a:lnTo>
                            <a:pt x="1040607" y="271462"/>
                          </a:lnTo>
                          <a:lnTo>
                            <a:pt x="1042988" y="242887"/>
                          </a:lnTo>
                          <a:lnTo>
                            <a:pt x="947738" y="190500"/>
                          </a:lnTo>
                          <a:lnTo>
                            <a:pt x="950119" y="159543"/>
                          </a:lnTo>
                          <a:lnTo>
                            <a:pt x="923925" y="114299"/>
                          </a:lnTo>
                          <a:lnTo>
                            <a:pt x="878682" y="76200"/>
                          </a:lnTo>
                          <a:lnTo>
                            <a:pt x="797719" y="0"/>
                          </a:lnTo>
                          <a:lnTo>
                            <a:pt x="685800" y="0"/>
                          </a:lnTo>
                          <a:lnTo>
                            <a:pt x="640557" y="71437"/>
                          </a:lnTo>
                          <a:lnTo>
                            <a:pt x="576263" y="202406"/>
                          </a:lnTo>
                          <a:lnTo>
                            <a:pt x="452438" y="185737"/>
                          </a:lnTo>
                          <a:lnTo>
                            <a:pt x="423863" y="288131"/>
                          </a:lnTo>
                          <a:lnTo>
                            <a:pt x="385763" y="271462"/>
                          </a:lnTo>
                          <a:lnTo>
                            <a:pt x="145257" y="519112"/>
                          </a:lnTo>
                          <a:lnTo>
                            <a:pt x="71438" y="516731"/>
                          </a:lnTo>
                          <a:lnTo>
                            <a:pt x="40482" y="566737"/>
                          </a:lnTo>
                          <a:lnTo>
                            <a:pt x="28575" y="602456"/>
                          </a:lnTo>
                          <a:lnTo>
                            <a:pt x="0" y="652462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0" name="Freeform 18"/>
                    <p:cNvSpPr/>
                    <p:nvPr/>
                  </p:nvSpPr>
                  <p:spPr>
                    <a:xfrm>
                      <a:off x="3517302" y="1773988"/>
                      <a:ext cx="2276039" cy="1182921"/>
                    </a:xfrm>
                    <a:custGeom>
                      <a:avLst/>
                      <a:gdLst>
                        <a:gd name="connsiteX0" fmla="*/ 1026319 w 3150394"/>
                        <a:gd name="connsiteY0" fmla="*/ 295275 h 1814512"/>
                        <a:gd name="connsiteX1" fmla="*/ 1081088 w 3150394"/>
                        <a:gd name="connsiteY1" fmla="*/ 240506 h 1814512"/>
                        <a:gd name="connsiteX2" fmla="*/ 1104900 w 3150394"/>
                        <a:gd name="connsiteY2" fmla="*/ 195262 h 1814512"/>
                        <a:gd name="connsiteX3" fmla="*/ 1150144 w 3150394"/>
                        <a:gd name="connsiteY3" fmla="*/ 180975 h 1814512"/>
                        <a:gd name="connsiteX4" fmla="*/ 1181100 w 3150394"/>
                        <a:gd name="connsiteY4" fmla="*/ 209550 h 1814512"/>
                        <a:gd name="connsiteX5" fmla="*/ 1197769 w 3150394"/>
                        <a:gd name="connsiteY5" fmla="*/ 250031 h 1814512"/>
                        <a:gd name="connsiteX6" fmla="*/ 1231106 w 3150394"/>
                        <a:gd name="connsiteY6" fmla="*/ 278606 h 1814512"/>
                        <a:gd name="connsiteX7" fmla="*/ 1252538 w 3150394"/>
                        <a:gd name="connsiteY7" fmla="*/ 280987 h 1814512"/>
                        <a:gd name="connsiteX8" fmla="*/ 1307306 w 3150394"/>
                        <a:gd name="connsiteY8" fmla="*/ 280987 h 1814512"/>
                        <a:gd name="connsiteX9" fmla="*/ 1338263 w 3150394"/>
                        <a:gd name="connsiteY9" fmla="*/ 314325 h 1814512"/>
                        <a:gd name="connsiteX10" fmla="*/ 1340644 w 3150394"/>
                        <a:gd name="connsiteY10" fmla="*/ 335756 h 1814512"/>
                        <a:gd name="connsiteX11" fmla="*/ 1352550 w 3150394"/>
                        <a:gd name="connsiteY11" fmla="*/ 373856 h 1814512"/>
                        <a:gd name="connsiteX12" fmla="*/ 1393031 w 3150394"/>
                        <a:gd name="connsiteY12" fmla="*/ 357187 h 1814512"/>
                        <a:gd name="connsiteX13" fmla="*/ 1452563 w 3150394"/>
                        <a:gd name="connsiteY13" fmla="*/ 373856 h 1814512"/>
                        <a:gd name="connsiteX14" fmla="*/ 1524000 w 3150394"/>
                        <a:gd name="connsiteY14" fmla="*/ 385762 h 1814512"/>
                        <a:gd name="connsiteX15" fmla="*/ 1564481 w 3150394"/>
                        <a:gd name="connsiteY15" fmla="*/ 369093 h 1814512"/>
                        <a:gd name="connsiteX16" fmla="*/ 1576388 w 3150394"/>
                        <a:gd name="connsiteY16" fmla="*/ 311943 h 1814512"/>
                        <a:gd name="connsiteX17" fmla="*/ 1581150 w 3150394"/>
                        <a:gd name="connsiteY17" fmla="*/ 285750 h 1814512"/>
                        <a:gd name="connsiteX18" fmla="*/ 1607344 w 3150394"/>
                        <a:gd name="connsiteY18" fmla="*/ 269081 h 1814512"/>
                        <a:gd name="connsiteX19" fmla="*/ 1735931 w 3150394"/>
                        <a:gd name="connsiteY19" fmla="*/ 178593 h 1814512"/>
                        <a:gd name="connsiteX20" fmla="*/ 1764506 w 3150394"/>
                        <a:gd name="connsiteY20" fmla="*/ 176212 h 1814512"/>
                        <a:gd name="connsiteX21" fmla="*/ 1774031 w 3150394"/>
                        <a:gd name="connsiteY21" fmla="*/ 228600 h 1814512"/>
                        <a:gd name="connsiteX22" fmla="*/ 1766888 w 3150394"/>
                        <a:gd name="connsiteY22" fmla="*/ 261937 h 1814512"/>
                        <a:gd name="connsiteX23" fmla="*/ 1843088 w 3150394"/>
                        <a:gd name="connsiteY23" fmla="*/ 280987 h 1814512"/>
                        <a:gd name="connsiteX24" fmla="*/ 1890713 w 3150394"/>
                        <a:gd name="connsiteY24" fmla="*/ 228600 h 1814512"/>
                        <a:gd name="connsiteX25" fmla="*/ 1943100 w 3150394"/>
                        <a:gd name="connsiteY25" fmla="*/ 183356 h 1814512"/>
                        <a:gd name="connsiteX26" fmla="*/ 1964531 w 3150394"/>
                        <a:gd name="connsiteY26" fmla="*/ 133350 h 1814512"/>
                        <a:gd name="connsiteX27" fmla="*/ 2014538 w 3150394"/>
                        <a:gd name="connsiteY27" fmla="*/ 109537 h 1814512"/>
                        <a:gd name="connsiteX28" fmla="*/ 2055019 w 3150394"/>
                        <a:gd name="connsiteY28" fmla="*/ 80962 h 1814512"/>
                        <a:gd name="connsiteX29" fmla="*/ 2100263 w 3150394"/>
                        <a:gd name="connsiteY29" fmla="*/ 33337 h 1814512"/>
                        <a:gd name="connsiteX30" fmla="*/ 2145506 w 3150394"/>
                        <a:gd name="connsiteY30" fmla="*/ 33337 h 1814512"/>
                        <a:gd name="connsiteX31" fmla="*/ 2181225 w 3150394"/>
                        <a:gd name="connsiteY31" fmla="*/ 0 h 1814512"/>
                        <a:gd name="connsiteX32" fmla="*/ 2247900 w 3150394"/>
                        <a:gd name="connsiteY32" fmla="*/ 71437 h 1814512"/>
                        <a:gd name="connsiteX33" fmla="*/ 2224088 w 3150394"/>
                        <a:gd name="connsiteY33" fmla="*/ 102393 h 1814512"/>
                        <a:gd name="connsiteX34" fmla="*/ 2216944 w 3150394"/>
                        <a:gd name="connsiteY34" fmla="*/ 138112 h 1814512"/>
                        <a:gd name="connsiteX35" fmla="*/ 2262188 w 3150394"/>
                        <a:gd name="connsiteY35" fmla="*/ 180975 h 1814512"/>
                        <a:gd name="connsiteX36" fmla="*/ 2326481 w 3150394"/>
                        <a:gd name="connsiteY36" fmla="*/ 178593 h 1814512"/>
                        <a:gd name="connsiteX37" fmla="*/ 2362200 w 3150394"/>
                        <a:gd name="connsiteY37" fmla="*/ 183356 h 1814512"/>
                        <a:gd name="connsiteX38" fmla="*/ 2440781 w 3150394"/>
                        <a:gd name="connsiteY38" fmla="*/ 230981 h 1814512"/>
                        <a:gd name="connsiteX39" fmla="*/ 2476500 w 3150394"/>
                        <a:gd name="connsiteY39" fmla="*/ 245268 h 1814512"/>
                        <a:gd name="connsiteX40" fmla="*/ 2478881 w 3150394"/>
                        <a:gd name="connsiteY40" fmla="*/ 292893 h 1814512"/>
                        <a:gd name="connsiteX41" fmla="*/ 2462213 w 3150394"/>
                        <a:gd name="connsiteY41" fmla="*/ 345281 h 1814512"/>
                        <a:gd name="connsiteX42" fmla="*/ 2507456 w 3150394"/>
                        <a:gd name="connsiteY42" fmla="*/ 359568 h 1814512"/>
                        <a:gd name="connsiteX43" fmla="*/ 2543175 w 3150394"/>
                        <a:gd name="connsiteY43" fmla="*/ 304800 h 1814512"/>
                        <a:gd name="connsiteX44" fmla="*/ 2586038 w 3150394"/>
                        <a:gd name="connsiteY44" fmla="*/ 295275 h 1814512"/>
                        <a:gd name="connsiteX45" fmla="*/ 2643188 w 3150394"/>
                        <a:gd name="connsiteY45" fmla="*/ 257175 h 1814512"/>
                        <a:gd name="connsiteX46" fmla="*/ 2705100 w 3150394"/>
                        <a:gd name="connsiteY46" fmla="*/ 266700 h 1814512"/>
                        <a:gd name="connsiteX47" fmla="*/ 2781300 w 3150394"/>
                        <a:gd name="connsiteY47" fmla="*/ 226218 h 1814512"/>
                        <a:gd name="connsiteX48" fmla="*/ 2809875 w 3150394"/>
                        <a:gd name="connsiteY48" fmla="*/ 166687 h 1814512"/>
                        <a:gd name="connsiteX49" fmla="*/ 2824163 w 3150394"/>
                        <a:gd name="connsiteY49" fmla="*/ 147637 h 1814512"/>
                        <a:gd name="connsiteX50" fmla="*/ 2831306 w 3150394"/>
                        <a:gd name="connsiteY50" fmla="*/ 142875 h 1814512"/>
                        <a:gd name="connsiteX51" fmla="*/ 2840831 w 3150394"/>
                        <a:gd name="connsiteY51" fmla="*/ 130968 h 1814512"/>
                        <a:gd name="connsiteX52" fmla="*/ 2855119 w 3150394"/>
                        <a:gd name="connsiteY52" fmla="*/ 92868 h 1814512"/>
                        <a:gd name="connsiteX53" fmla="*/ 2938463 w 3150394"/>
                        <a:gd name="connsiteY53" fmla="*/ 114300 h 1814512"/>
                        <a:gd name="connsiteX54" fmla="*/ 3009900 w 3150394"/>
                        <a:gd name="connsiteY54" fmla="*/ 130968 h 1814512"/>
                        <a:gd name="connsiteX55" fmla="*/ 3024188 w 3150394"/>
                        <a:gd name="connsiteY55" fmla="*/ 200025 h 1814512"/>
                        <a:gd name="connsiteX56" fmla="*/ 3059906 w 3150394"/>
                        <a:gd name="connsiteY56" fmla="*/ 252412 h 1814512"/>
                        <a:gd name="connsiteX57" fmla="*/ 3045619 w 3150394"/>
                        <a:gd name="connsiteY57" fmla="*/ 259556 h 1814512"/>
                        <a:gd name="connsiteX58" fmla="*/ 3005138 w 3150394"/>
                        <a:gd name="connsiteY58" fmla="*/ 283368 h 1814512"/>
                        <a:gd name="connsiteX59" fmla="*/ 2976563 w 3150394"/>
                        <a:gd name="connsiteY59" fmla="*/ 314325 h 1814512"/>
                        <a:gd name="connsiteX60" fmla="*/ 2947988 w 3150394"/>
                        <a:gd name="connsiteY60" fmla="*/ 354806 h 1814512"/>
                        <a:gd name="connsiteX61" fmla="*/ 2945606 w 3150394"/>
                        <a:gd name="connsiteY61" fmla="*/ 416718 h 1814512"/>
                        <a:gd name="connsiteX62" fmla="*/ 2959894 w 3150394"/>
                        <a:gd name="connsiteY62" fmla="*/ 466725 h 1814512"/>
                        <a:gd name="connsiteX63" fmla="*/ 2986088 w 3150394"/>
                        <a:gd name="connsiteY63" fmla="*/ 511968 h 1814512"/>
                        <a:gd name="connsiteX64" fmla="*/ 3009900 w 3150394"/>
                        <a:gd name="connsiteY64" fmla="*/ 535781 h 1814512"/>
                        <a:gd name="connsiteX65" fmla="*/ 2990850 w 3150394"/>
                        <a:gd name="connsiteY65" fmla="*/ 564356 h 1814512"/>
                        <a:gd name="connsiteX66" fmla="*/ 2969419 w 3150394"/>
                        <a:gd name="connsiteY66" fmla="*/ 590550 h 1814512"/>
                        <a:gd name="connsiteX67" fmla="*/ 2964656 w 3150394"/>
                        <a:gd name="connsiteY67" fmla="*/ 640556 h 1814512"/>
                        <a:gd name="connsiteX68" fmla="*/ 2978944 w 3150394"/>
                        <a:gd name="connsiteY68" fmla="*/ 666750 h 1814512"/>
                        <a:gd name="connsiteX69" fmla="*/ 3005138 w 3150394"/>
                        <a:gd name="connsiteY69" fmla="*/ 716756 h 1814512"/>
                        <a:gd name="connsiteX70" fmla="*/ 3028950 w 3150394"/>
                        <a:gd name="connsiteY70" fmla="*/ 733425 h 1814512"/>
                        <a:gd name="connsiteX71" fmla="*/ 3019425 w 3150394"/>
                        <a:gd name="connsiteY71" fmla="*/ 769143 h 1814512"/>
                        <a:gd name="connsiteX72" fmla="*/ 3012281 w 3150394"/>
                        <a:gd name="connsiteY72" fmla="*/ 790575 h 1814512"/>
                        <a:gd name="connsiteX73" fmla="*/ 2986088 w 3150394"/>
                        <a:gd name="connsiteY73" fmla="*/ 807243 h 1814512"/>
                        <a:gd name="connsiteX74" fmla="*/ 2959894 w 3150394"/>
                        <a:gd name="connsiteY74" fmla="*/ 828675 h 1814512"/>
                        <a:gd name="connsiteX75" fmla="*/ 2971800 w 3150394"/>
                        <a:gd name="connsiteY75" fmla="*/ 859631 h 1814512"/>
                        <a:gd name="connsiteX76" fmla="*/ 2981325 w 3150394"/>
                        <a:gd name="connsiteY76" fmla="*/ 883443 h 1814512"/>
                        <a:gd name="connsiteX77" fmla="*/ 3057525 w 3150394"/>
                        <a:gd name="connsiteY77" fmla="*/ 962025 h 1814512"/>
                        <a:gd name="connsiteX78" fmla="*/ 3009900 w 3150394"/>
                        <a:gd name="connsiteY78" fmla="*/ 1021556 h 1814512"/>
                        <a:gd name="connsiteX79" fmla="*/ 3007519 w 3150394"/>
                        <a:gd name="connsiteY79" fmla="*/ 1181100 h 1814512"/>
                        <a:gd name="connsiteX80" fmla="*/ 2967038 w 3150394"/>
                        <a:gd name="connsiteY80" fmla="*/ 1214437 h 1814512"/>
                        <a:gd name="connsiteX81" fmla="*/ 3028950 w 3150394"/>
                        <a:gd name="connsiteY81" fmla="*/ 1293018 h 1814512"/>
                        <a:gd name="connsiteX82" fmla="*/ 3086100 w 3150394"/>
                        <a:gd name="connsiteY82" fmla="*/ 1238250 h 1814512"/>
                        <a:gd name="connsiteX83" fmla="*/ 3150394 w 3150394"/>
                        <a:gd name="connsiteY83" fmla="*/ 1240631 h 1814512"/>
                        <a:gd name="connsiteX84" fmla="*/ 3143250 w 3150394"/>
                        <a:gd name="connsiteY84" fmla="*/ 1283493 h 1814512"/>
                        <a:gd name="connsiteX85" fmla="*/ 3143250 w 3150394"/>
                        <a:gd name="connsiteY85" fmla="*/ 1419225 h 1814512"/>
                        <a:gd name="connsiteX86" fmla="*/ 3107531 w 3150394"/>
                        <a:gd name="connsiteY86" fmla="*/ 1431131 h 1814512"/>
                        <a:gd name="connsiteX87" fmla="*/ 3021806 w 3150394"/>
                        <a:gd name="connsiteY87" fmla="*/ 1443037 h 1814512"/>
                        <a:gd name="connsiteX88" fmla="*/ 2693194 w 3150394"/>
                        <a:gd name="connsiteY88" fmla="*/ 1459706 h 1814512"/>
                        <a:gd name="connsiteX89" fmla="*/ 2586038 w 3150394"/>
                        <a:gd name="connsiteY89" fmla="*/ 1488281 h 1814512"/>
                        <a:gd name="connsiteX90" fmla="*/ 2347913 w 3150394"/>
                        <a:gd name="connsiteY90" fmla="*/ 1728787 h 1814512"/>
                        <a:gd name="connsiteX91" fmla="*/ 1462088 w 3150394"/>
                        <a:gd name="connsiteY91" fmla="*/ 1781175 h 1814512"/>
                        <a:gd name="connsiteX92" fmla="*/ 1307306 w 3150394"/>
                        <a:gd name="connsiteY92" fmla="*/ 1802606 h 1814512"/>
                        <a:gd name="connsiteX93" fmla="*/ 885825 w 3150394"/>
                        <a:gd name="connsiteY93" fmla="*/ 1814512 h 1814512"/>
                        <a:gd name="connsiteX94" fmla="*/ 847725 w 3150394"/>
                        <a:gd name="connsiteY94" fmla="*/ 1747837 h 1814512"/>
                        <a:gd name="connsiteX95" fmla="*/ 759619 w 3150394"/>
                        <a:gd name="connsiteY95" fmla="*/ 1747837 h 1814512"/>
                        <a:gd name="connsiteX96" fmla="*/ 735806 w 3150394"/>
                        <a:gd name="connsiteY96" fmla="*/ 1738312 h 1814512"/>
                        <a:gd name="connsiteX97" fmla="*/ 681038 w 3150394"/>
                        <a:gd name="connsiteY97" fmla="*/ 1776412 h 1814512"/>
                        <a:gd name="connsiteX98" fmla="*/ 492919 w 3150394"/>
                        <a:gd name="connsiteY98" fmla="*/ 1764506 h 1814512"/>
                        <a:gd name="connsiteX99" fmla="*/ 416719 w 3150394"/>
                        <a:gd name="connsiteY99" fmla="*/ 1690687 h 1814512"/>
                        <a:gd name="connsiteX100" fmla="*/ 242888 w 3150394"/>
                        <a:gd name="connsiteY100" fmla="*/ 1581150 h 1814512"/>
                        <a:gd name="connsiteX101" fmla="*/ 61913 w 3150394"/>
                        <a:gd name="connsiteY101" fmla="*/ 1514475 h 1814512"/>
                        <a:gd name="connsiteX102" fmla="*/ 0 w 3150394"/>
                        <a:gd name="connsiteY102" fmla="*/ 1478756 h 1814512"/>
                        <a:gd name="connsiteX0" fmla="*/ 1026319 w 3150394"/>
                        <a:gd name="connsiteY0" fmla="*/ 295275 h 1814512"/>
                        <a:gd name="connsiteX1" fmla="*/ 1081088 w 3150394"/>
                        <a:gd name="connsiteY1" fmla="*/ 240506 h 1814512"/>
                        <a:gd name="connsiteX2" fmla="*/ 1104900 w 3150394"/>
                        <a:gd name="connsiteY2" fmla="*/ 195262 h 1814512"/>
                        <a:gd name="connsiteX3" fmla="*/ 1150144 w 3150394"/>
                        <a:gd name="connsiteY3" fmla="*/ 180975 h 1814512"/>
                        <a:gd name="connsiteX4" fmla="*/ 1181100 w 3150394"/>
                        <a:gd name="connsiteY4" fmla="*/ 209550 h 1814512"/>
                        <a:gd name="connsiteX5" fmla="*/ 1197769 w 3150394"/>
                        <a:gd name="connsiteY5" fmla="*/ 250031 h 1814512"/>
                        <a:gd name="connsiteX6" fmla="*/ 1231106 w 3150394"/>
                        <a:gd name="connsiteY6" fmla="*/ 278606 h 1814512"/>
                        <a:gd name="connsiteX7" fmla="*/ 1252538 w 3150394"/>
                        <a:gd name="connsiteY7" fmla="*/ 280987 h 1814512"/>
                        <a:gd name="connsiteX8" fmla="*/ 1307306 w 3150394"/>
                        <a:gd name="connsiteY8" fmla="*/ 280987 h 1814512"/>
                        <a:gd name="connsiteX9" fmla="*/ 1338263 w 3150394"/>
                        <a:gd name="connsiteY9" fmla="*/ 314325 h 1814512"/>
                        <a:gd name="connsiteX10" fmla="*/ 1340644 w 3150394"/>
                        <a:gd name="connsiteY10" fmla="*/ 335756 h 1814512"/>
                        <a:gd name="connsiteX11" fmla="*/ 1352550 w 3150394"/>
                        <a:gd name="connsiteY11" fmla="*/ 373856 h 1814512"/>
                        <a:gd name="connsiteX12" fmla="*/ 1393031 w 3150394"/>
                        <a:gd name="connsiteY12" fmla="*/ 357187 h 1814512"/>
                        <a:gd name="connsiteX13" fmla="*/ 1452563 w 3150394"/>
                        <a:gd name="connsiteY13" fmla="*/ 373856 h 1814512"/>
                        <a:gd name="connsiteX14" fmla="*/ 1524000 w 3150394"/>
                        <a:gd name="connsiteY14" fmla="*/ 385762 h 1814512"/>
                        <a:gd name="connsiteX15" fmla="*/ 1564481 w 3150394"/>
                        <a:gd name="connsiteY15" fmla="*/ 369093 h 1814512"/>
                        <a:gd name="connsiteX16" fmla="*/ 1576388 w 3150394"/>
                        <a:gd name="connsiteY16" fmla="*/ 311943 h 1814512"/>
                        <a:gd name="connsiteX17" fmla="*/ 1581150 w 3150394"/>
                        <a:gd name="connsiteY17" fmla="*/ 285750 h 1814512"/>
                        <a:gd name="connsiteX18" fmla="*/ 1607344 w 3150394"/>
                        <a:gd name="connsiteY18" fmla="*/ 269081 h 1814512"/>
                        <a:gd name="connsiteX19" fmla="*/ 1735931 w 3150394"/>
                        <a:gd name="connsiteY19" fmla="*/ 178593 h 1814512"/>
                        <a:gd name="connsiteX20" fmla="*/ 1764506 w 3150394"/>
                        <a:gd name="connsiteY20" fmla="*/ 176212 h 1814512"/>
                        <a:gd name="connsiteX21" fmla="*/ 1774031 w 3150394"/>
                        <a:gd name="connsiteY21" fmla="*/ 228600 h 1814512"/>
                        <a:gd name="connsiteX22" fmla="*/ 1766888 w 3150394"/>
                        <a:gd name="connsiteY22" fmla="*/ 261937 h 1814512"/>
                        <a:gd name="connsiteX23" fmla="*/ 1843088 w 3150394"/>
                        <a:gd name="connsiteY23" fmla="*/ 280987 h 1814512"/>
                        <a:gd name="connsiteX24" fmla="*/ 1890713 w 3150394"/>
                        <a:gd name="connsiteY24" fmla="*/ 228600 h 1814512"/>
                        <a:gd name="connsiteX25" fmla="*/ 1943100 w 3150394"/>
                        <a:gd name="connsiteY25" fmla="*/ 183356 h 1814512"/>
                        <a:gd name="connsiteX26" fmla="*/ 1964531 w 3150394"/>
                        <a:gd name="connsiteY26" fmla="*/ 133350 h 1814512"/>
                        <a:gd name="connsiteX27" fmla="*/ 2014538 w 3150394"/>
                        <a:gd name="connsiteY27" fmla="*/ 109537 h 1814512"/>
                        <a:gd name="connsiteX28" fmla="*/ 2055019 w 3150394"/>
                        <a:gd name="connsiteY28" fmla="*/ 80962 h 1814512"/>
                        <a:gd name="connsiteX29" fmla="*/ 2100263 w 3150394"/>
                        <a:gd name="connsiteY29" fmla="*/ 33337 h 1814512"/>
                        <a:gd name="connsiteX30" fmla="*/ 2145506 w 3150394"/>
                        <a:gd name="connsiteY30" fmla="*/ 33337 h 1814512"/>
                        <a:gd name="connsiteX31" fmla="*/ 2181225 w 3150394"/>
                        <a:gd name="connsiteY31" fmla="*/ 0 h 1814512"/>
                        <a:gd name="connsiteX32" fmla="*/ 2247900 w 3150394"/>
                        <a:gd name="connsiteY32" fmla="*/ 71437 h 1814512"/>
                        <a:gd name="connsiteX33" fmla="*/ 2224088 w 3150394"/>
                        <a:gd name="connsiteY33" fmla="*/ 102393 h 1814512"/>
                        <a:gd name="connsiteX34" fmla="*/ 2216944 w 3150394"/>
                        <a:gd name="connsiteY34" fmla="*/ 138112 h 1814512"/>
                        <a:gd name="connsiteX35" fmla="*/ 2262188 w 3150394"/>
                        <a:gd name="connsiteY35" fmla="*/ 180975 h 1814512"/>
                        <a:gd name="connsiteX36" fmla="*/ 2326481 w 3150394"/>
                        <a:gd name="connsiteY36" fmla="*/ 178593 h 1814512"/>
                        <a:gd name="connsiteX37" fmla="*/ 2362200 w 3150394"/>
                        <a:gd name="connsiteY37" fmla="*/ 183356 h 1814512"/>
                        <a:gd name="connsiteX38" fmla="*/ 2440781 w 3150394"/>
                        <a:gd name="connsiteY38" fmla="*/ 230981 h 1814512"/>
                        <a:gd name="connsiteX39" fmla="*/ 2476500 w 3150394"/>
                        <a:gd name="connsiteY39" fmla="*/ 245268 h 1814512"/>
                        <a:gd name="connsiteX40" fmla="*/ 2478881 w 3150394"/>
                        <a:gd name="connsiteY40" fmla="*/ 292893 h 1814512"/>
                        <a:gd name="connsiteX41" fmla="*/ 2462213 w 3150394"/>
                        <a:gd name="connsiteY41" fmla="*/ 345281 h 1814512"/>
                        <a:gd name="connsiteX42" fmla="*/ 2507456 w 3150394"/>
                        <a:gd name="connsiteY42" fmla="*/ 359568 h 1814512"/>
                        <a:gd name="connsiteX43" fmla="*/ 2543175 w 3150394"/>
                        <a:gd name="connsiteY43" fmla="*/ 304800 h 1814512"/>
                        <a:gd name="connsiteX44" fmla="*/ 2586038 w 3150394"/>
                        <a:gd name="connsiteY44" fmla="*/ 295275 h 1814512"/>
                        <a:gd name="connsiteX45" fmla="*/ 2643188 w 3150394"/>
                        <a:gd name="connsiteY45" fmla="*/ 257175 h 1814512"/>
                        <a:gd name="connsiteX46" fmla="*/ 2705100 w 3150394"/>
                        <a:gd name="connsiteY46" fmla="*/ 266700 h 1814512"/>
                        <a:gd name="connsiteX47" fmla="*/ 2781300 w 3150394"/>
                        <a:gd name="connsiteY47" fmla="*/ 226218 h 1814512"/>
                        <a:gd name="connsiteX48" fmla="*/ 2809875 w 3150394"/>
                        <a:gd name="connsiteY48" fmla="*/ 166687 h 1814512"/>
                        <a:gd name="connsiteX49" fmla="*/ 2824163 w 3150394"/>
                        <a:gd name="connsiteY49" fmla="*/ 147637 h 1814512"/>
                        <a:gd name="connsiteX50" fmla="*/ 2831306 w 3150394"/>
                        <a:gd name="connsiteY50" fmla="*/ 142875 h 1814512"/>
                        <a:gd name="connsiteX51" fmla="*/ 2840831 w 3150394"/>
                        <a:gd name="connsiteY51" fmla="*/ 130968 h 1814512"/>
                        <a:gd name="connsiteX52" fmla="*/ 2855119 w 3150394"/>
                        <a:gd name="connsiteY52" fmla="*/ 92868 h 1814512"/>
                        <a:gd name="connsiteX53" fmla="*/ 2938463 w 3150394"/>
                        <a:gd name="connsiteY53" fmla="*/ 114300 h 1814512"/>
                        <a:gd name="connsiteX54" fmla="*/ 3009900 w 3150394"/>
                        <a:gd name="connsiteY54" fmla="*/ 130968 h 1814512"/>
                        <a:gd name="connsiteX55" fmla="*/ 3024188 w 3150394"/>
                        <a:gd name="connsiteY55" fmla="*/ 200025 h 1814512"/>
                        <a:gd name="connsiteX56" fmla="*/ 3059906 w 3150394"/>
                        <a:gd name="connsiteY56" fmla="*/ 252412 h 1814512"/>
                        <a:gd name="connsiteX57" fmla="*/ 3045619 w 3150394"/>
                        <a:gd name="connsiteY57" fmla="*/ 259556 h 1814512"/>
                        <a:gd name="connsiteX58" fmla="*/ 3005138 w 3150394"/>
                        <a:gd name="connsiteY58" fmla="*/ 283368 h 1814512"/>
                        <a:gd name="connsiteX59" fmla="*/ 2976563 w 3150394"/>
                        <a:gd name="connsiteY59" fmla="*/ 314325 h 1814512"/>
                        <a:gd name="connsiteX60" fmla="*/ 2947988 w 3150394"/>
                        <a:gd name="connsiteY60" fmla="*/ 354806 h 1814512"/>
                        <a:gd name="connsiteX61" fmla="*/ 2945606 w 3150394"/>
                        <a:gd name="connsiteY61" fmla="*/ 416718 h 1814512"/>
                        <a:gd name="connsiteX62" fmla="*/ 2959894 w 3150394"/>
                        <a:gd name="connsiteY62" fmla="*/ 466725 h 1814512"/>
                        <a:gd name="connsiteX63" fmla="*/ 2986088 w 3150394"/>
                        <a:gd name="connsiteY63" fmla="*/ 511968 h 1814512"/>
                        <a:gd name="connsiteX64" fmla="*/ 3009900 w 3150394"/>
                        <a:gd name="connsiteY64" fmla="*/ 535781 h 1814512"/>
                        <a:gd name="connsiteX65" fmla="*/ 2990850 w 3150394"/>
                        <a:gd name="connsiteY65" fmla="*/ 564356 h 1814512"/>
                        <a:gd name="connsiteX66" fmla="*/ 2969419 w 3150394"/>
                        <a:gd name="connsiteY66" fmla="*/ 590550 h 1814512"/>
                        <a:gd name="connsiteX67" fmla="*/ 2964656 w 3150394"/>
                        <a:gd name="connsiteY67" fmla="*/ 640556 h 1814512"/>
                        <a:gd name="connsiteX68" fmla="*/ 2978944 w 3150394"/>
                        <a:gd name="connsiteY68" fmla="*/ 666750 h 1814512"/>
                        <a:gd name="connsiteX69" fmla="*/ 3005138 w 3150394"/>
                        <a:gd name="connsiteY69" fmla="*/ 716756 h 1814512"/>
                        <a:gd name="connsiteX70" fmla="*/ 3028950 w 3150394"/>
                        <a:gd name="connsiteY70" fmla="*/ 733425 h 1814512"/>
                        <a:gd name="connsiteX71" fmla="*/ 3019425 w 3150394"/>
                        <a:gd name="connsiteY71" fmla="*/ 769143 h 1814512"/>
                        <a:gd name="connsiteX72" fmla="*/ 3012281 w 3150394"/>
                        <a:gd name="connsiteY72" fmla="*/ 790575 h 1814512"/>
                        <a:gd name="connsiteX73" fmla="*/ 2986088 w 3150394"/>
                        <a:gd name="connsiteY73" fmla="*/ 807243 h 1814512"/>
                        <a:gd name="connsiteX74" fmla="*/ 2959894 w 3150394"/>
                        <a:gd name="connsiteY74" fmla="*/ 828675 h 1814512"/>
                        <a:gd name="connsiteX75" fmla="*/ 2971800 w 3150394"/>
                        <a:gd name="connsiteY75" fmla="*/ 859631 h 1814512"/>
                        <a:gd name="connsiteX76" fmla="*/ 2981325 w 3150394"/>
                        <a:gd name="connsiteY76" fmla="*/ 883443 h 1814512"/>
                        <a:gd name="connsiteX77" fmla="*/ 3057525 w 3150394"/>
                        <a:gd name="connsiteY77" fmla="*/ 962025 h 1814512"/>
                        <a:gd name="connsiteX78" fmla="*/ 3009900 w 3150394"/>
                        <a:gd name="connsiteY78" fmla="*/ 1021556 h 1814512"/>
                        <a:gd name="connsiteX79" fmla="*/ 3007519 w 3150394"/>
                        <a:gd name="connsiteY79" fmla="*/ 1181100 h 1814512"/>
                        <a:gd name="connsiteX80" fmla="*/ 2967038 w 3150394"/>
                        <a:gd name="connsiteY80" fmla="*/ 1214437 h 1814512"/>
                        <a:gd name="connsiteX81" fmla="*/ 3028950 w 3150394"/>
                        <a:gd name="connsiteY81" fmla="*/ 1293018 h 1814512"/>
                        <a:gd name="connsiteX82" fmla="*/ 3086100 w 3150394"/>
                        <a:gd name="connsiteY82" fmla="*/ 1238250 h 1814512"/>
                        <a:gd name="connsiteX83" fmla="*/ 3150394 w 3150394"/>
                        <a:gd name="connsiteY83" fmla="*/ 1240631 h 1814512"/>
                        <a:gd name="connsiteX84" fmla="*/ 3143250 w 3150394"/>
                        <a:gd name="connsiteY84" fmla="*/ 1283493 h 1814512"/>
                        <a:gd name="connsiteX85" fmla="*/ 3143250 w 3150394"/>
                        <a:gd name="connsiteY85" fmla="*/ 1419225 h 1814512"/>
                        <a:gd name="connsiteX86" fmla="*/ 3107531 w 3150394"/>
                        <a:gd name="connsiteY86" fmla="*/ 1431131 h 1814512"/>
                        <a:gd name="connsiteX87" fmla="*/ 3021806 w 3150394"/>
                        <a:gd name="connsiteY87" fmla="*/ 1443037 h 1814512"/>
                        <a:gd name="connsiteX88" fmla="*/ 2693194 w 3150394"/>
                        <a:gd name="connsiteY88" fmla="*/ 1459706 h 1814512"/>
                        <a:gd name="connsiteX89" fmla="*/ 2586038 w 3150394"/>
                        <a:gd name="connsiteY89" fmla="*/ 1488281 h 1814512"/>
                        <a:gd name="connsiteX90" fmla="*/ 2347913 w 3150394"/>
                        <a:gd name="connsiteY90" fmla="*/ 1728787 h 1814512"/>
                        <a:gd name="connsiteX91" fmla="*/ 1462088 w 3150394"/>
                        <a:gd name="connsiteY91" fmla="*/ 1781175 h 1814512"/>
                        <a:gd name="connsiteX92" fmla="*/ 1307306 w 3150394"/>
                        <a:gd name="connsiteY92" fmla="*/ 1802606 h 1814512"/>
                        <a:gd name="connsiteX93" fmla="*/ 885825 w 3150394"/>
                        <a:gd name="connsiteY93" fmla="*/ 1814512 h 1814512"/>
                        <a:gd name="connsiteX94" fmla="*/ 847725 w 3150394"/>
                        <a:gd name="connsiteY94" fmla="*/ 1747837 h 1814512"/>
                        <a:gd name="connsiteX95" fmla="*/ 759619 w 3150394"/>
                        <a:gd name="connsiteY95" fmla="*/ 1747837 h 1814512"/>
                        <a:gd name="connsiteX96" fmla="*/ 735806 w 3150394"/>
                        <a:gd name="connsiteY96" fmla="*/ 1738312 h 1814512"/>
                        <a:gd name="connsiteX97" fmla="*/ 681038 w 3150394"/>
                        <a:gd name="connsiteY97" fmla="*/ 1776412 h 1814512"/>
                        <a:gd name="connsiteX98" fmla="*/ 492919 w 3150394"/>
                        <a:gd name="connsiteY98" fmla="*/ 1764506 h 1814512"/>
                        <a:gd name="connsiteX99" fmla="*/ 416719 w 3150394"/>
                        <a:gd name="connsiteY99" fmla="*/ 1690687 h 1814512"/>
                        <a:gd name="connsiteX100" fmla="*/ 242888 w 3150394"/>
                        <a:gd name="connsiteY100" fmla="*/ 1581150 h 1814512"/>
                        <a:gd name="connsiteX101" fmla="*/ 61913 w 3150394"/>
                        <a:gd name="connsiteY101" fmla="*/ 1514475 h 1814512"/>
                        <a:gd name="connsiteX102" fmla="*/ 0 w 3150394"/>
                        <a:gd name="connsiteY102" fmla="*/ 1478756 h 1814512"/>
                        <a:gd name="connsiteX103" fmla="*/ 1026319 w 3150394"/>
                        <a:gd name="connsiteY103" fmla="*/ 295275 h 1814512"/>
                        <a:gd name="connsiteX0" fmla="*/ 1026319 w 3150394"/>
                        <a:gd name="connsiteY0" fmla="*/ 295275 h 1814512"/>
                        <a:gd name="connsiteX1" fmla="*/ 1081088 w 3150394"/>
                        <a:gd name="connsiteY1" fmla="*/ 240506 h 1814512"/>
                        <a:gd name="connsiteX2" fmla="*/ 1104900 w 3150394"/>
                        <a:gd name="connsiteY2" fmla="*/ 195262 h 1814512"/>
                        <a:gd name="connsiteX3" fmla="*/ 1150144 w 3150394"/>
                        <a:gd name="connsiteY3" fmla="*/ 180975 h 1814512"/>
                        <a:gd name="connsiteX4" fmla="*/ 1181100 w 3150394"/>
                        <a:gd name="connsiteY4" fmla="*/ 209550 h 1814512"/>
                        <a:gd name="connsiteX5" fmla="*/ 1197769 w 3150394"/>
                        <a:gd name="connsiteY5" fmla="*/ 250031 h 1814512"/>
                        <a:gd name="connsiteX6" fmla="*/ 1231106 w 3150394"/>
                        <a:gd name="connsiteY6" fmla="*/ 278606 h 1814512"/>
                        <a:gd name="connsiteX7" fmla="*/ 1252538 w 3150394"/>
                        <a:gd name="connsiteY7" fmla="*/ 280987 h 1814512"/>
                        <a:gd name="connsiteX8" fmla="*/ 1307306 w 3150394"/>
                        <a:gd name="connsiteY8" fmla="*/ 280987 h 1814512"/>
                        <a:gd name="connsiteX9" fmla="*/ 1338263 w 3150394"/>
                        <a:gd name="connsiteY9" fmla="*/ 314325 h 1814512"/>
                        <a:gd name="connsiteX10" fmla="*/ 1340644 w 3150394"/>
                        <a:gd name="connsiteY10" fmla="*/ 335756 h 1814512"/>
                        <a:gd name="connsiteX11" fmla="*/ 1352550 w 3150394"/>
                        <a:gd name="connsiteY11" fmla="*/ 373856 h 1814512"/>
                        <a:gd name="connsiteX12" fmla="*/ 1393031 w 3150394"/>
                        <a:gd name="connsiteY12" fmla="*/ 357187 h 1814512"/>
                        <a:gd name="connsiteX13" fmla="*/ 1452563 w 3150394"/>
                        <a:gd name="connsiteY13" fmla="*/ 373856 h 1814512"/>
                        <a:gd name="connsiteX14" fmla="*/ 1524000 w 3150394"/>
                        <a:gd name="connsiteY14" fmla="*/ 385762 h 1814512"/>
                        <a:gd name="connsiteX15" fmla="*/ 1564481 w 3150394"/>
                        <a:gd name="connsiteY15" fmla="*/ 369093 h 1814512"/>
                        <a:gd name="connsiteX16" fmla="*/ 1576388 w 3150394"/>
                        <a:gd name="connsiteY16" fmla="*/ 311943 h 1814512"/>
                        <a:gd name="connsiteX17" fmla="*/ 1581150 w 3150394"/>
                        <a:gd name="connsiteY17" fmla="*/ 285750 h 1814512"/>
                        <a:gd name="connsiteX18" fmla="*/ 1607344 w 3150394"/>
                        <a:gd name="connsiteY18" fmla="*/ 269081 h 1814512"/>
                        <a:gd name="connsiteX19" fmla="*/ 1735931 w 3150394"/>
                        <a:gd name="connsiteY19" fmla="*/ 178593 h 1814512"/>
                        <a:gd name="connsiteX20" fmla="*/ 1764506 w 3150394"/>
                        <a:gd name="connsiteY20" fmla="*/ 176212 h 1814512"/>
                        <a:gd name="connsiteX21" fmla="*/ 1774031 w 3150394"/>
                        <a:gd name="connsiteY21" fmla="*/ 228600 h 1814512"/>
                        <a:gd name="connsiteX22" fmla="*/ 1766888 w 3150394"/>
                        <a:gd name="connsiteY22" fmla="*/ 261937 h 1814512"/>
                        <a:gd name="connsiteX23" fmla="*/ 1843088 w 3150394"/>
                        <a:gd name="connsiteY23" fmla="*/ 280987 h 1814512"/>
                        <a:gd name="connsiteX24" fmla="*/ 1890713 w 3150394"/>
                        <a:gd name="connsiteY24" fmla="*/ 228600 h 1814512"/>
                        <a:gd name="connsiteX25" fmla="*/ 1943100 w 3150394"/>
                        <a:gd name="connsiteY25" fmla="*/ 183356 h 1814512"/>
                        <a:gd name="connsiteX26" fmla="*/ 1964531 w 3150394"/>
                        <a:gd name="connsiteY26" fmla="*/ 133350 h 1814512"/>
                        <a:gd name="connsiteX27" fmla="*/ 2014538 w 3150394"/>
                        <a:gd name="connsiteY27" fmla="*/ 109537 h 1814512"/>
                        <a:gd name="connsiteX28" fmla="*/ 2055019 w 3150394"/>
                        <a:gd name="connsiteY28" fmla="*/ 80962 h 1814512"/>
                        <a:gd name="connsiteX29" fmla="*/ 2100263 w 3150394"/>
                        <a:gd name="connsiteY29" fmla="*/ 33337 h 1814512"/>
                        <a:gd name="connsiteX30" fmla="*/ 2145506 w 3150394"/>
                        <a:gd name="connsiteY30" fmla="*/ 33337 h 1814512"/>
                        <a:gd name="connsiteX31" fmla="*/ 2181225 w 3150394"/>
                        <a:gd name="connsiteY31" fmla="*/ 0 h 1814512"/>
                        <a:gd name="connsiteX32" fmla="*/ 2247900 w 3150394"/>
                        <a:gd name="connsiteY32" fmla="*/ 71437 h 1814512"/>
                        <a:gd name="connsiteX33" fmla="*/ 2224088 w 3150394"/>
                        <a:gd name="connsiteY33" fmla="*/ 102393 h 1814512"/>
                        <a:gd name="connsiteX34" fmla="*/ 2216944 w 3150394"/>
                        <a:gd name="connsiteY34" fmla="*/ 138112 h 1814512"/>
                        <a:gd name="connsiteX35" fmla="*/ 2262188 w 3150394"/>
                        <a:gd name="connsiteY35" fmla="*/ 180975 h 1814512"/>
                        <a:gd name="connsiteX36" fmla="*/ 2326481 w 3150394"/>
                        <a:gd name="connsiteY36" fmla="*/ 178593 h 1814512"/>
                        <a:gd name="connsiteX37" fmla="*/ 2362200 w 3150394"/>
                        <a:gd name="connsiteY37" fmla="*/ 183356 h 1814512"/>
                        <a:gd name="connsiteX38" fmla="*/ 2440781 w 3150394"/>
                        <a:gd name="connsiteY38" fmla="*/ 230981 h 1814512"/>
                        <a:gd name="connsiteX39" fmla="*/ 2476500 w 3150394"/>
                        <a:gd name="connsiteY39" fmla="*/ 245268 h 1814512"/>
                        <a:gd name="connsiteX40" fmla="*/ 2478881 w 3150394"/>
                        <a:gd name="connsiteY40" fmla="*/ 292893 h 1814512"/>
                        <a:gd name="connsiteX41" fmla="*/ 2462213 w 3150394"/>
                        <a:gd name="connsiteY41" fmla="*/ 345281 h 1814512"/>
                        <a:gd name="connsiteX42" fmla="*/ 2507456 w 3150394"/>
                        <a:gd name="connsiteY42" fmla="*/ 359568 h 1814512"/>
                        <a:gd name="connsiteX43" fmla="*/ 2543175 w 3150394"/>
                        <a:gd name="connsiteY43" fmla="*/ 304800 h 1814512"/>
                        <a:gd name="connsiteX44" fmla="*/ 2586038 w 3150394"/>
                        <a:gd name="connsiteY44" fmla="*/ 295275 h 1814512"/>
                        <a:gd name="connsiteX45" fmla="*/ 2643188 w 3150394"/>
                        <a:gd name="connsiteY45" fmla="*/ 257175 h 1814512"/>
                        <a:gd name="connsiteX46" fmla="*/ 2705100 w 3150394"/>
                        <a:gd name="connsiteY46" fmla="*/ 266700 h 1814512"/>
                        <a:gd name="connsiteX47" fmla="*/ 2781300 w 3150394"/>
                        <a:gd name="connsiteY47" fmla="*/ 226218 h 1814512"/>
                        <a:gd name="connsiteX48" fmla="*/ 2809875 w 3150394"/>
                        <a:gd name="connsiteY48" fmla="*/ 166687 h 1814512"/>
                        <a:gd name="connsiteX49" fmla="*/ 2824163 w 3150394"/>
                        <a:gd name="connsiteY49" fmla="*/ 147637 h 1814512"/>
                        <a:gd name="connsiteX50" fmla="*/ 2831306 w 3150394"/>
                        <a:gd name="connsiteY50" fmla="*/ 142875 h 1814512"/>
                        <a:gd name="connsiteX51" fmla="*/ 2840831 w 3150394"/>
                        <a:gd name="connsiteY51" fmla="*/ 130968 h 1814512"/>
                        <a:gd name="connsiteX52" fmla="*/ 2855119 w 3150394"/>
                        <a:gd name="connsiteY52" fmla="*/ 92868 h 1814512"/>
                        <a:gd name="connsiteX53" fmla="*/ 2938463 w 3150394"/>
                        <a:gd name="connsiteY53" fmla="*/ 114300 h 1814512"/>
                        <a:gd name="connsiteX54" fmla="*/ 3009900 w 3150394"/>
                        <a:gd name="connsiteY54" fmla="*/ 130968 h 1814512"/>
                        <a:gd name="connsiteX55" fmla="*/ 3024188 w 3150394"/>
                        <a:gd name="connsiteY55" fmla="*/ 200025 h 1814512"/>
                        <a:gd name="connsiteX56" fmla="*/ 3059906 w 3150394"/>
                        <a:gd name="connsiteY56" fmla="*/ 252412 h 1814512"/>
                        <a:gd name="connsiteX57" fmla="*/ 3045619 w 3150394"/>
                        <a:gd name="connsiteY57" fmla="*/ 259556 h 1814512"/>
                        <a:gd name="connsiteX58" fmla="*/ 3005138 w 3150394"/>
                        <a:gd name="connsiteY58" fmla="*/ 283368 h 1814512"/>
                        <a:gd name="connsiteX59" fmla="*/ 2976563 w 3150394"/>
                        <a:gd name="connsiteY59" fmla="*/ 314325 h 1814512"/>
                        <a:gd name="connsiteX60" fmla="*/ 2947988 w 3150394"/>
                        <a:gd name="connsiteY60" fmla="*/ 354806 h 1814512"/>
                        <a:gd name="connsiteX61" fmla="*/ 2945606 w 3150394"/>
                        <a:gd name="connsiteY61" fmla="*/ 416718 h 1814512"/>
                        <a:gd name="connsiteX62" fmla="*/ 2959894 w 3150394"/>
                        <a:gd name="connsiteY62" fmla="*/ 466725 h 1814512"/>
                        <a:gd name="connsiteX63" fmla="*/ 2986088 w 3150394"/>
                        <a:gd name="connsiteY63" fmla="*/ 511968 h 1814512"/>
                        <a:gd name="connsiteX64" fmla="*/ 3009900 w 3150394"/>
                        <a:gd name="connsiteY64" fmla="*/ 535781 h 1814512"/>
                        <a:gd name="connsiteX65" fmla="*/ 2990850 w 3150394"/>
                        <a:gd name="connsiteY65" fmla="*/ 564356 h 1814512"/>
                        <a:gd name="connsiteX66" fmla="*/ 2969419 w 3150394"/>
                        <a:gd name="connsiteY66" fmla="*/ 590550 h 1814512"/>
                        <a:gd name="connsiteX67" fmla="*/ 2964656 w 3150394"/>
                        <a:gd name="connsiteY67" fmla="*/ 640556 h 1814512"/>
                        <a:gd name="connsiteX68" fmla="*/ 2978944 w 3150394"/>
                        <a:gd name="connsiteY68" fmla="*/ 666750 h 1814512"/>
                        <a:gd name="connsiteX69" fmla="*/ 3005138 w 3150394"/>
                        <a:gd name="connsiteY69" fmla="*/ 716756 h 1814512"/>
                        <a:gd name="connsiteX70" fmla="*/ 3028950 w 3150394"/>
                        <a:gd name="connsiteY70" fmla="*/ 733425 h 1814512"/>
                        <a:gd name="connsiteX71" fmla="*/ 3019425 w 3150394"/>
                        <a:gd name="connsiteY71" fmla="*/ 769143 h 1814512"/>
                        <a:gd name="connsiteX72" fmla="*/ 3012281 w 3150394"/>
                        <a:gd name="connsiteY72" fmla="*/ 790575 h 1814512"/>
                        <a:gd name="connsiteX73" fmla="*/ 2986088 w 3150394"/>
                        <a:gd name="connsiteY73" fmla="*/ 807243 h 1814512"/>
                        <a:gd name="connsiteX74" fmla="*/ 2959894 w 3150394"/>
                        <a:gd name="connsiteY74" fmla="*/ 828675 h 1814512"/>
                        <a:gd name="connsiteX75" fmla="*/ 2971800 w 3150394"/>
                        <a:gd name="connsiteY75" fmla="*/ 859631 h 1814512"/>
                        <a:gd name="connsiteX76" fmla="*/ 2981325 w 3150394"/>
                        <a:gd name="connsiteY76" fmla="*/ 883443 h 1814512"/>
                        <a:gd name="connsiteX77" fmla="*/ 3057525 w 3150394"/>
                        <a:gd name="connsiteY77" fmla="*/ 962025 h 1814512"/>
                        <a:gd name="connsiteX78" fmla="*/ 3009900 w 3150394"/>
                        <a:gd name="connsiteY78" fmla="*/ 1021556 h 1814512"/>
                        <a:gd name="connsiteX79" fmla="*/ 3007519 w 3150394"/>
                        <a:gd name="connsiteY79" fmla="*/ 1181100 h 1814512"/>
                        <a:gd name="connsiteX80" fmla="*/ 2967038 w 3150394"/>
                        <a:gd name="connsiteY80" fmla="*/ 1214437 h 1814512"/>
                        <a:gd name="connsiteX81" fmla="*/ 3028950 w 3150394"/>
                        <a:gd name="connsiteY81" fmla="*/ 1293018 h 1814512"/>
                        <a:gd name="connsiteX82" fmla="*/ 3086100 w 3150394"/>
                        <a:gd name="connsiteY82" fmla="*/ 1238250 h 1814512"/>
                        <a:gd name="connsiteX83" fmla="*/ 3150394 w 3150394"/>
                        <a:gd name="connsiteY83" fmla="*/ 1240631 h 1814512"/>
                        <a:gd name="connsiteX84" fmla="*/ 3143250 w 3150394"/>
                        <a:gd name="connsiteY84" fmla="*/ 1283493 h 1814512"/>
                        <a:gd name="connsiteX85" fmla="*/ 3143250 w 3150394"/>
                        <a:gd name="connsiteY85" fmla="*/ 1419225 h 1814512"/>
                        <a:gd name="connsiteX86" fmla="*/ 3107531 w 3150394"/>
                        <a:gd name="connsiteY86" fmla="*/ 1431131 h 1814512"/>
                        <a:gd name="connsiteX87" fmla="*/ 3021806 w 3150394"/>
                        <a:gd name="connsiteY87" fmla="*/ 1443037 h 1814512"/>
                        <a:gd name="connsiteX88" fmla="*/ 2693194 w 3150394"/>
                        <a:gd name="connsiteY88" fmla="*/ 1459706 h 1814512"/>
                        <a:gd name="connsiteX89" fmla="*/ 2586038 w 3150394"/>
                        <a:gd name="connsiteY89" fmla="*/ 1488281 h 1814512"/>
                        <a:gd name="connsiteX90" fmla="*/ 2347913 w 3150394"/>
                        <a:gd name="connsiteY90" fmla="*/ 1728787 h 1814512"/>
                        <a:gd name="connsiteX91" fmla="*/ 1462088 w 3150394"/>
                        <a:gd name="connsiteY91" fmla="*/ 1781175 h 1814512"/>
                        <a:gd name="connsiteX92" fmla="*/ 1307306 w 3150394"/>
                        <a:gd name="connsiteY92" fmla="*/ 1802606 h 1814512"/>
                        <a:gd name="connsiteX93" fmla="*/ 885825 w 3150394"/>
                        <a:gd name="connsiteY93" fmla="*/ 1814512 h 1814512"/>
                        <a:gd name="connsiteX94" fmla="*/ 847725 w 3150394"/>
                        <a:gd name="connsiteY94" fmla="*/ 1747837 h 1814512"/>
                        <a:gd name="connsiteX95" fmla="*/ 759619 w 3150394"/>
                        <a:gd name="connsiteY95" fmla="*/ 1747837 h 1814512"/>
                        <a:gd name="connsiteX96" fmla="*/ 735806 w 3150394"/>
                        <a:gd name="connsiteY96" fmla="*/ 1738312 h 1814512"/>
                        <a:gd name="connsiteX97" fmla="*/ 681038 w 3150394"/>
                        <a:gd name="connsiteY97" fmla="*/ 1776412 h 1814512"/>
                        <a:gd name="connsiteX98" fmla="*/ 492919 w 3150394"/>
                        <a:gd name="connsiteY98" fmla="*/ 1764506 h 1814512"/>
                        <a:gd name="connsiteX99" fmla="*/ 416719 w 3150394"/>
                        <a:gd name="connsiteY99" fmla="*/ 1690687 h 1814512"/>
                        <a:gd name="connsiteX100" fmla="*/ 242888 w 3150394"/>
                        <a:gd name="connsiteY100" fmla="*/ 1581150 h 1814512"/>
                        <a:gd name="connsiteX101" fmla="*/ 61913 w 3150394"/>
                        <a:gd name="connsiteY101" fmla="*/ 1514475 h 1814512"/>
                        <a:gd name="connsiteX102" fmla="*/ 0 w 3150394"/>
                        <a:gd name="connsiteY102" fmla="*/ 1478756 h 1814512"/>
                        <a:gd name="connsiteX103" fmla="*/ 64294 w 3150394"/>
                        <a:gd name="connsiteY103" fmla="*/ 1402556 h 1814512"/>
                        <a:gd name="connsiteX104" fmla="*/ 1026319 w 3150394"/>
                        <a:gd name="connsiteY104" fmla="*/ 295275 h 1814512"/>
                        <a:gd name="connsiteX0" fmla="*/ 1071753 w 3195828"/>
                        <a:gd name="connsiteY0" fmla="*/ 295275 h 1814512"/>
                        <a:gd name="connsiteX1" fmla="*/ 1126522 w 3195828"/>
                        <a:gd name="connsiteY1" fmla="*/ 240506 h 1814512"/>
                        <a:gd name="connsiteX2" fmla="*/ 1150334 w 3195828"/>
                        <a:gd name="connsiteY2" fmla="*/ 195262 h 1814512"/>
                        <a:gd name="connsiteX3" fmla="*/ 1195578 w 3195828"/>
                        <a:gd name="connsiteY3" fmla="*/ 180975 h 1814512"/>
                        <a:gd name="connsiteX4" fmla="*/ 1226534 w 3195828"/>
                        <a:gd name="connsiteY4" fmla="*/ 209550 h 1814512"/>
                        <a:gd name="connsiteX5" fmla="*/ 1243203 w 3195828"/>
                        <a:gd name="connsiteY5" fmla="*/ 250031 h 1814512"/>
                        <a:gd name="connsiteX6" fmla="*/ 1276540 w 3195828"/>
                        <a:gd name="connsiteY6" fmla="*/ 278606 h 1814512"/>
                        <a:gd name="connsiteX7" fmla="*/ 1297972 w 3195828"/>
                        <a:gd name="connsiteY7" fmla="*/ 280987 h 1814512"/>
                        <a:gd name="connsiteX8" fmla="*/ 1352740 w 3195828"/>
                        <a:gd name="connsiteY8" fmla="*/ 280987 h 1814512"/>
                        <a:gd name="connsiteX9" fmla="*/ 1383697 w 3195828"/>
                        <a:gd name="connsiteY9" fmla="*/ 314325 h 1814512"/>
                        <a:gd name="connsiteX10" fmla="*/ 1386078 w 3195828"/>
                        <a:gd name="connsiteY10" fmla="*/ 335756 h 1814512"/>
                        <a:gd name="connsiteX11" fmla="*/ 1397984 w 3195828"/>
                        <a:gd name="connsiteY11" fmla="*/ 373856 h 1814512"/>
                        <a:gd name="connsiteX12" fmla="*/ 1438465 w 3195828"/>
                        <a:gd name="connsiteY12" fmla="*/ 357187 h 1814512"/>
                        <a:gd name="connsiteX13" fmla="*/ 1497997 w 3195828"/>
                        <a:gd name="connsiteY13" fmla="*/ 373856 h 1814512"/>
                        <a:gd name="connsiteX14" fmla="*/ 1569434 w 3195828"/>
                        <a:gd name="connsiteY14" fmla="*/ 385762 h 1814512"/>
                        <a:gd name="connsiteX15" fmla="*/ 1609915 w 3195828"/>
                        <a:gd name="connsiteY15" fmla="*/ 369093 h 1814512"/>
                        <a:gd name="connsiteX16" fmla="*/ 1621822 w 3195828"/>
                        <a:gd name="connsiteY16" fmla="*/ 311943 h 1814512"/>
                        <a:gd name="connsiteX17" fmla="*/ 1626584 w 3195828"/>
                        <a:gd name="connsiteY17" fmla="*/ 285750 h 1814512"/>
                        <a:gd name="connsiteX18" fmla="*/ 1652778 w 3195828"/>
                        <a:gd name="connsiteY18" fmla="*/ 269081 h 1814512"/>
                        <a:gd name="connsiteX19" fmla="*/ 1781365 w 3195828"/>
                        <a:gd name="connsiteY19" fmla="*/ 178593 h 1814512"/>
                        <a:gd name="connsiteX20" fmla="*/ 1809940 w 3195828"/>
                        <a:gd name="connsiteY20" fmla="*/ 176212 h 1814512"/>
                        <a:gd name="connsiteX21" fmla="*/ 1819465 w 3195828"/>
                        <a:gd name="connsiteY21" fmla="*/ 228600 h 1814512"/>
                        <a:gd name="connsiteX22" fmla="*/ 1812322 w 3195828"/>
                        <a:gd name="connsiteY22" fmla="*/ 261937 h 1814512"/>
                        <a:gd name="connsiteX23" fmla="*/ 1888522 w 3195828"/>
                        <a:gd name="connsiteY23" fmla="*/ 280987 h 1814512"/>
                        <a:gd name="connsiteX24" fmla="*/ 1936147 w 3195828"/>
                        <a:gd name="connsiteY24" fmla="*/ 228600 h 1814512"/>
                        <a:gd name="connsiteX25" fmla="*/ 1988534 w 3195828"/>
                        <a:gd name="connsiteY25" fmla="*/ 183356 h 1814512"/>
                        <a:gd name="connsiteX26" fmla="*/ 2009965 w 3195828"/>
                        <a:gd name="connsiteY26" fmla="*/ 133350 h 1814512"/>
                        <a:gd name="connsiteX27" fmla="*/ 2059972 w 3195828"/>
                        <a:gd name="connsiteY27" fmla="*/ 109537 h 1814512"/>
                        <a:gd name="connsiteX28" fmla="*/ 2100453 w 3195828"/>
                        <a:gd name="connsiteY28" fmla="*/ 80962 h 1814512"/>
                        <a:gd name="connsiteX29" fmla="*/ 2145697 w 3195828"/>
                        <a:gd name="connsiteY29" fmla="*/ 33337 h 1814512"/>
                        <a:gd name="connsiteX30" fmla="*/ 2190940 w 3195828"/>
                        <a:gd name="connsiteY30" fmla="*/ 33337 h 1814512"/>
                        <a:gd name="connsiteX31" fmla="*/ 2226659 w 3195828"/>
                        <a:gd name="connsiteY31" fmla="*/ 0 h 1814512"/>
                        <a:gd name="connsiteX32" fmla="*/ 2293334 w 3195828"/>
                        <a:gd name="connsiteY32" fmla="*/ 71437 h 1814512"/>
                        <a:gd name="connsiteX33" fmla="*/ 2269522 w 3195828"/>
                        <a:gd name="connsiteY33" fmla="*/ 102393 h 1814512"/>
                        <a:gd name="connsiteX34" fmla="*/ 2262378 w 3195828"/>
                        <a:gd name="connsiteY34" fmla="*/ 138112 h 1814512"/>
                        <a:gd name="connsiteX35" fmla="*/ 2307622 w 3195828"/>
                        <a:gd name="connsiteY35" fmla="*/ 180975 h 1814512"/>
                        <a:gd name="connsiteX36" fmla="*/ 2371915 w 3195828"/>
                        <a:gd name="connsiteY36" fmla="*/ 178593 h 1814512"/>
                        <a:gd name="connsiteX37" fmla="*/ 2407634 w 3195828"/>
                        <a:gd name="connsiteY37" fmla="*/ 183356 h 1814512"/>
                        <a:gd name="connsiteX38" fmla="*/ 2486215 w 3195828"/>
                        <a:gd name="connsiteY38" fmla="*/ 230981 h 1814512"/>
                        <a:gd name="connsiteX39" fmla="*/ 2521934 w 3195828"/>
                        <a:gd name="connsiteY39" fmla="*/ 245268 h 1814512"/>
                        <a:gd name="connsiteX40" fmla="*/ 2524315 w 3195828"/>
                        <a:gd name="connsiteY40" fmla="*/ 292893 h 1814512"/>
                        <a:gd name="connsiteX41" fmla="*/ 2507647 w 3195828"/>
                        <a:gd name="connsiteY41" fmla="*/ 345281 h 1814512"/>
                        <a:gd name="connsiteX42" fmla="*/ 2552890 w 3195828"/>
                        <a:gd name="connsiteY42" fmla="*/ 359568 h 1814512"/>
                        <a:gd name="connsiteX43" fmla="*/ 2588609 w 3195828"/>
                        <a:gd name="connsiteY43" fmla="*/ 304800 h 1814512"/>
                        <a:gd name="connsiteX44" fmla="*/ 2631472 w 3195828"/>
                        <a:gd name="connsiteY44" fmla="*/ 295275 h 1814512"/>
                        <a:gd name="connsiteX45" fmla="*/ 2688622 w 3195828"/>
                        <a:gd name="connsiteY45" fmla="*/ 257175 h 1814512"/>
                        <a:gd name="connsiteX46" fmla="*/ 2750534 w 3195828"/>
                        <a:gd name="connsiteY46" fmla="*/ 266700 h 1814512"/>
                        <a:gd name="connsiteX47" fmla="*/ 2826734 w 3195828"/>
                        <a:gd name="connsiteY47" fmla="*/ 226218 h 1814512"/>
                        <a:gd name="connsiteX48" fmla="*/ 2855309 w 3195828"/>
                        <a:gd name="connsiteY48" fmla="*/ 166687 h 1814512"/>
                        <a:gd name="connsiteX49" fmla="*/ 2869597 w 3195828"/>
                        <a:gd name="connsiteY49" fmla="*/ 147637 h 1814512"/>
                        <a:gd name="connsiteX50" fmla="*/ 2876740 w 3195828"/>
                        <a:gd name="connsiteY50" fmla="*/ 142875 h 1814512"/>
                        <a:gd name="connsiteX51" fmla="*/ 2886265 w 3195828"/>
                        <a:gd name="connsiteY51" fmla="*/ 130968 h 1814512"/>
                        <a:gd name="connsiteX52" fmla="*/ 2900553 w 3195828"/>
                        <a:gd name="connsiteY52" fmla="*/ 92868 h 1814512"/>
                        <a:gd name="connsiteX53" fmla="*/ 2983897 w 3195828"/>
                        <a:gd name="connsiteY53" fmla="*/ 114300 h 1814512"/>
                        <a:gd name="connsiteX54" fmla="*/ 3055334 w 3195828"/>
                        <a:gd name="connsiteY54" fmla="*/ 130968 h 1814512"/>
                        <a:gd name="connsiteX55" fmla="*/ 3069622 w 3195828"/>
                        <a:gd name="connsiteY55" fmla="*/ 200025 h 1814512"/>
                        <a:gd name="connsiteX56" fmla="*/ 3105340 w 3195828"/>
                        <a:gd name="connsiteY56" fmla="*/ 252412 h 1814512"/>
                        <a:gd name="connsiteX57" fmla="*/ 3091053 w 3195828"/>
                        <a:gd name="connsiteY57" fmla="*/ 259556 h 1814512"/>
                        <a:gd name="connsiteX58" fmla="*/ 3050572 w 3195828"/>
                        <a:gd name="connsiteY58" fmla="*/ 283368 h 1814512"/>
                        <a:gd name="connsiteX59" fmla="*/ 3021997 w 3195828"/>
                        <a:gd name="connsiteY59" fmla="*/ 314325 h 1814512"/>
                        <a:gd name="connsiteX60" fmla="*/ 2993422 w 3195828"/>
                        <a:gd name="connsiteY60" fmla="*/ 354806 h 1814512"/>
                        <a:gd name="connsiteX61" fmla="*/ 2991040 w 3195828"/>
                        <a:gd name="connsiteY61" fmla="*/ 416718 h 1814512"/>
                        <a:gd name="connsiteX62" fmla="*/ 3005328 w 3195828"/>
                        <a:gd name="connsiteY62" fmla="*/ 466725 h 1814512"/>
                        <a:gd name="connsiteX63" fmla="*/ 3031522 w 3195828"/>
                        <a:gd name="connsiteY63" fmla="*/ 511968 h 1814512"/>
                        <a:gd name="connsiteX64" fmla="*/ 3055334 w 3195828"/>
                        <a:gd name="connsiteY64" fmla="*/ 535781 h 1814512"/>
                        <a:gd name="connsiteX65" fmla="*/ 3036284 w 3195828"/>
                        <a:gd name="connsiteY65" fmla="*/ 564356 h 1814512"/>
                        <a:gd name="connsiteX66" fmla="*/ 3014853 w 3195828"/>
                        <a:gd name="connsiteY66" fmla="*/ 590550 h 1814512"/>
                        <a:gd name="connsiteX67" fmla="*/ 3010090 w 3195828"/>
                        <a:gd name="connsiteY67" fmla="*/ 640556 h 1814512"/>
                        <a:gd name="connsiteX68" fmla="*/ 3024378 w 3195828"/>
                        <a:gd name="connsiteY68" fmla="*/ 666750 h 1814512"/>
                        <a:gd name="connsiteX69" fmla="*/ 3050572 w 3195828"/>
                        <a:gd name="connsiteY69" fmla="*/ 716756 h 1814512"/>
                        <a:gd name="connsiteX70" fmla="*/ 3074384 w 3195828"/>
                        <a:gd name="connsiteY70" fmla="*/ 733425 h 1814512"/>
                        <a:gd name="connsiteX71" fmla="*/ 3064859 w 3195828"/>
                        <a:gd name="connsiteY71" fmla="*/ 769143 h 1814512"/>
                        <a:gd name="connsiteX72" fmla="*/ 3057715 w 3195828"/>
                        <a:gd name="connsiteY72" fmla="*/ 790575 h 1814512"/>
                        <a:gd name="connsiteX73" fmla="*/ 3031522 w 3195828"/>
                        <a:gd name="connsiteY73" fmla="*/ 807243 h 1814512"/>
                        <a:gd name="connsiteX74" fmla="*/ 3005328 w 3195828"/>
                        <a:gd name="connsiteY74" fmla="*/ 828675 h 1814512"/>
                        <a:gd name="connsiteX75" fmla="*/ 3017234 w 3195828"/>
                        <a:gd name="connsiteY75" fmla="*/ 859631 h 1814512"/>
                        <a:gd name="connsiteX76" fmla="*/ 3026759 w 3195828"/>
                        <a:gd name="connsiteY76" fmla="*/ 883443 h 1814512"/>
                        <a:gd name="connsiteX77" fmla="*/ 3102959 w 3195828"/>
                        <a:gd name="connsiteY77" fmla="*/ 962025 h 1814512"/>
                        <a:gd name="connsiteX78" fmla="*/ 3055334 w 3195828"/>
                        <a:gd name="connsiteY78" fmla="*/ 1021556 h 1814512"/>
                        <a:gd name="connsiteX79" fmla="*/ 3052953 w 3195828"/>
                        <a:gd name="connsiteY79" fmla="*/ 1181100 h 1814512"/>
                        <a:gd name="connsiteX80" fmla="*/ 3012472 w 3195828"/>
                        <a:gd name="connsiteY80" fmla="*/ 1214437 h 1814512"/>
                        <a:gd name="connsiteX81" fmla="*/ 3074384 w 3195828"/>
                        <a:gd name="connsiteY81" fmla="*/ 1293018 h 1814512"/>
                        <a:gd name="connsiteX82" fmla="*/ 3131534 w 3195828"/>
                        <a:gd name="connsiteY82" fmla="*/ 1238250 h 1814512"/>
                        <a:gd name="connsiteX83" fmla="*/ 3195828 w 3195828"/>
                        <a:gd name="connsiteY83" fmla="*/ 1240631 h 1814512"/>
                        <a:gd name="connsiteX84" fmla="*/ 3188684 w 3195828"/>
                        <a:gd name="connsiteY84" fmla="*/ 1283493 h 1814512"/>
                        <a:gd name="connsiteX85" fmla="*/ 3188684 w 3195828"/>
                        <a:gd name="connsiteY85" fmla="*/ 1419225 h 1814512"/>
                        <a:gd name="connsiteX86" fmla="*/ 3152965 w 3195828"/>
                        <a:gd name="connsiteY86" fmla="*/ 1431131 h 1814512"/>
                        <a:gd name="connsiteX87" fmla="*/ 3067240 w 3195828"/>
                        <a:gd name="connsiteY87" fmla="*/ 1443037 h 1814512"/>
                        <a:gd name="connsiteX88" fmla="*/ 2738628 w 3195828"/>
                        <a:gd name="connsiteY88" fmla="*/ 1459706 h 1814512"/>
                        <a:gd name="connsiteX89" fmla="*/ 2631472 w 3195828"/>
                        <a:gd name="connsiteY89" fmla="*/ 1488281 h 1814512"/>
                        <a:gd name="connsiteX90" fmla="*/ 2393347 w 3195828"/>
                        <a:gd name="connsiteY90" fmla="*/ 1728787 h 1814512"/>
                        <a:gd name="connsiteX91" fmla="*/ 1507522 w 3195828"/>
                        <a:gd name="connsiteY91" fmla="*/ 1781175 h 1814512"/>
                        <a:gd name="connsiteX92" fmla="*/ 1352740 w 3195828"/>
                        <a:gd name="connsiteY92" fmla="*/ 1802606 h 1814512"/>
                        <a:gd name="connsiteX93" fmla="*/ 931259 w 3195828"/>
                        <a:gd name="connsiteY93" fmla="*/ 1814512 h 1814512"/>
                        <a:gd name="connsiteX94" fmla="*/ 893159 w 3195828"/>
                        <a:gd name="connsiteY94" fmla="*/ 1747837 h 1814512"/>
                        <a:gd name="connsiteX95" fmla="*/ 805053 w 3195828"/>
                        <a:gd name="connsiteY95" fmla="*/ 1747837 h 1814512"/>
                        <a:gd name="connsiteX96" fmla="*/ 781240 w 3195828"/>
                        <a:gd name="connsiteY96" fmla="*/ 1738312 h 1814512"/>
                        <a:gd name="connsiteX97" fmla="*/ 726472 w 3195828"/>
                        <a:gd name="connsiteY97" fmla="*/ 1776412 h 1814512"/>
                        <a:gd name="connsiteX98" fmla="*/ 538353 w 3195828"/>
                        <a:gd name="connsiteY98" fmla="*/ 1764506 h 1814512"/>
                        <a:gd name="connsiteX99" fmla="*/ 462153 w 3195828"/>
                        <a:gd name="connsiteY99" fmla="*/ 1690687 h 1814512"/>
                        <a:gd name="connsiteX100" fmla="*/ 288322 w 3195828"/>
                        <a:gd name="connsiteY100" fmla="*/ 1581150 h 1814512"/>
                        <a:gd name="connsiteX101" fmla="*/ 107347 w 3195828"/>
                        <a:gd name="connsiteY101" fmla="*/ 1514475 h 1814512"/>
                        <a:gd name="connsiteX102" fmla="*/ 45434 w 3195828"/>
                        <a:gd name="connsiteY102" fmla="*/ 1478756 h 1814512"/>
                        <a:gd name="connsiteX103" fmla="*/ 2572 w 3195828"/>
                        <a:gd name="connsiteY103" fmla="*/ 1426368 h 1814512"/>
                        <a:gd name="connsiteX104" fmla="*/ 109728 w 3195828"/>
                        <a:gd name="connsiteY104" fmla="*/ 1402556 h 1814512"/>
                        <a:gd name="connsiteX105" fmla="*/ 1071753 w 3195828"/>
                        <a:gd name="connsiteY105" fmla="*/ 295275 h 1814512"/>
                        <a:gd name="connsiteX0" fmla="*/ 1112043 w 3236118"/>
                        <a:gd name="connsiteY0" fmla="*/ 295275 h 1814512"/>
                        <a:gd name="connsiteX1" fmla="*/ 1166812 w 3236118"/>
                        <a:gd name="connsiteY1" fmla="*/ 240506 h 1814512"/>
                        <a:gd name="connsiteX2" fmla="*/ 1190624 w 3236118"/>
                        <a:gd name="connsiteY2" fmla="*/ 195262 h 1814512"/>
                        <a:gd name="connsiteX3" fmla="*/ 1235868 w 3236118"/>
                        <a:gd name="connsiteY3" fmla="*/ 180975 h 1814512"/>
                        <a:gd name="connsiteX4" fmla="*/ 1266824 w 3236118"/>
                        <a:gd name="connsiteY4" fmla="*/ 209550 h 1814512"/>
                        <a:gd name="connsiteX5" fmla="*/ 1283493 w 3236118"/>
                        <a:gd name="connsiteY5" fmla="*/ 250031 h 1814512"/>
                        <a:gd name="connsiteX6" fmla="*/ 1316830 w 3236118"/>
                        <a:gd name="connsiteY6" fmla="*/ 278606 h 1814512"/>
                        <a:gd name="connsiteX7" fmla="*/ 1338262 w 3236118"/>
                        <a:gd name="connsiteY7" fmla="*/ 280987 h 1814512"/>
                        <a:gd name="connsiteX8" fmla="*/ 1393030 w 3236118"/>
                        <a:gd name="connsiteY8" fmla="*/ 280987 h 1814512"/>
                        <a:gd name="connsiteX9" fmla="*/ 1423987 w 3236118"/>
                        <a:gd name="connsiteY9" fmla="*/ 314325 h 1814512"/>
                        <a:gd name="connsiteX10" fmla="*/ 1426368 w 3236118"/>
                        <a:gd name="connsiteY10" fmla="*/ 335756 h 1814512"/>
                        <a:gd name="connsiteX11" fmla="*/ 1438274 w 3236118"/>
                        <a:gd name="connsiteY11" fmla="*/ 373856 h 1814512"/>
                        <a:gd name="connsiteX12" fmla="*/ 1478755 w 3236118"/>
                        <a:gd name="connsiteY12" fmla="*/ 357187 h 1814512"/>
                        <a:gd name="connsiteX13" fmla="*/ 1538287 w 3236118"/>
                        <a:gd name="connsiteY13" fmla="*/ 373856 h 1814512"/>
                        <a:gd name="connsiteX14" fmla="*/ 1609724 w 3236118"/>
                        <a:gd name="connsiteY14" fmla="*/ 385762 h 1814512"/>
                        <a:gd name="connsiteX15" fmla="*/ 1650205 w 3236118"/>
                        <a:gd name="connsiteY15" fmla="*/ 369093 h 1814512"/>
                        <a:gd name="connsiteX16" fmla="*/ 1662112 w 3236118"/>
                        <a:gd name="connsiteY16" fmla="*/ 311943 h 1814512"/>
                        <a:gd name="connsiteX17" fmla="*/ 1666874 w 3236118"/>
                        <a:gd name="connsiteY17" fmla="*/ 285750 h 1814512"/>
                        <a:gd name="connsiteX18" fmla="*/ 1693068 w 3236118"/>
                        <a:gd name="connsiteY18" fmla="*/ 269081 h 1814512"/>
                        <a:gd name="connsiteX19" fmla="*/ 1821655 w 3236118"/>
                        <a:gd name="connsiteY19" fmla="*/ 178593 h 1814512"/>
                        <a:gd name="connsiteX20" fmla="*/ 1850230 w 3236118"/>
                        <a:gd name="connsiteY20" fmla="*/ 176212 h 1814512"/>
                        <a:gd name="connsiteX21" fmla="*/ 1859755 w 3236118"/>
                        <a:gd name="connsiteY21" fmla="*/ 228600 h 1814512"/>
                        <a:gd name="connsiteX22" fmla="*/ 1852612 w 3236118"/>
                        <a:gd name="connsiteY22" fmla="*/ 261937 h 1814512"/>
                        <a:gd name="connsiteX23" fmla="*/ 1928812 w 3236118"/>
                        <a:gd name="connsiteY23" fmla="*/ 280987 h 1814512"/>
                        <a:gd name="connsiteX24" fmla="*/ 1976437 w 3236118"/>
                        <a:gd name="connsiteY24" fmla="*/ 228600 h 1814512"/>
                        <a:gd name="connsiteX25" fmla="*/ 2028824 w 3236118"/>
                        <a:gd name="connsiteY25" fmla="*/ 183356 h 1814512"/>
                        <a:gd name="connsiteX26" fmla="*/ 2050255 w 3236118"/>
                        <a:gd name="connsiteY26" fmla="*/ 133350 h 1814512"/>
                        <a:gd name="connsiteX27" fmla="*/ 2100262 w 3236118"/>
                        <a:gd name="connsiteY27" fmla="*/ 109537 h 1814512"/>
                        <a:gd name="connsiteX28" fmla="*/ 2140743 w 3236118"/>
                        <a:gd name="connsiteY28" fmla="*/ 80962 h 1814512"/>
                        <a:gd name="connsiteX29" fmla="*/ 2185987 w 3236118"/>
                        <a:gd name="connsiteY29" fmla="*/ 33337 h 1814512"/>
                        <a:gd name="connsiteX30" fmla="*/ 2231230 w 3236118"/>
                        <a:gd name="connsiteY30" fmla="*/ 33337 h 1814512"/>
                        <a:gd name="connsiteX31" fmla="*/ 2266949 w 3236118"/>
                        <a:gd name="connsiteY31" fmla="*/ 0 h 1814512"/>
                        <a:gd name="connsiteX32" fmla="*/ 2333624 w 3236118"/>
                        <a:gd name="connsiteY32" fmla="*/ 71437 h 1814512"/>
                        <a:gd name="connsiteX33" fmla="*/ 2309812 w 3236118"/>
                        <a:gd name="connsiteY33" fmla="*/ 102393 h 1814512"/>
                        <a:gd name="connsiteX34" fmla="*/ 2302668 w 3236118"/>
                        <a:gd name="connsiteY34" fmla="*/ 138112 h 1814512"/>
                        <a:gd name="connsiteX35" fmla="*/ 2347912 w 3236118"/>
                        <a:gd name="connsiteY35" fmla="*/ 180975 h 1814512"/>
                        <a:gd name="connsiteX36" fmla="*/ 2412205 w 3236118"/>
                        <a:gd name="connsiteY36" fmla="*/ 178593 h 1814512"/>
                        <a:gd name="connsiteX37" fmla="*/ 2447924 w 3236118"/>
                        <a:gd name="connsiteY37" fmla="*/ 183356 h 1814512"/>
                        <a:gd name="connsiteX38" fmla="*/ 2526505 w 3236118"/>
                        <a:gd name="connsiteY38" fmla="*/ 230981 h 1814512"/>
                        <a:gd name="connsiteX39" fmla="*/ 2562224 w 3236118"/>
                        <a:gd name="connsiteY39" fmla="*/ 245268 h 1814512"/>
                        <a:gd name="connsiteX40" fmla="*/ 2564605 w 3236118"/>
                        <a:gd name="connsiteY40" fmla="*/ 292893 h 1814512"/>
                        <a:gd name="connsiteX41" fmla="*/ 2547937 w 3236118"/>
                        <a:gd name="connsiteY41" fmla="*/ 345281 h 1814512"/>
                        <a:gd name="connsiteX42" fmla="*/ 2593180 w 3236118"/>
                        <a:gd name="connsiteY42" fmla="*/ 359568 h 1814512"/>
                        <a:gd name="connsiteX43" fmla="*/ 2628899 w 3236118"/>
                        <a:gd name="connsiteY43" fmla="*/ 304800 h 1814512"/>
                        <a:gd name="connsiteX44" fmla="*/ 2671762 w 3236118"/>
                        <a:gd name="connsiteY44" fmla="*/ 295275 h 1814512"/>
                        <a:gd name="connsiteX45" fmla="*/ 2728912 w 3236118"/>
                        <a:gd name="connsiteY45" fmla="*/ 257175 h 1814512"/>
                        <a:gd name="connsiteX46" fmla="*/ 2790824 w 3236118"/>
                        <a:gd name="connsiteY46" fmla="*/ 266700 h 1814512"/>
                        <a:gd name="connsiteX47" fmla="*/ 2867024 w 3236118"/>
                        <a:gd name="connsiteY47" fmla="*/ 226218 h 1814512"/>
                        <a:gd name="connsiteX48" fmla="*/ 2895599 w 3236118"/>
                        <a:gd name="connsiteY48" fmla="*/ 166687 h 1814512"/>
                        <a:gd name="connsiteX49" fmla="*/ 2909887 w 3236118"/>
                        <a:gd name="connsiteY49" fmla="*/ 147637 h 1814512"/>
                        <a:gd name="connsiteX50" fmla="*/ 2917030 w 3236118"/>
                        <a:gd name="connsiteY50" fmla="*/ 142875 h 1814512"/>
                        <a:gd name="connsiteX51" fmla="*/ 2926555 w 3236118"/>
                        <a:gd name="connsiteY51" fmla="*/ 130968 h 1814512"/>
                        <a:gd name="connsiteX52" fmla="*/ 2940843 w 3236118"/>
                        <a:gd name="connsiteY52" fmla="*/ 92868 h 1814512"/>
                        <a:gd name="connsiteX53" fmla="*/ 3024187 w 3236118"/>
                        <a:gd name="connsiteY53" fmla="*/ 114300 h 1814512"/>
                        <a:gd name="connsiteX54" fmla="*/ 3095624 w 3236118"/>
                        <a:gd name="connsiteY54" fmla="*/ 130968 h 1814512"/>
                        <a:gd name="connsiteX55" fmla="*/ 3109912 w 3236118"/>
                        <a:gd name="connsiteY55" fmla="*/ 200025 h 1814512"/>
                        <a:gd name="connsiteX56" fmla="*/ 3145630 w 3236118"/>
                        <a:gd name="connsiteY56" fmla="*/ 252412 h 1814512"/>
                        <a:gd name="connsiteX57" fmla="*/ 3131343 w 3236118"/>
                        <a:gd name="connsiteY57" fmla="*/ 259556 h 1814512"/>
                        <a:gd name="connsiteX58" fmla="*/ 3090862 w 3236118"/>
                        <a:gd name="connsiteY58" fmla="*/ 283368 h 1814512"/>
                        <a:gd name="connsiteX59" fmla="*/ 3062287 w 3236118"/>
                        <a:gd name="connsiteY59" fmla="*/ 314325 h 1814512"/>
                        <a:gd name="connsiteX60" fmla="*/ 3033712 w 3236118"/>
                        <a:gd name="connsiteY60" fmla="*/ 354806 h 1814512"/>
                        <a:gd name="connsiteX61" fmla="*/ 3031330 w 3236118"/>
                        <a:gd name="connsiteY61" fmla="*/ 416718 h 1814512"/>
                        <a:gd name="connsiteX62" fmla="*/ 3045618 w 3236118"/>
                        <a:gd name="connsiteY62" fmla="*/ 466725 h 1814512"/>
                        <a:gd name="connsiteX63" fmla="*/ 3071812 w 3236118"/>
                        <a:gd name="connsiteY63" fmla="*/ 511968 h 1814512"/>
                        <a:gd name="connsiteX64" fmla="*/ 3095624 w 3236118"/>
                        <a:gd name="connsiteY64" fmla="*/ 535781 h 1814512"/>
                        <a:gd name="connsiteX65" fmla="*/ 3076574 w 3236118"/>
                        <a:gd name="connsiteY65" fmla="*/ 564356 h 1814512"/>
                        <a:gd name="connsiteX66" fmla="*/ 3055143 w 3236118"/>
                        <a:gd name="connsiteY66" fmla="*/ 590550 h 1814512"/>
                        <a:gd name="connsiteX67" fmla="*/ 3050380 w 3236118"/>
                        <a:gd name="connsiteY67" fmla="*/ 640556 h 1814512"/>
                        <a:gd name="connsiteX68" fmla="*/ 3064668 w 3236118"/>
                        <a:gd name="connsiteY68" fmla="*/ 666750 h 1814512"/>
                        <a:gd name="connsiteX69" fmla="*/ 3090862 w 3236118"/>
                        <a:gd name="connsiteY69" fmla="*/ 716756 h 1814512"/>
                        <a:gd name="connsiteX70" fmla="*/ 3114674 w 3236118"/>
                        <a:gd name="connsiteY70" fmla="*/ 733425 h 1814512"/>
                        <a:gd name="connsiteX71" fmla="*/ 3105149 w 3236118"/>
                        <a:gd name="connsiteY71" fmla="*/ 769143 h 1814512"/>
                        <a:gd name="connsiteX72" fmla="*/ 3098005 w 3236118"/>
                        <a:gd name="connsiteY72" fmla="*/ 790575 h 1814512"/>
                        <a:gd name="connsiteX73" fmla="*/ 3071812 w 3236118"/>
                        <a:gd name="connsiteY73" fmla="*/ 807243 h 1814512"/>
                        <a:gd name="connsiteX74" fmla="*/ 3045618 w 3236118"/>
                        <a:gd name="connsiteY74" fmla="*/ 828675 h 1814512"/>
                        <a:gd name="connsiteX75" fmla="*/ 3057524 w 3236118"/>
                        <a:gd name="connsiteY75" fmla="*/ 859631 h 1814512"/>
                        <a:gd name="connsiteX76" fmla="*/ 3067049 w 3236118"/>
                        <a:gd name="connsiteY76" fmla="*/ 883443 h 1814512"/>
                        <a:gd name="connsiteX77" fmla="*/ 3143249 w 3236118"/>
                        <a:gd name="connsiteY77" fmla="*/ 962025 h 1814512"/>
                        <a:gd name="connsiteX78" fmla="*/ 3095624 w 3236118"/>
                        <a:gd name="connsiteY78" fmla="*/ 1021556 h 1814512"/>
                        <a:gd name="connsiteX79" fmla="*/ 3093243 w 3236118"/>
                        <a:gd name="connsiteY79" fmla="*/ 1181100 h 1814512"/>
                        <a:gd name="connsiteX80" fmla="*/ 3052762 w 3236118"/>
                        <a:gd name="connsiteY80" fmla="*/ 1214437 h 1814512"/>
                        <a:gd name="connsiteX81" fmla="*/ 3114674 w 3236118"/>
                        <a:gd name="connsiteY81" fmla="*/ 1293018 h 1814512"/>
                        <a:gd name="connsiteX82" fmla="*/ 3171824 w 3236118"/>
                        <a:gd name="connsiteY82" fmla="*/ 1238250 h 1814512"/>
                        <a:gd name="connsiteX83" fmla="*/ 3236118 w 3236118"/>
                        <a:gd name="connsiteY83" fmla="*/ 1240631 h 1814512"/>
                        <a:gd name="connsiteX84" fmla="*/ 3228974 w 3236118"/>
                        <a:gd name="connsiteY84" fmla="*/ 1283493 h 1814512"/>
                        <a:gd name="connsiteX85" fmla="*/ 3228974 w 3236118"/>
                        <a:gd name="connsiteY85" fmla="*/ 1419225 h 1814512"/>
                        <a:gd name="connsiteX86" fmla="*/ 3193255 w 3236118"/>
                        <a:gd name="connsiteY86" fmla="*/ 1431131 h 1814512"/>
                        <a:gd name="connsiteX87" fmla="*/ 3107530 w 3236118"/>
                        <a:gd name="connsiteY87" fmla="*/ 1443037 h 1814512"/>
                        <a:gd name="connsiteX88" fmla="*/ 2778918 w 3236118"/>
                        <a:gd name="connsiteY88" fmla="*/ 1459706 h 1814512"/>
                        <a:gd name="connsiteX89" fmla="*/ 2671762 w 3236118"/>
                        <a:gd name="connsiteY89" fmla="*/ 1488281 h 1814512"/>
                        <a:gd name="connsiteX90" fmla="*/ 2433637 w 3236118"/>
                        <a:gd name="connsiteY90" fmla="*/ 1728787 h 1814512"/>
                        <a:gd name="connsiteX91" fmla="*/ 1547812 w 3236118"/>
                        <a:gd name="connsiteY91" fmla="*/ 1781175 h 1814512"/>
                        <a:gd name="connsiteX92" fmla="*/ 1393030 w 3236118"/>
                        <a:gd name="connsiteY92" fmla="*/ 1802606 h 1814512"/>
                        <a:gd name="connsiteX93" fmla="*/ 971549 w 3236118"/>
                        <a:gd name="connsiteY93" fmla="*/ 1814512 h 1814512"/>
                        <a:gd name="connsiteX94" fmla="*/ 933449 w 3236118"/>
                        <a:gd name="connsiteY94" fmla="*/ 1747837 h 1814512"/>
                        <a:gd name="connsiteX95" fmla="*/ 845343 w 3236118"/>
                        <a:gd name="connsiteY95" fmla="*/ 1747837 h 1814512"/>
                        <a:gd name="connsiteX96" fmla="*/ 821530 w 3236118"/>
                        <a:gd name="connsiteY96" fmla="*/ 1738312 h 1814512"/>
                        <a:gd name="connsiteX97" fmla="*/ 766762 w 3236118"/>
                        <a:gd name="connsiteY97" fmla="*/ 1776412 h 1814512"/>
                        <a:gd name="connsiteX98" fmla="*/ 578643 w 3236118"/>
                        <a:gd name="connsiteY98" fmla="*/ 1764506 h 1814512"/>
                        <a:gd name="connsiteX99" fmla="*/ 502443 w 3236118"/>
                        <a:gd name="connsiteY99" fmla="*/ 1690687 h 1814512"/>
                        <a:gd name="connsiteX100" fmla="*/ 328612 w 3236118"/>
                        <a:gd name="connsiteY100" fmla="*/ 1581150 h 1814512"/>
                        <a:gd name="connsiteX101" fmla="*/ 147637 w 3236118"/>
                        <a:gd name="connsiteY101" fmla="*/ 1514475 h 1814512"/>
                        <a:gd name="connsiteX102" fmla="*/ 85724 w 3236118"/>
                        <a:gd name="connsiteY102" fmla="*/ 1478756 h 1814512"/>
                        <a:gd name="connsiteX103" fmla="*/ 42862 w 3236118"/>
                        <a:gd name="connsiteY103" fmla="*/ 1426368 h 1814512"/>
                        <a:gd name="connsiteX104" fmla="*/ 0 w 3236118"/>
                        <a:gd name="connsiteY104" fmla="*/ 1428749 h 1814512"/>
                        <a:gd name="connsiteX105" fmla="*/ 1112043 w 3236118"/>
                        <a:gd name="connsiteY105" fmla="*/ 295275 h 1814512"/>
                        <a:gd name="connsiteX0" fmla="*/ 1112043 w 3236118"/>
                        <a:gd name="connsiteY0" fmla="*/ 295275 h 1814512"/>
                        <a:gd name="connsiteX1" fmla="*/ 1166812 w 3236118"/>
                        <a:gd name="connsiteY1" fmla="*/ 240506 h 1814512"/>
                        <a:gd name="connsiteX2" fmla="*/ 1190624 w 3236118"/>
                        <a:gd name="connsiteY2" fmla="*/ 195262 h 1814512"/>
                        <a:gd name="connsiteX3" fmla="*/ 1235868 w 3236118"/>
                        <a:gd name="connsiteY3" fmla="*/ 180975 h 1814512"/>
                        <a:gd name="connsiteX4" fmla="*/ 1266824 w 3236118"/>
                        <a:gd name="connsiteY4" fmla="*/ 209550 h 1814512"/>
                        <a:gd name="connsiteX5" fmla="*/ 1283493 w 3236118"/>
                        <a:gd name="connsiteY5" fmla="*/ 250031 h 1814512"/>
                        <a:gd name="connsiteX6" fmla="*/ 1316830 w 3236118"/>
                        <a:gd name="connsiteY6" fmla="*/ 278606 h 1814512"/>
                        <a:gd name="connsiteX7" fmla="*/ 1338262 w 3236118"/>
                        <a:gd name="connsiteY7" fmla="*/ 280987 h 1814512"/>
                        <a:gd name="connsiteX8" fmla="*/ 1393030 w 3236118"/>
                        <a:gd name="connsiteY8" fmla="*/ 280987 h 1814512"/>
                        <a:gd name="connsiteX9" fmla="*/ 1423987 w 3236118"/>
                        <a:gd name="connsiteY9" fmla="*/ 314325 h 1814512"/>
                        <a:gd name="connsiteX10" fmla="*/ 1426368 w 3236118"/>
                        <a:gd name="connsiteY10" fmla="*/ 335756 h 1814512"/>
                        <a:gd name="connsiteX11" fmla="*/ 1438274 w 3236118"/>
                        <a:gd name="connsiteY11" fmla="*/ 373856 h 1814512"/>
                        <a:gd name="connsiteX12" fmla="*/ 1478755 w 3236118"/>
                        <a:gd name="connsiteY12" fmla="*/ 357187 h 1814512"/>
                        <a:gd name="connsiteX13" fmla="*/ 1538287 w 3236118"/>
                        <a:gd name="connsiteY13" fmla="*/ 373856 h 1814512"/>
                        <a:gd name="connsiteX14" fmla="*/ 1609724 w 3236118"/>
                        <a:gd name="connsiteY14" fmla="*/ 385762 h 1814512"/>
                        <a:gd name="connsiteX15" fmla="*/ 1650205 w 3236118"/>
                        <a:gd name="connsiteY15" fmla="*/ 369093 h 1814512"/>
                        <a:gd name="connsiteX16" fmla="*/ 1662112 w 3236118"/>
                        <a:gd name="connsiteY16" fmla="*/ 311943 h 1814512"/>
                        <a:gd name="connsiteX17" fmla="*/ 1666874 w 3236118"/>
                        <a:gd name="connsiteY17" fmla="*/ 285750 h 1814512"/>
                        <a:gd name="connsiteX18" fmla="*/ 1693068 w 3236118"/>
                        <a:gd name="connsiteY18" fmla="*/ 269081 h 1814512"/>
                        <a:gd name="connsiteX19" fmla="*/ 1821655 w 3236118"/>
                        <a:gd name="connsiteY19" fmla="*/ 178593 h 1814512"/>
                        <a:gd name="connsiteX20" fmla="*/ 1850230 w 3236118"/>
                        <a:gd name="connsiteY20" fmla="*/ 176212 h 1814512"/>
                        <a:gd name="connsiteX21" fmla="*/ 1859755 w 3236118"/>
                        <a:gd name="connsiteY21" fmla="*/ 228600 h 1814512"/>
                        <a:gd name="connsiteX22" fmla="*/ 1852612 w 3236118"/>
                        <a:gd name="connsiteY22" fmla="*/ 261937 h 1814512"/>
                        <a:gd name="connsiteX23" fmla="*/ 1928812 w 3236118"/>
                        <a:gd name="connsiteY23" fmla="*/ 280987 h 1814512"/>
                        <a:gd name="connsiteX24" fmla="*/ 1976437 w 3236118"/>
                        <a:gd name="connsiteY24" fmla="*/ 228600 h 1814512"/>
                        <a:gd name="connsiteX25" fmla="*/ 2028824 w 3236118"/>
                        <a:gd name="connsiteY25" fmla="*/ 183356 h 1814512"/>
                        <a:gd name="connsiteX26" fmla="*/ 2050255 w 3236118"/>
                        <a:gd name="connsiteY26" fmla="*/ 133350 h 1814512"/>
                        <a:gd name="connsiteX27" fmla="*/ 2100262 w 3236118"/>
                        <a:gd name="connsiteY27" fmla="*/ 109537 h 1814512"/>
                        <a:gd name="connsiteX28" fmla="*/ 2140743 w 3236118"/>
                        <a:gd name="connsiteY28" fmla="*/ 80962 h 1814512"/>
                        <a:gd name="connsiteX29" fmla="*/ 2185987 w 3236118"/>
                        <a:gd name="connsiteY29" fmla="*/ 33337 h 1814512"/>
                        <a:gd name="connsiteX30" fmla="*/ 2231230 w 3236118"/>
                        <a:gd name="connsiteY30" fmla="*/ 33337 h 1814512"/>
                        <a:gd name="connsiteX31" fmla="*/ 2266949 w 3236118"/>
                        <a:gd name="connsiteY31" fmla="*/ 0 h 1814512"/>
                        <a:gd name="connsiteX32" fmla="*/ 2333624 w 3236118"/>
                        <a:gd name="connsiteY32" fmla="*/ 71437 h 1814512"/>
                        <a:gd name="connsiteX33" fmla="*/ 2309812 w 3236118"/>
                        <a:gd name="connsiteY33" fmla="*/ 102393 h 1814512"/>
                        <a:gd name="connsiteX34" fmla="*/ 2302668 w 3236118"/>
                        <a:gd name="connsiteY34" fmla="*/ 138112 h 1814512"/>
                        <a:gd name="connsiteX35" fmla="*/ 2347912 w 3236118"/>
                        <a:gd name="connsiteY35" fmla="*/ 180975 h 1814512"/>
                        <a:gd name="connsiteX36" fmla="*/ 2412205 w 3236118"/>
                        <a:gd name="connsiteY36" fmla="*/ 178593 h 1814512"/>
                        <a:gd name="connsiteX37" fmla="*/ 2447924 w 3236118"/>
                        <a:gd name="connsiteY37" fmla="*/ 183356 h 1814512"/>
                        <a:gd name="connsiteX38" fmla="*/ 2526505 w 3236118"/>
                        <a:gd name="connsiteY38" fmla="*/ 230981 h 1814512"/>
                        <a:gd name="connsiteX39" fmla="*/ 2562224 w 3236118"/>
                        <a:gd name="connsiteY39" fmla="*/ 245268 h 1814512"/>
                        <a:gd name="connsiteX40" fmla="*/ 2564605 w 3236118"/>
                        <a:gd name="connsiteY40" fmla="*/ 292893 h 1814512"/>
                        <a:gd name="connsiteX41" fmla="*/ 2547937 w 3236118"/>
                        <a:gd name="connsiteY41" fmla="*/ 345281 h 1814512"/>
                        <a:gd name="connsiteX42" fmla="*/ 2593180 w 3236118"/>
                        <a:gd name="connsiteY42" fmla="*/ 359568 h 1814512"/>
                        <a:gd name="connsiteX43" fmla="*/ 2628899 w 3236118"/>
                        <a:gd name="connsiteY43" fmla="*/ 304800 h 1814512"/>
                        <a:gd name="connsiteX44" fmla="*/ 2671762 w 3236118"/>
                        <a:gd name="connsiteY44" fmla="*/ 295275 h 1814512"/>
                        <a:gd name="connsiteX45" fmla="*/ 2728912 w 3236118"/>
                        <a:gd name="connsiteY45" fmla="*/ 257175 h 1814512"/>
                        <a:gd name="connsiteX46" fmla="*/ 2790824 w 3236118"/>
                        <a:gd name="connsiteY46" fmla="*/ 266700 h 1814512"/>
                        <a:gd name="connsiteX47" fmla="*/ 2867024 w 3236118"/>
                        <a:gd name="connsiteY47" fmla="*/ 226218 h 1814512"/>
                        <a:gd name="connsiteX48" fmla="*/ 2895599 w 3236118"/>
                        <a:gd name="connsiteY48" fmla="*/ 166687 h 1814512"/>
                        <a:gd name="connsiteX49" fmla="*/ 2909887 w 3236118"/>
                        <a:gd name="connsiteY49" fmla="*/ 147637 h 1814512"/>
                        <a:gd name="connsiteX50" fmla="*/ 2917030 w 3236118"/>
                        <a:gd name="connsiteY50" fmla="*/ 142875 h 1814512"/>
                        <a:gd name="connsiteX51" fmla="*/ 2926555 w 3236118"/>
                        <a:gd name="connsiteY51" fmla="*/ 130968 h 1814512"/>
                        <a:gd name="connsiteX52" fmla="*/ 2940843 w 3236118"/>
                        <a:gd name="connsiteY52" fmla="*/ 92868 h 1814512"/>
                        <a:gd name="connsiteX53" fmla="*/ 3024187 w 3236118"/>
                        <a:gd name="connsiteY53" fmla="*/ 114300 h 1814512"/>
                        <a:gd name="connsiteX54" fmla="*/ 3095624 w 3236118"/>
                        <a:gd name="connsiteY54" fmla="*/ 130968 h 1814512"/>
                        <a:gd name="connsiteX55" fmla="*/ 3109912 w 3236118"/>
                        <a:gd name="connsiteY55" fmla="*/ 200025 h 1814512"/>
                        <a:gd name="connsiteX56" fmla="*/ 3145630 w 3236118"/>
                        <a:gd name="connsiteY56" fmla="*/ 252412 h 1814512"/>
                        <a:gd name="connsiteX57" fmla="*/ 3131343 w 3236118"/>
                        <a:gd name="connsiteY57" fmla="*/ 259556 h 1814512"/>
                        <a:gd name="connsiteX58" fmla="*/ 3090862 w 3236118"/>
                        <a:gd name="connsiteY58" fmla="*/ 283368 h 1814512"/>
                        <a:gd name="connsiteX59" fmla="*/ 3062287 w 3236118"/>
                        <a:gd name="connsiteY59" fmla="*/ 314325 h 1814512"/>
                        <a:gd name="connsiteX60" fmla="*/ 3033712 w 3236118"/>
                        <a:gd name="connsiteY60" fmla="*/ 354806 h 1814512"/>
                        <a:gd name="connsiteX61" fmla="*/ 3031330 w 3236118"/>
                        <a:gd name="connsiteY61" fmla="*/ 416718 h 1814512"/>
                        <a:gd name="connsiteX62" fmla="*/ 3045618 w 3236118"/>
                        <a:gd name="connsiteY62" fmla="*/ 466725 h 1814512"/>
                        <a:gd name="connsiteX63" fmla="*/ 3071812 w 3236118"/>
                        <a:gd name="connsiteY63" fmla="*/ 511968 h 1814512"/>
                        <a:gd name="connsiteX64" fmla="*/ 3095624 w 3236118"/>
                        <a:gd name="connsiteY64" fmla="*/ 535781 h 1814512"/>
                        <a:gd name="connsiteX65" fmla="*/ 3076574 w 3236118"/>
                        <a:gd name="connsiteY65" fmla="*/ 564356 h 1814512"/>
                        <a:gd name="connsiteX66" fmla="*/ 3055143 w 3236118"/>
                        <a:gd name="connsiteY66" fmla="*/ 590550 h 1814512"/>
                        <a:gd name="connsiteX67" fmla="*/ 3050380 w 3236118"/>
                        <a:gd name="connsiteY67" fmla="*/ 640556 h 1814512"/>
                        <a:gd name="connsiteX68" fmla="*/ 3064668 w 3236118"/>
                        <a:gd name="connsiteY68" fmla="*/ 666750 h 1814512"/>
                        <a:gd name="connsiteX69" fmla="*/ 3090862 w 3236118"/>
                        <a:gd name="connsiteY69" fmla="*/ 716756 h 1814512"/>
                        <a:gd name="connsiteX70" fmla="*/ 3114674 w 3236118"/>
                        <a:gd name="connsiteY70" fmla="*/ 733425 h 1814512"/>
                        <a:gd name="connsiteX71" fmla="*/ 3105149 w 3236118"/>
                        <a:gd name="connsiteY71" fmla="*/ 769143 h 1814512"/>
                        <a:gd name="connsiteX72" fmla="*/ 3098005 w 3236118"/>
                        <a:gd name="connsiteY72" fmla="*/ 790575 h 1814512"/>
                        <a:gd name="connsiteX73" fmla="*/ 3071812 w 3236118"/>
                        <a:gd name="connsiteY73" fmla="*/ 807243 h 1814512"/>
                        <a:gd name="connsiteX74" fmla="*/ 3045618 w 3236118"/>
                        <a:gd name="connsiteY74" fmla="*/ 828675 h 1814512"/>
                        <a:gd name="connsiteX75" fmla="*/ 3057524 w 3236118"/>
                        <a:gd name="connsiteY75" fmla="*/ 859631 h 1814512"/>
                        <a:gd name="connsiteX76" fmla="*/ 3067049 w 3236118"/>
                        <a:gd name="connsiteY76" fmla="*/ 883443 h 1814512"/>
                        <a:gd name="connsiteX77" fmla="*/ 3143249 w 3236118"/>
                        <a:gd name="connsiteY77" fmla="*/ 962025 h 1814512"/>
                        <a:gd name="connsiteX78" fmla="*/ 3095624 w 3236118"/>
                        <a:gd name="connsiteY78" fmla="*/ 1021556 h 1814512"/>
                        <a:gd name="connsiteX79" fmla="*/ 3093243 w 3236118"/>
                        <a:gd name="connsiteY79" fmla="*/ 1181100 h 1814512"/>
                        <a:gd name="connsiteX80" fmla="*/ 3052762 w 3236118"/>
                        <a:gd name="connsiteY80" fmla="*/ 1214437 h 1814512"/>
                        <a:gd name="connsiteX81" fmla="*/ 3114674 w 3236118"/>
                        <a:gd name="connsiteY81" fmla="*/ 1293018 h 1814512"/>
                        <a:gd name="connsiteX82" fmla="*/ 3171824 w 3236118"/>
                        <a:gd name="connsiteY82" fmla="*/ 1238250 h 1814512"/>
                        <a:gd name="connsiteX83" fmla="*/ 3236118 w 3236118"/>
                        <a:gd name="connsiteY83" fmla="*/ 1240631 h 1814512"/>
                        <a:gd name="connsiteX84" fmla="*/ 3228974 w 3236118"/>
                        <a:gd name="connsiteY84" fmla="*/ 1283493 h 1814512"/>
                        <a:gd name="connsiteX85" fmla="*/ 3228974 w 3236118"/>
                        <a:gd name="connsiteY85" fmla="*/ 1419225 h 1814512"/>
                        <a:gd name="connsiteX86" fmla="*/ 3193255 w 3236118"/>
                        <a:gd name="connsiteY86" fmla="*/ 1431131 h 1814512"/>
                        <a:gd name="connsiteX87" fmla="*/ 3107530 w 3236118"/>
                        <a:gd name="connsiteY87" fmla="*/ 1443037 h 1814512"/>
                        <a:gd name="connsiteX88" fmla="*/ 2778918 w 3236118"/>
                        <a:gd name="connsiteY88" fmla="*/ 1459706 h 1814512"/>
                        <a:gd name="connsiteX89" fmla="*/ 2671762 w 3236118"/>
                        <a:gd name="connsiteY89" fmla="*/ 1488281 h 1814512"/>
                        <a:gd name="connsiteX90" fmla="*/ 2433637 w 3236118"/>
                        <a:gd name="connsiteY90" fmla="*/ 1728787 h 1814512"/>
                        <a:gd name="connsiteX91" fmla="*/ 1547812 w 3236118"/>
                        <a:gd name="connsiteY91" fmla="*/ 1781175 h 1814512"/>
                        <a:gd name="connsiteX92" fmla="*/ 1393030 w 3236118"/>
                        <a:gd name="connsiteY92" fmla="*/ 1802606 h 1814512"/>
                        <a:gd name="connsiteX93" fmla="*/ 971549 w 3236118"/>
                        <a:gd name="connsiteY93" fmla="*/ 1814512 h 1814512"/>
                        <a:gd name="connsiteX94" fmla="*/ 933449 w 3236118"/>
                        <a:gd name="connsiteY94" fmla="*/ 1747837 h 1814512"/>
                        <a:gd name="connsiteX95" fmla="*/ 845343 w 3236118"/>
                        <a:gd name="connsiteY95" fmla="*/ 1747837 h 1814512"/>
                        <a:gd name="connsiteX96" fmla="*/ 821530 w 3236118"/>
                        <a:gd name="connsiteY96" fmla="*/ 1738312 h 1814512"/>
                        <a:gd name="connsiteX97" fmla="*/ 766762 w 3236118"/>
                        <a:gd name="connsiteY97" fmla="*/ 1776412 h 1814512"/>
                        <a:gd name="connsiteX98" fmla="*/ 578643 w 3236118"/>
                        <a:gd name="connsiteY98" fmla="*/ 1764506 h 1814512"/>
                        <a:gd name="connsiteX99" fmla="*/ 502443 w 3236118"/>
                        <a:gd name="connsiteY99" fmla="*/ 1690687 h 1814512"/>
                        <a:gd name="connsiteX100" fmla="*/ 328612 w 3236118"/>
                        <a:gd name="connsiteY100" fmla="*/ 1581150 h 1814512"/>
                        <a:gd name="connsiteX101" fmla="*/ 147637 w 3236118"/>
                        <a:gd name="connsiteY101" fmla="*/ 1514475 h 1814512"/>
                        <a:gd name="connsiteX102" fmla="*/ 85724 w 3236118"/>
                        <a:gd name="connsiteY102" fmla="*/ 1478756 h 1814512"/>
                        <a:gd name="connsiteX103" fmla="*/ 42862 w 3236118"/>
                        <a:gd name="connsiteY103" fmla="*/ 1426368 h 1814512"/>
                        <a:gd name="connsiteX104" fmla="*/ 0 w 3236118"/>
                        <a:gd name="connsiteY104" fmla="*/ 1428749 h 1814512"/>
                        <a:gd name="connsiteX105" fmla="*/ 78580 w 3236118"/>
                        <a:gd name="connsiteY105" fmla="*/ 1352550 h 1814512"/>
                        <a:gd name="connsiteX106" fmla="*/ 1112043 w 3236118"/>
                        <a:gd name="connsiteY10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1112044 w 3236119"/>
                        <a:gd name="connsiteY10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147639 w 3236119"/>
                        <a:gd name="connsiteY106" fmla="*/ 1245393 h 1814512"/>
                        <a:gd name="connsiteX107" fmla="*/ 1112044 w 3236119"/>
                        <a:gd name="connsiteY10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1112044 w 3236119"/>
                        <a:gd name="connsiteY10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73857 w 3236119"/>
                        <a:gd name="connsiteY107" fmla="*/ 1092993 h 1814512"/>
                        <a:gd name="connsiteX108" fmla="*/ 1112044 w 3236119"/>
                        <a:gd name="connsiteY10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261939 w 3236119"/>
                        <a:gd name="connsiteY107" fmla="*/ 1112043 h 1814512"/>
                        <a:gd name="connsiteX108" fmla="*/ 1112044 w 3236119"/>
                        <a:gd name="connsiteY10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288132 w 3236119"/>
                        <a:gd name="connsiteY107" fmla="*/ 1152525 h 1814512"/>
                        <a:gd name="connsiteX108" fmla="*/ 261939 w 3236119"/>
                        <a:gd name="connsiteY108" fmla="*/ 1112043 h 1814512"/>
                        <a:gd name="connsiteX109" fmla="*/ 1112044 w 3236119"/>
                        <a:gd name="connsiteY10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61939 w 3236119"/>
                        <a:gd name="connsiteY108" fmla="*/ 1112043 h 1814512"/>
                        <a:gd name="connsiteX109" fmla="*/ 1112044 w 3236119"/>
                        <a:gd name="connsiteY10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61939 w 3236119"/>
                        <a:gd name="connsiteY108" fmla="*/ 1112043 h 1814512"/>
                        <a:gd name="connsiteX109" fmla="*/ 316707 w 3236119"/>
                        <a:gd name="connsiteY109" fmla="*/ 1064418 h 1814512"/>
                        <a:gd name="connsiteX110" fmla="*/ 1112044 w 3236119"/>
                        <a:gd name="connsiteY11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61939 w 3236119"/>
                        <a:gd name="connsiteY108" fmla="*/ 1112043 h 1814512"/>
                        <a:gd name="connsiteX109" fmla="*/ 259557 w 3236119"/>
                        <a:gd name="connsiteY109" fmla="*/ 1057275 h 1814512"/>
                        <a:gd name="connsiteX110" fmla="*/ 1112044 w 3236119"/>
                        <a:gd name="connsiteY11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1112044 w 3236119"/>
                        <a:gd name="connsiteY11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14326 w 3236119"/>
                        <a:gd name="connsiteY110" fmla="*/ 1009650 h 1814512"/>
                        <a:gd name="connsiteX111" fmla="*/ 1112044 w 3236119"/>
                        <a:gd name="connsiteY111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1112044 w 3236119"/>
                        <a:gd name="connsiteY111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71476 w 3236119"/>
                        <a:gd name="connsiteY111" fmla="*/ 976312 h 1814512"/>
                        <a:gd name="connsiteX112" fmla="*/ 1112044 w 3236119"/>
                        <a:gd name="connsiteY112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1112044 w 3236119"/>
                        <a:gd name="connsiteY112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402432 w 3236119"/>
                        <a:gd name="connsiteY112" fmla="*/ 907256 h 1814512"/>
                        <a:gd name="connsiteX113" fmla="*/ 1112044 w 3236119"/>
                        <a:gd name="connsiteY113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1112044 w 3236119"/>
                        <a:gd name="connsiteY113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47676 w 3236119"/>
                        <a:gd name="connsiteY113" fmla="*/ 847725 h 1814512"/>
                        <a:gd name="connsiteX114" fmla="*/ 1112044 w 3236119"/>
                        <a:gd name="connsiteY114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1112044 w 3236119"/>
                        <a:gd name="connsiteY114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7676 w 3236119"/>
                        <a:gd name="connsiteY114" fmla="*/ 790575 h 1814512"/>
                        <a:gd name="connsiteX115" fmla="*/ 1112044 w 3236119"/>
                        <a:gd name="connsiteY115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5295 w 3236119"/>
                        <a:gd name="connsiteY114" fmla="*/ 812006 h 1814512"/>
                        <a:gd name="connsiteX115" fmla="*/ 1112044 w 3236119"/>
                        <a:gd name="connsiteY115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5295 w 3236119"/>
                        <a:gd name="connsiteY114" fmla="*/ 812006 h 1814512"/>
                        <a:gd name="connsiteX115" fmla="*/ 490539 w 3236119"/>
                        <a:gd name="connsiteY115" fmla="*/ 778668 h 1814512"/>
                        <a:gd name="connsiteX116" fmla="*/ 1112044 w 3236119"/>
                        <a:gd name="connsiteY11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5295 w 3236119"/>
                        <a:gd name="connsiteY114" fmla="*/ 812006 h 1814512"/>
                        <a:gd name="connsiteX115" fmla="*/ 471489 w 3236119"/>
                        <a:gd name="connsiteY115" fmla="*/ 850106 h 1814512"/>
                        <a:gd name="connsiteX116" fmla="*/ 1112044 w 3236119"/>
                        <a:gd name="connsiteY11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5295 w 3236119"/>
                        <a:gd name="connsiteY114" fmla="*/ 812006 h 1814512"/>
                        <a:gd name="connsiteX115" fmla="*/ 471489 w 3236119"/>
                        <a:gd name="connsiteY115" fmla="*/ 850106 h 1814512"/>
                        <a:gd name="connsiteX116" fmla="*/ 521495 w 3236119"/>
                        <a:gd name="connsiteY116" fmla="*/ 804862 h 1814512"/>
                        <a:gd name="connsiteX117" fmla="*/ 1112044 w 3236119"/>
                        <a:gd name="connsiteY11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5295 w 3236119"/>
                        <a:gd name="connsiteY114" fmla="*/ 812006 h 1814512"/>
                        <a:gd name="connsiteX115" fmla="*/ 471489 w 3236119"/>
                        <a:gd name="connsiteY115" fmla="*/ 850106 h 1814512"/>
                        <a:gd name="connsiteX116" fmla="*/ 600076 w 3236119"/>
                        <a:gd name="connsiteY116" fmla="*/ 866775 h 1814512"/>
                        <a:gd name="connsiteX117" fmla="*/ 1112044 w 3236119"/>
                        <a:gd name="connsiteY11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397670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1112044 w 3236119"/>
                        <a:gd name="connsiteY11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1112044 w 3236119"/>
                        <a:gd name="connsiteY11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719139 w 3236119"/>
                        <a:gd name="connsiteY118" fmla="*/ 731043 h 1814512"/>
                        <a:gd name="connsiteX119" fmla="*/ 1112044 w 3236119"/>
                        <a:gd name="connsiteY11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1112044 w 3236119"/>
                        <a:gd name="connsiteY11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57226 w 3236119"/>
                        <a:gd name="connsiteY119" fmla="*/ 781050 h 1814512"/>
                        <a:gd name="connsiteX120" fmla="*/ 1112044 w 3236119"/>
                        <a:gd name="connsiteY12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1112044 w 3236119"/>
                        <a:gd name="connsiteY12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33426 w 3236119"/>
                        <a:gd name="connsiteY120" fmla="*/ 773906 h 1814512"/>
                        <a:gd name="connsiteX121" fmla="*/ 1112044 w 3236119"/>
                        <a:gd name="connsiteY121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1112044 w 3236119"/>
                        <a:gd name="connsiteY121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66764 w 3236119"/>
                        <a:gd name="connsiteY121" fmla="*/ 702468 h 1814512"/>
                        <a:gd name="connsiteX122" fmla="*/ 1112044 w 3236119"/>
                        <a:gd name="connsiteY122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1112044 w 3236119"/>
                        <a:gd name="connsiteY122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819151 w 3236119"/>
                        <a:gd name="connsiteY122" fmla="*/ 671512 h 1814512"/>
                        <a:gd name="connsiteX123" fmla="*/ 1112044 w 3236119"/>
                        <a:gd name="connsiteY123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1112044 w 3236119"/>
                        <a:gd name="connsiteY123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847726 w 3236119"/>
                        <a:gd name="connsiteY123" fmla="*/ 588168 h 1814512"/>
                        <a:gd name="connsiteX124" fmla="*/ 1112044 w 3236119"/>
                        <a:gd name="connsiteY124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16782 w 3236119"/>
                        <a:gd name="connsiteY123" fmla="*/ 540543 h 1814512"/>
                        <a:gd name="connsiteX124" fmla="*/ 1112044 w 3236119"/>
                        <a:gd name="connsiteY124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16782 w 3236119"/>
                        <a:gd name="connsiteY123" fmla="*/ 540543 h 1814512"/>
                        <a:gd name="connsiteX124" fmla="*/ 1007270 w 3236119"/>
                        <a:gd name="connsiteY124" fmla="*/ 419100 h 1814512"/>
                        <a:gd name="connsiteX125" fmla="*/ 1112044 w 3236119"/>
                        <a:gd name="connsiteY125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16782 w 3236119"/>
                        <a:gd name="connsiteY123" fmla="*/ 540543 h 1814512"/>
                        <a:gd name="connsiteX124" fmla="*/ 1000126 w 3236119"/>
                        <a:gd name="connsiteY124" fmla="*/ 397668 h 1814512"/>
                        <a:gd name="connsiteX125" fmla="*/ 1112044 w 3236119"/>
                        <a:gd name="connsiteY125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112044 w 3236119"/>
                        <a:gd name="connsiteY125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64420 w 3236119"/>
                        <a:gd name="connsiteY125" fmla="*/ 333375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88232 w 3236119"/>
                        <a:gd name="connsiteY125" fmla="*/ 342900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73944 w 3236119"/>
                        <a:gd name="connsiteY125" fmla="*/ 342900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2432 w 3236119"/>
                        <a:gd name="connsiteY113" fmla="*/ 864393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73944 w 3236119"/>
                        <a:gd name="connsiteY125" fmla="*/ 342900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7176 w 3236119"/>
                        <a:gd name="connsiteY109" fmla="*/ 1052513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2432 w 3236119"/>
                        <a:gd name="connsiteY113" fmla="*/ 864393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73944 w 3236119"/>
                        <a:gd name="connsiteY125" fmla="*/ 342900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30995 w 3236119"/>
                        <a:gd name="connsiteY100" fmla="*/ 1578769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7176 w 3236119"/>
                        <a:gd name="connsiteY109" fmla="*/ 1052513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2432 w 3236119"/>
                        <a:gd name="connsiteY113" fmla="*/ 864393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73944 w 3236119"/>
                        <a:gd name="connsiteY125" fmla="*/ 342900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61951 w 3236119"/>
                        <a:gd name="connsiteY100" fmla="*/ 1597818 h 1814512"/>
                        <a:gd name="connsiteX101" fmla="*/ 330995 w 3236119"/>
                        <a:gd name="connsiteY101" fmla="*/ 1578769 h 1814512"/>
                        <a:gd name="connsiteX102" fmla="*/ 147638 w 3236119"/>
                        <a:gd name="connsiteY102" fmla="*/ 1514475 h 1814512"/>
                        <a:gd name="connsiteX103" fmla="*/ 85725 w 3236119"/>
                        <a:gd name="connsiteY103" fmla="*/ 1478756 h 1814512"/>
                        <a:gd name="connsiteX104" fmla="*/ 42863 w 3236119"/>
                        <a:gd name="connsiteY104" fmla="*/ 1426368 h 1814512"/>
                        <a:gd name="connsiteX105" fmla="*/ 1 w 3236119"/>
                        <a:gd name="connsiteY105" fmla="*/ 1428749 h 1814512"/>
                        <a:gd name="connsiteX106" fmla="*/ 0 w 3236119"/>
                        <a:gd name="connsiteY106" fmla="*/ 1397793 h 1814512"/>
                        <a:gd name="connsiteX107" fmla="*/ 307182 w 3236119"/>
                        <a:gd name="connsiteY107" fmla="*/ 1171575 h 1814512"/>
                        <a:gd name="connsiteX108" fmla="*/ 300039 w 3236119"/>
                        <a:gd name="connsiteY108" fmla="*/ 1143000 h 1814512"/>
                        <a:gd name="connsiteX109" fmla="*/ 252414 w 3236119"/>
                        <a:gd name="connsiteY109" fmla="*/ 1100137 h 1814512"/>
                        <a:gd name="connsiteX110" fmla="*/ 257176 w 3236119"/>
                        <a:gd name="connsiteY110" fmla="*/ 1052513 h 1814512"/>
                        <a:gd name="connsiteX111" fmla="*/ 307182 w 3236119"/>
                        <a:gd name="connsiteY111" fmla="*/ 1038225 h 1814512"/>
                        <a:gd name="connsiteX112" fmla="*/ 314326 w 3236119"/>
                        <a:gd name="connsiteY112" fmla="*/ 985837 h 1814512"/>
                        <a:gd name="connsiteX113" fmla="*/ 390526 w 3236119"/>
                        <a:gd name="connsiteY113" fmla="*/ 900112 h 1814512"/>
                        <a:gd name="connsiteX114" fmla="*/ 402432 w 3236119"/>
                        <a:gd name="connsiteY114" fmla="*/ 864393 h 1814512"/>
                        <a:gd name="connsiteX115" fmla="*/ 404814 w 3236119"/>
                        <a:gd name="connsiteY115" fmla="*/ 823912 h 1814512"/>
                        <a:gd name="connsiteX116" fmla="*/ 445295 w 3236119"/>
                        <a:gd name="connsiteY116" fmla="*/ 812006 h 1814512"/>
                        <a:gd name="connsiteX117" fmla="*/ 471489 w 3236119"/>
                        <a:gd name="connsiteY117" fmla="*/ 850106 h 1814512"/>
                        <a:gd name="connsiteX118" fmla="*/ 600076 w 3236119"/>
                        <a:gd name="connsiteY118" fmla="*/ 866775 h 1814512"/>
                        <a:gd name="connsiteX119" fmla="*/ 638176 w 3236119"/>
                        <a:gd name="connsiteY119" fmla="*/ 804862 h 1814512"/>
                        <a:gd name="connsiteX120" fmla="*/ 692945 w 3236119"/>
                        <a:gd name="connsiteY120" fmla="*/ 828675 h 1814512"/>
                        <a:gd name="connsiteX121" fmla="*/ 709614 w 3236119"/>
                        <a:gd name="connsiteY121" fmla="*/ 769143 h 1814512"/>
                        <a:gd name="connsiteX122" fmla="*/ 778670 w 3236119"/>
                        <a:gd name="connsiteY122" fmla="*/ 723900 h 1814512"/>
                        <a:gd name="connsiteX123" fmla="*/ 783432 w 3236119"/>
                        <a:gd name="connsiteY123" fmla="*/ 661987 h 1814512"/>
                        <a:gd name="connsiteX124" fmla="*/ 933450 w 3236119"/>
                        <a:gd name="connsiteY124" fmla="*/ 533399 h 1814512"/>
                        <a:gd name="connsiteX125" fmla="*/ 1000126 w 3236119"/>
                        <a:gd name="connsiteY125" fmla="*/ 397668 h 1814512"/>
                        <a:gd name="connsiteX126" fmla="*/ 1073944 w 3236119"/>
                        <a:gd name="connsiteY126" fmla="*/ 342900 h 1814512"/>
                        <a:gd name="connsiteX127" fmla="*/ 1112044 w 3236119"/>
                        <a:gd name="connsiteY12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30995 w 3236119"/>
                        <a:gd name="connsiteY101" fmla="*/ 1578769 h 1814512"/>
                        <a:gd name="connsiteX102" fmla="*/ 147638 w 3236119"/>
                        <a:gd name="connsiteY102" fmla="*/ 1514475 h 1814512"/>
                        <a:gd name="connsiteX103" fmla="*/ 85725 w 3236119"/>
                        <a:gd name="connsiteY103" fmla="*/ 1478756 h 1814512"/>
                        <a:gd name="connsiteX104" fmla="*/ 42863 w 3236119"/>
                        <a:gd name="connsiteY104" fmla="*/ 1426368 h 1814512"/>
                        <a:gd name="connsiteX105" fmla="*/ 1 w 3236119"/>
                        <a:gd name="connsiteY105" fmla="*/ 1428749 h 1814512"/>
                        <a:gd name="connsiteX106" fmla="*/ 0 w 3236119"/>
                        <a:gd name="connsiteY106" fmla="*/ 1397793 h 1814512"/>
                        <a:gd name="connsiteX107" fmla="*/ 307182 w 3236119"/>
                        <a:gd name="connsiteY107" fmla="*/ 1171575 h 1814512"/>
                        <a:gd name="connsiteX108" fmla="*/ 300039 w 3236119"/>
                        <a:gd name="connsiteY108" fmla="*/ 1143000 h 1814512"/>
                        <a:gd name="connsiteX109" fmla="*/ 252414 w 3236119"/>
                        <a:gd name="connsiteY109" fmla="*/ 1100137 h 1814512"/>
                        <a:gd name="connsiteX110" fmla="*/ 257176 w 3236119"/>
                        <a:gd name="connsiteY110" fmla="*/ 1052513 h 1814512"/>
                        <a:gd name="connsiteX111" fmla="*/ 307182 w 3236119"/>
                        <a:gd name="connsiteY111" fmla="*/ 1038225 h 1814512"/>
                        <a:gd name="connsiteX112" fmla="*/ 314326 w 3236119"/>
                        <a:gd name="connsiteY112" fmla="*/ 985837 h 1814512"/>
                        <a:gd name="connsiteX113" fmla="*/ 390526 w 3236119"/>
                        <a:gd name="connsiteY113" fmla="*/ 900112 h 1814512"/>
                        <a:gd name="connsiteX114" fmla="*/ 402432 w 3236119"/>
                        <a:gd name="connsiteY114" fmla="*/ 864393 h 1814512"/>
                        <a:gd name="connsiteX115" fmla="*/ 404814 w 3236119"/>
                        <a:gd name="connsiteY115" fmla="*/ 823912 h 1814512"/>
                        <a:gd name="connsiteX116" fmla="*/ 445295 w 3236119"/>
                        <a:gd name="connsiteY116" fmla="*/ 812006 h 1814512"/>
                        <a:gd name="connsiteX117" fmla="*/ 471489 w 3236119"/>
                        <a:gd name="connsiteY117" fmla="*/ 850106 h 1814512"/>
                        <a:gd name="connsiteX118" fmla="*/ 600076 w 3236119"/>
                        <a:gd name="connsiteY118" fmla="*/ 866775 h 1814512"/>
                        <a:gd name="connsiteX119" fmla="*/ 638176 w 3236119"/>
                        <a:gd name="connsiteY119" fmla="*/ 804862 h 1814512"/>
                        <a:gd name="connsiteX120" fmla="*/ 692945 w 3236119"/>
                        <a:gd name="connsiteY120" fmla="*/ 828675 h 1814512"/>
                        <a:gd name="connsiteX121" fmla="*/ 709614 w 3236119"/>
                        <a:gd name="connsiteY121" fmla="*/ 769143 h 1814512"/>
                        <a:gd name="connsiteX122" fmla="*/ 778670 w 3236119"/>
                        <a:gd name="connsiteY122" fmla="*/ 723900 h 1814512"/>
                        <a:gd name="connsiteX123" fmla="*/ 783432 w 3236119"/>
                        <a:gd name="connsiteY123" fmla="*/ 661987 h 1814512"/>
                        <a:gd name="connsiteX124" fmla="*/ 933450 w 3236119"/>
                        <a:gd name="connsiteY124" fmla="*/ 533399 h 1814512"/>
                        <a:gd name="connsiteX125" fmla="*/ 1000126 w 3236119"/>
                        <a:gd name="connsiteY125" fmla="*/ 397668 h 1814512"/>
                        <a:gd name="connsiteX126" fmla="*/ 1073944 w 3236119"/>
                        <a:gd name="connsiteY126" fmla="*/ 342900 h 1814512"/>
                        <a:gd name="connsiteX127" fmla="*/ 1112044 w 3236119"/>
                        <a:gd name="connsiteY12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30995 w 3236119"/>
                        <a:gd name="connsiteY101" fmla="*/ 1578769 h 1814512"/>
                        <a:gd name="connsiteX102" fmla="*/ 283370 w 3236119"/>
                        <a:gd name="connsiteY102" fmla="*/ 1559718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42863 w 3236119"/>
                        <a:gd name="connsiteY105" fmla="*/ 1426368 h 1814512"/>
                        <a:gd name="connsiteX106" fmla="*/ 1 w 3236119"/>
                        <a:gd name="connsiteY106" fmla="*/ 1428749 h 1814512"/>
                        <a:gd name="connsiteX107" fmla="*/ 0 w 3236119"/>
                        <a:gd name="connsiteY107" fmla="*/ 1397793 h 1814512"/>
                        <a:gd name="connsiteX108" fmla="*/ 307182 w 3236119"/>
                        <a:gd name="connsiteY108" fmla="*/ 1171575 h 1814512"/>
                        <a:gd name="connsiteX109" fmla="*/ 300039 w 3236119"/>
                        <a:gd name="connsiteY109" fmla="*/ 1143000 h 1814512"/>
                        <a:gd name="connsiteX110" fmla="*/ 252414 w 3236119"/>
                        <a:gd name="connsiteY110" fmla="*/ 1100137 h 1814512"/>
                        <a:gd name="connsiteX111" fmla="*/ 257176 w 3236119"/>
                        <a:gd name="connsiteY111" fmla="*/ 1052513 h 1814512"/>
                        <a:gd name="connsiteX112" fmla="*/ 307182 w 3236119"/>
                        <a:gd name="connsiteY112" fmla="*/ 1038225 h 1814512"/>
                        <a:gd name="connsiteX113" fmla="*/ 314326 w 3236119"/>
                        <a:gd name="connsiteY113" fmla="*/ 985837 h 1814512"/>
                        <a:gd name="connsiteX114" fmla="*/ 390526 w 3236119"/>
                        <a:gd name="connsiteY114" fmla="*/ 900112 h 1814512"/>
                        <a:gd name="connsiteX115" fmla="*/ 402432 w 3236119"/>
                        <a:gd name="connsiteY115" fmla="*/ 864393 h 1814512"/>
                        <a:gd name="connsiteX116" fmla="*/ 404814 w 3236119"/>
                        <a:gd name="connsiteY116" fmla="*/ 823912 h 1814512"/>
                        <a:gd name="connsiteX117" fmla="*/ 445295 w 3236119"/>
                        <a:gd name="connsiteY117" fmla="*/ 812006 h 1814512"/>
                        <a:gd name="connsiteX118" fmla="*/ 471489 w 3236119"/>
                        <a:gd name="connsiteY118" fmla="*/ 850106 h 1814512"/>
                        <a:gd name="connsiteX119" fmla="*/ 600076 w 3236119"/>
                        <a:gd name="connsiteY119" fmla="*/ 866775 h 1814512"/>
                        <a:gd name="connsiteX120" fmla="*/ 638176 w 3236119"/>
                        <a:gd name="connsiteY120" fmla="*/ 804862 h 1814512"/>
                        <a:gd name="connsiteX121" fmla="*/ 692945 w 3236119"/>
                        <a:gd name="connsiteY121" fmla="*/ 828675 h 1814512"/>
                        <a:gd name="connsiteX122" fmla="*/ 709614 w 3236119"/>
                        <a:gd name="connsiteY122" fmla="*/ 769143 h 1814512"/>
                        <a:gd name="connsiteX123" fmla="*/ 778670 w 3236119"/>
                        <a:gd name="connsiteY123" fmla="*/ 723900 h 1814512"/>
                        <a:gd name="connsiteX124" fmla="*/ 783432 w 3236119"/>
                        <a:gd name="connsiteY124" fmla="*/ 661987 h 1814512"/>
                        <a:gd name="connsiteX125" fmla="*/ 933450 w 3236119"/>
                        <a:gd name="connsiteY125" fmla="*/ 533399 h 1814512"/>
                        <a:gd name="connsiteX126" fmla="*/ 1000126 w 3236119"/>
                        <a:gd name="connsiteY126" fmla="*/ 397668 h 1814512"/>
                        <a:gd name="connsiteX127" fmla="*/ 1073944 w 3236119"/>
                        <a:gd name="connsiteY127" fmla="*/ 342900 h 1814512"/>
                        <a:gd name="connsiteX128" fmla="*/ 1112044 w 3236119"/>
                        <a:gd name="connsiteY12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30995 w 3236119"/>
                        <a:gd name="connsiteY101" fmla="*/ 1578769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42863 w 3236119"/>
                        <a:gd name="connsiteY105" fmla="*/ 1426368 h 1814512"/>
                        <a:gd name="connsiteX106" fmla="*/ 1 w 3236119"/>
                        <a:gd name="connsiteY106" fmla="*/ 1428749 h 1814512"/>
                        <a:gd name="connsiteX107" fmla="*/ 0 w 3236119"/>
                        <a:gd name="connsiteY107" fmla="*/ 1397793 h 1814512"/>
                        <a:gd name="connsiteX108" fmla="*/ 307182 w 3236119"/>
                        <a:gd name="connsiteY108" fmla="*/ 1171575 h 1814512"/>
                        <a:gd name="connsiteX109" fmla="*/ 300039 w 3236119"/>
                        <a:gd name="connsiteY109" fmla="*/ 1143000 h 1814512"/>
                        <a:gd name="connsiteX110" fmla="*/ 252414 w 3236119"/>
                        <a:gd name="connsiteY110" fmla="*/ 1100137 h 1814512"/>
                        <a:gd name="connsiteX111" fmla="*/ 257176 w 3236119"/>
                        <a:gd name="connsiteY111" fmla="*/ 1052513 h 1814512"/>
                        <a:gd name="connsiteX112" fmla="*/ 307182 w 3236119"/>
                        <a:gd name="connsiteY112" fmla="*/ 1038225 h 1814512"/>
                        <a:gd name="connsiteX113" fmla="*/ 314326 w 3236119"/>
                        <a:gd name="connsiteY113" fmla="*/ 985837 h 1814512"/>
                        <a:gd name="connsiteX114" fmla="*/ 390526 w 3236119"/>
                        <a:gd name="connsiteY114" fmla="*/ 900112 h 1814512"/>
                        <a:gd name="connsiteX115" fmla="*/ 402432 w 3236119"/>
                        <a:gd name="connsiteY115" fmla="*/ 864393 h 1814512"/>
                        <a:gd name="connsiteX116" fmla="*/ 404814 w 3236119"/>
                        <a:gd name="connsiteY116" fmla="*/ 823912 h 1814512"/>
                        <a:gd name="connsiteX117" fmla="*/ 445295 w 3236119"/>
                        <a:gd name="connsiteY117" fmla="*/ 812006 h 1814512"/>
                        <a:gd name="connsiteX118" fmla="*/ 471489 w 3236119"/>
                        <a:gd name="connsiteY118" fmla="*/ 850106 h 1814512"/>
                        <a:gd name="connsiteX119" fmla="*/ 600076 w 3236119"/>
                        <a:gd name="connsiteY119" fmla="*/ 866775 h 1814512"/>
                        <a:gd name="connsiteX120" fmla="*/ 638176 w 3236119"/>
                        <a:gd name="connsiteY120" fmla="*/ 804862 h 1814512"/>
                        <a:gd name="connsiteX121" fmla="*/ 692945 w 3236119"/>
                        <a:gd name="connsiteY121" fmla="*/ 828675 h 1814512"/>
                        <a:gd name="connsiteX122" fmla="*/ 709614 w 3236119"/>
                        <a:gd name="connsiteY122" fmla="*/ 769143 h 1814512"/>
                        <a:gd name="connsiteX123" fmla="*/ 778670 w 3236119"/>
                        <a:gd name="connsiteY123" fmla="*/ 723900 h 1814512"/>
                        <a:gd name="connsiteX124" fmla="*/ 783432 w 3236119"/>
                        <a:gd name="connsiteY124" fmla="*/ 661987 h 1814512"/>
                        <a:gd name="connsiteX125" fmla="*/ 933450 w 3236119"/>
                        <a:gd name="connsiteY125" fmla="*/ 533399 h 1814512"/>
                        <a:gd name="connsiteX126" fmla="*/ 1000126 w 3236119"/>
                        <a:gd name="connsiteY126" fmla="*/ 397668 h 1814512"/>
                        <a:gd name="connsiteX127" fmla="*/ 1073944 w 3236119"/>
                        <a:gd name="connsiteY127" fmla="*/ 342900 h 1814512"/>
                        <a:gd name="connsiteX128" fmla="*/ 1112044 w 3236119"/>
                        <a:gd name="connsiteY12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42863 w 3236119"/>
                        <a:gd name="connsiteY105" fmla="*/ 1426368 h 1814512"/>
                        <a:gd name="connsiteX106" fmla="*/ 1 w 3236119"/>
                        <a:gd name="connsiteY106" fmla="*/ 1428749 h 1814512"/>
                        <a:gd name="connsiteX107" fmla="*/ 0 w 3236119"/>
                        <a:gd name="connsiteY107" fmla="*/ 1397793 h 1814512"/>
                        <a:gd name="connsiteX108" fmla="*/ 307182 w 3236119"/>
                        <a:gd name="connsiteY108" fmla="*/ 1171575 h 1814512"/>
                        <a:gd name="connsiteX109" fmla="*/ 300039 w 3236119"/>
                        <a:gd name="connsiteY109" fmla="*/ 1143000 h 1814512"/>
                        <a:gd name="connsiteX110" fmla="*/ 252414 w 3236119"/>
                        <a:gd name="connsiteY110" fmla="*/ 1100137 h 1814512"/>
                        <a:gd name="connsiteX111" fmla="*/ 257176 w 3236119"/>
                        <a:gd name="connsiteY111" fmla="*/ 1052513 h 1814512"/>
                        <a:gd name="connsiteX112" fmla="*/ 307182 w 3236119"/>
                        <a:gd name="connsiteY112" fmla="*/ 1038225 h 1814512"/>
                        <a:gd name="connsiteX113" fmla="*/ 314326 w 3236119"/>
                        <a:gd name="connsiteY113" fmla="*/ 985837 h 1814512"/>
                        <a:gd name="connsiteX114" fmla="*/ 390526 w 3236119"/>
                        <a:gd name="connsiteY114" fmla="*/ 900112 h 1814512"/>
                        <a:gd name="connsiteX115" fmla="*/ 402432 w 3236119"/>
                        <a:gd name="connsiteY115" fmla="*/ 864393 h 1814512"/>
                        <a:gd name="connsiteX116" fmla="*/ 404814 w 3236119"/>
                        <a:gd name="connsiteY116" fmla="*/ 823912 h 1814512"/>
                        <a:gd name="connsiteX117" fmla="*/ 445295 w 3236119"/>
                        <a:gd name="connsiteY117" fmla="*/ 812006 h 1814512"/>
                        <a:gd name="connsiteX118" fmla="*/ 471489 w 3236119"/>
                        <a:gd name="connsiteY118" fmla="*/ 850106 h 1814512"/>
                        <a:gd name="connsiteX119" fmla="*/ 600076 w 3236119"/>
                        <a:gd name="connsiteY119" fmla="*/ 866775 h 1814512"/>
                        <a:gd name="connsiteX120" fmla="*/ 638176 w 3236119"/>
                        <a:gd name="connsiteY120" fmla="*/ 804862 h 1814512"/>
                        <a:gd name="connsiteX121" fmla="*/ 692945 w 3236119"/>
                        <a:gd name="connsiteY121" fmla="*/ 828675 h 1814512"/>
                        <a:gd name="connsiteX122" fmla="*/ 709614 w 3236119"/>
                        <a:gd name="connsiteY122" fmla="*/ 769143 h 1814512"/>
                        <a:gd name="connsiteX123" fmla="*/ 778670 w 3236119"/>
                        <a:gd name="connsiteY123" fmla="*/ 723900 h 1814512"/>
                        <a:gd name="connsiteX124" fmla="*/ 783432 w 3236119"/>
                        <a:gd name="connsiteY124" fmla="*/ 661987 h 1814512"/>
                        <a:gd name="connsiteX125" fmla="*/ 933450 w 3236119"/>
                        <a:gd name="connsiteY125" fmla="*/ 533399 h 1814512"/>
                        <a:gd name="connsiteX126" fmla="*/ 1000126 w 3236119"/>
                        <a:gd name="connsiteY126" fmla="*/ 397668 h 1814512"/>
                        <a:gd name="connsiteX127" fmla="*/ 1073944 w 3236119"/>
                        <a:gd name="connsiteY127" fmla="*/ 342900 h 1814512"/>
                        <a:gd name="connsiteX128" fmla="*/ 1112044 w 3236119"/>
                        <a:gd name="connsiteY12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71439 w 3236119"/>
                        <a:gd name="connsiteY105" fmla="*/ 1450181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8670 w 3236119"/>
                        <a:gd name="connsiteY124" fmla="*/ 723900 h 1814512"/>
                        <a:gd name="connsiteX125" fmla="*/ 783432 w 3236119"/>
                        <a:gd name="connsiteY125" fmla="*/ 661987 h 1814512"/>
                        <a:gd name="connsiteX126" fmla="*/ 933450 w 3236119"/>
                        <a:gd name="connsiteY126" fmla="*/ 533399 h 1814512"/>
                        <a:gd name="connsiteX127" fmla="*/ 1000126 w 3236119"/>
                        <a:gd name="connsiteY127" fmla="*/ 397668 h 1814512"/>
                        <a:gd name="connsiteX128" fmla="*/ 1073944 w 3236119"/>
                        <a:gd name="connsiteY128" fmla="*/ 342900 h 1814512"/>
                        <a:gd name="connsiteX129" fmla="*/ 1112044 w 3236119"/>
                        <a:gd name="connsiteY12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8670 w 3236119"/>
                        <a:gd name="connsiteY124" fmla="*/ 723900 h 1814512"/>
                        <a:gd name="connsiteX125" fmla="*/ 783432 w 3236119"/>
                        <a:gd name="connsiteY125" fmla="*/ 661987 h 1814512"/>
                        <a:gd name="connsiteX126" fmla="*/ 933450 w 3236119"/>
                        <a:gd name="connsiteY126" fmla="*/ 533399 h 1814512"/>
                        <a:gd name="connsiteX127" fmla="*/ 1000126 w 3236119"/>
                        <a:gd name="connsiteY127" fmla="*/ 397668 h 1814512"/>
                        <a:gd name="connsiteX128" fmla="*/ 1073944 w 3236119"/>
                        <a:gd name="connsiteY128" fmla="*/ 342900 h 1814512"/>
                        <a:gd name="connsiteX129" fmla="*/ 1112044 w 3236119"/>
                        <a:gd name="connsiteY12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8670 w 3236119"/>
                        <a:gd name="connsiteY124" fmla="*/ 723900 h 1814512"/>
                        <a:gd name="connsiteX125" fmla="*/ 783432 w 3236119"/>
                        <a:gd name="connsiteY125" fmla="*/ 661987 h 1814512"/>
                        <a:gd name="connsiteX126" fmla="*/ 845345 w 3236119"/>
                        <a:gd name="connsiteY126" fmla="*/ 604837 h 1814512"/>
                        <a:gd name="connsiteX127" fmla="*/ 933450 w 3236119"/>
                        <a:gd name="connsiteY127" fmla="*/ 533399 h 1814512"/>
                        <a:gd name="connsiteX128" fmla="*/ 1000126 w 3236119"/>
                        <a:gd name="connsiteY128" fmla="*/ 397668 h 1814512"/>
                        <a:gd name="connsiteX129" fmla="*/ 1073944 w 3236119"/>
                        <a:gd name="connsiteY129" fmla="*/ 342900 h 1814512"/>
                        <a:gd name="connsiteX130" fmla="*/ 1112044 w 3236119"/>
                        <a:gd name="connsiteY13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8670 w 3236119"/>
                        <a:gd name="connsiteY124" fmla="*/ 723900 h 1814512"/>
                        <a:gd name="connsiteX125" fmla="*/ 783432 w 3236119"/>
                        <a:gd name="connsiteY125" fmla="*/ 661987 h 1814512"/>
                        <a:gd name="connsiteX126" fmla="*/ 831057 w 3236119"/>
                        <a:gd name="connsiteY126" fmla="*/ 602456 h 1814512"/>
                        <a:gd name="connsiteX127" fmla="*/ 933450 w 3236119"/>
                        <a:gd name="connsiteY127" fmla="*/ 533399 h 1814512"/>
                        <a:gd name="connsiteX128" fmla="*/ 1000126 w 3236119"/>
                        <a:gd name="connsiteY128" fmla="*/ 397668 h 1814512"/>
                        <a:gd name="connsiteX129" fmla="*/ 1073944 w 3236119"/>
                        <a:gd name="connsiteY129" fmla="*/ 342900 h 1814512"/>
                        <a:gd name="connsiteX130" fmla="*/ 1112044 w 3236119"/>
                        <a:gd name="connsiteY13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8670 w 3236119"/>
                        <a:gd name="connsiteY124" fmla="*/ 723900 h 1814512"/>
                        <a:gd name="connsiteX125" fmla="*/ 771526 w 3236119"/>
                        <a:gd name="connsiteY125" fmla="*/ 661987 h 1814512"/>
                        <a:gd name="connsiteX126" fmla="*/ 831057 w 3236119"/>
                        <a:gd name="connsiteY126" fmla="*/ 602456 h 1814512"/>
                        <a:gd name="connsiteX127" fmla="*/ 933450 w 3236119"/>
                        <a:gd name="connsiteY127" fmla="*/ 533399 h 1814512"/>
                        <a:gd name="connsiteX128" fmla="*/ 1000126 w 3236119"/>
                        <a:gd name="connsiteY128" fmla="*/ 397668 h 1814512"/>
                        <a:gd name="connsiteX129" fmla="*/ 1073944 w 3236119"/>
                        <a:gd name="connsiteY129" fmla="*/ 342900 h 1814512"/>
                        <a:gd name="connsiteX130" fmla="*/ 1112044 w 3236119"/>
                        <a:gd name="connsiteY13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1527 w 3236119"/>
                        <a:gd name="connsiteY124" fmla="*/ 721519 h 1814512"/>
                        <a:gd name="connsiteX125" fmla="*/ 771526 w 3236119"/>
                        <a:gd name="connsiteY125" fmla="*/ 661987 h 1814512"/>
                        <a:gd name="connsiteX126" fmla="*/ 831057 w 3236119"/>
                        <a:gd name="connsiteY126" fmla="*/ 602456 h 1814512"/>
                        <a:gd name="connsiteX127" fmla="*/ 933450 w 3236119"/>
                        <a:gd name="connsiteY127" fmla="*/ 533399 h 1814512"/>
                        <a:gd name="connsiteX128" fmla="*/ 1000126 w 3236119"/>
                        <a:gd name="connsiteY128" fmla="*/ 397668 h 1814512"/>
                        <a:gd name="connsiteX129" fmla="*/ 1073944 w 3236119"/>
                        <a:gd name="connsiteY129" fmla="*/ 342900 h 1814512"/>
                        <a:gd name="connsiteX130" fmla="*/ 1112044 w 3236119"/>
                        <a:gd name="connsiteY13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1527 w 3236119"/>
                        <a:gd name="connsiteY124" fmla="*/ 721519 h 1814512"/>
                        <a:gd name="connsiteX125" fmla="*/ 771526 w 3236119"/>
                        <a:gd name="connsiteY125" fmla="*/ 661987 h 1814512"/>
                        <a:gd name="connsiteX126" fmla="*/ 831057 w 3236119"/>
                        <a:gd name="connsiteY126" fmla="*/ 602456 h 1814512"/>
                        <a:gd name="connsiteX127" fmla="*/ 933450 w 3236119"/>
                        <a:gd name="connsiteY127" fmla="*/ 533399 h 1814512"/>
                        <a:gd name="connsiteX128" fmla="*/ 962026 w 3236119"/>
                        <a:gd name="connsiteY128" fmla="*/ 476250 h 1814512"/>
                        <a:gd name="connsiteX129" fmla="*/ 1000126 w 3236119"/>
                        <a:gd name="connsiteY129" fmla="*/ 397668 h 1814512"/>
                        <a:gd name="connsiteX130" fmla="*/ 1073944 w 3236119"/>
                        <a:gd name="connsiteY130" fmla="*/ 342900 h 1814512"/>
                        <a:gd name="connsiteX131" fmla="*/ 1112044 w 3236119"/>
                        <a:gd name="connsiteY131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1527 w 3236119"/>
                        <a:gd name="connsiteY124" fmla="*/ 721519 h 1814512"/>
                        <a:gd name="connsiteX125" fmla="*/ 771526 w 3236119"/>
                        <a:gd name="connsiteY125" fmla="*/ 661987 h 1814512"/>
                        <a:gd name="connsiteX126" fmla="*/ 831057 w 3236119"/>
                        <a:gd name="connsiteY126" fmla="*/ 602456 h 1814512"/>
                        <a:gd name="connsiteX127" fmla="*/ 933450 w 3236119"/>
                        <a:gd name="connsiteY127" fmla="*/ 533399 h 1814512"/>
                        <a:gd name="connsiteX128" fmla="*/ 950120 w 3236119"/>
                        <a:gd name="connsiteY128" fmla="*/ 478631 h 1814512"/>
                        <a:gd name="connsiteX129" fmla="*/ 1000126 w 3236119"/>
                        <a:gd name="connsiteY129" fmla="*/ 397668 h 1814512"/>
                        <a:gd name="connsiteX130" fmla="*/ 1073944 w 3236119"/>
                        <a:gd name="connsiteY130" fmla="*/ 342900 h 1814512"/>
                        <a:gd name="connsiteX131" fmla="*/ 1112044 w 3236119"/>
                        <a:gd name="connsiteY131" fmla="*/ 295275 h 181451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  <a:cxn ang="0">
                          <a:pos x="connsiteX101" y="connsiteY101"/>
                        </a:cxn>
                        <a:cxn ang="0">
                          <a:pos x="connsiteX102" y="connsiteY102"/>
                        </a:cxn>
                        <a:cxn ang="0">
                          <a:pos x="connsiteX103" y="connsiteY103"/>
                        </a:cxn>
                        <a:cxn ang="0">
                          <a:pos x="connsiteX104" y="connsiteY104"/>
                        </a:cxn>
                        <a:cxn ang="0">
                          <a:pos x="connsiteX105" y="connsiteY105"/>
                        </a:cxn>
                        <a:cxn ang="0">
                          <a:pos x="connsiteX106" y="connsiteY106"/>
                        </a:cxn>
                        <a:cxn ang="0">
                          <a:pos x="connsiteX107" y="connsiteY107"/>
                        </a:cxn>
                        <a:cxn ang="0">
                          <a:pos x="connsiteX108" y="connsiteY108"/>
                        </a:cxn>
                        <a:cxn ang="0">
                          <a:pos x="connsiteX109" y="connsiteY109"/>
                        </a:cxn>
                        <a:cxn ang="0">
                          <a:pos x="connsiteX110" y="connsiteY110"/>
                        </a:cxn>
                        <a:cxn ang="0">
                          <a:pos x="connsiteX111" y="connsiteY111"/>
                        </a:cxn>
                        <a:cxn ang="0">
                          <a:pos x="connsiteX112" y="connsiteY112"/>
                        </a:cxn>
                        <a:cxn ang="0">
                          <a:pos x="connsiteX113" y="connsiteY113"/>
                        </a:cxn>
                        <a:cxn ang="0">
                          <a:pos x="connsiteX114" y="connsiteY114"/>
                        </a:cxn>
                        <a:cxn ang="0">
                          <a:pos x="connsiteX115" y="connsiteY115"/>
                        </a:cxn>
                        <a:cxn ang="0">
                          <a:pos x="connsiteX116" y="connsiteY116"/>
                        </a:cxn>
                        <a:cxn ang="0">
                          <a:pos x="connsiteX117" y="connsiteY117"/>
                        </a:cxn>
                        <a:cxn ang="0">
                          <a:pos x="connsiteX118" y="connsiteY118"/>
                        </a:cxn>
                        <a:cxn ang="0">
                          <a:pos x="connsiteX119" y="connsiteY119"/>
                        </a:cxn>
                        <a:cxn ang="0">
                          <a:pos x="connsiteX120" y="connsiteY120"/>
                        </a:cxn>
                        <a:cxn ang="0">
                          <a:pos x="connsiteX121" y="connsiteY121"/>
                        </a:cxn>
                        <a:cxn ang="0">
                          <a:pos x="connsiteX122" y="connsiteY122"/>
                        </a:cxn>
                        <a:cxn ang="0">
                          <a:pos x="connsiteX123" y="connsiteY123"/>
                        </a:cxn>
                        <a:cxn ang="0">
                          <a:pos x="connsiteX124" y="connsiteY124"/>
                        </a:cxn>
                        <a:cxn ang="0">
                          <a:pos x="connsiteX125" y="connsiteY125"/>
                        </a:cxn>
                        <a:cxn ang="0">
                          <a:pos x="connsiteX126" y="connsiteY126"/>
                        </a:cxn>
                        <a:cxn ang="0">
                          <a:pos x="connsiteX127" y="connsiteY127"/>
                        </a:cxn>
                        <a:cxn ang="0">
                          <a:pos x="connsiteX128" y="connsiteY128"/>
                        </a:cxn>
                        <a:cxn ang="0">
                          <a:pos x="connsiteX129" y="connsiteY129"/>
                        </a:cxn>
                        <a:cxn ang="0">
                          <a:pos x="connsiteX130" y="connsiteY130"/>
                        </a:cxn>
                        <a:cxn ang="0">
                          <a:pos x="connsiteX131" y="connsiteY131"/>
                        </a:cxn>
                      </a:cxnLst>
                      <a:rect l="l" t="t" r="r" b="b"/>
                      <a:pathLst>
                        <a:path w="3236119" h="1814512">
                          <a:moveTo>
                            <a:pt x="1112044" y="295275"/>
                          </a:moveTo>
                          <a:lnTo>
                            <a:pt x="1166813" y="240506"/>
                          </a:lnTo>
                          <a:lnTo>
                            <a:pt x="1190625" y="195262"/>
                          </a:lnTo>
                          <a:lnTo>
                            <a:pt x="1235869" y="180975"/>
                          </a:lnTo>
                          <a:lnTo>
                            <a:pt x="1266825" y="209550"/>
                          </a:lnTo>
                          <a:lnTo>
                            <a:pt x="1283494" y="250031"/>
                          </a:lnTo>
                          <a:lnTo>
                            <a:pt x="1316831" y="278606"/>
                          </a:lnTo>
                          <a:lnTo>
                            <a:pt x="1338263" y="280987"/>
                          </a:lnTo>
                          <a:lnTo>
                            <a:pt x="1393031" y="280987"/>
                          </a:lnTo>
                          <a:lnTo>
                            <a:pt x="1423988" y="314325"/>
                          </a:lnTo>
                          <a:lnTo>
                            <a:pt x="1426369" y="335756"/>
                          </a:lnTo>
                          <a:lnTo>
                            <a:pt x="1438275" y="373856"/>
                          </a:lnTo>
                          <a:lnTo>
                            <a:pt x="1478756" y="357187"/>
                          </a:lnTo>
                          <a:lnTo>
                            <a:pt x="1538288" y="373856"/>
                          </a:lnTo>
                          <a:lnTo>
                            <a:pt x="1609725" y="385762"/>
                          </a:lnTo>
                          <a:lnTo>
                            <a:pt x="1650206" y="369093"/>
                          </a:lnTo>
                          <a:lnTo>
                            <a:pt x="1662113" y="311943"/>
                          </a:lnTo>
                          <a:lnTo>
                            <a:pt x="1666875" y="285750"/>
                          </a:lnTo>
                          <a:cubicBezTo>
                            <a:pt x="1690269" y="272753"/>
                            <a:pt x="1682527" y="279621"/>
                            <a:pt x="1693069" y="269081"/>
                          </a:cubicBezTo>
                          <a:lnTo>
                            <a:pt x="1821656" y="178593"/>
                          </a:lnTo>
                          <a:lnTo>
                            <a:pt x="1850231" y="176212"/>
                          </a:lnTo>
                          <a:lnTo>
                            <a:pt x="1859756" y="228600"/>
                          </a:lnTo>
                          <a:lnTo>
                            <a:pt x="1852613" y="261937"/>
                          </a:lnTo>
                          <a:lnTo>
                            <a:pt x="1928813" y="280987"/>
                          </a:lnTo>
                          <a:lnTo>
                            <a:pt x="1976438" y="228600"/>
                          </a:lnTo>
                          <a:lnTo>
                            <a:pt x="2028825" y="183356"/>
                          </a:lnTo>
                          <a:lnTo>
                            <a:pt x="2050256" y="133350"/>
                          </a:lnTo>
                          <a:lnTo>
                            <a:pt x="2100263" y="109537"/>
                          </a:lnTo>
                          <a:lnTo>
                            <a:pt x="2140744" y="80962"/>
                          </a:lnTo>
                          <a:lnTo>
                            <a:pt x="2185988" y="33337"/>
                          </a:lnTo>
                          <a:lnTo>
                            <a:pt x="2231231" y="33337"/>
                          </a:lnTo>
                          <a:lnTo>
                            <a:pt x="2266950" y="0"/>
                          </a:lnTo>
                          <a:lnTo>
                            <a:pt x="2333625" y="71437"/>
                          </a:lnTo>
                          <a:lnTo>
                            <a:pt x="2309813" y="102393"/>
                          </a:lnTo>
                          <a:lnTo>
                            <a:pt x="2302669" y="138112"/>
                          </a:lnTo>
                          <a:lnTo>
                            <a:pt x="2347913" y="180975"/>
                          </a:lnTo>
                          <a:lnTo>
                            <a:pt x="2412206" y="178593"/>
                          </a:lnTo>
                          <a:lnTo>
                            <a:pt x="2447925" y="183356"/>
                          </a:lnTo>
                          <a:lnTo>
                            <a:pt x="2526506" y="230981"/>
                          </a:lnTo>
                          <a:lnTo>
                            <a:pt x="2562225" y="245268"/>
                          </a:lnTo>
                          <a:lnTo>
                            <a:pt x="2564606" y="292893"/>
                          </a:lnTo>
                          <a:lnTo>
                            <a:pt x="2547938" y="345281"/>
                          </a:lnTo>
                          <a:lnTo>
                            <a:pt x="2593181" y="359568"/>
                          </a:lnTo>
                          <a:lnTo>
                            <a:pt x="2628900" y="304800"/>
                          </a:lnTo>
                          <a:lnTo>
                            <a:pt x="2671763" y="295275"/>
                          </a:lnTo>
                          <a:lnTo>
                            <a:pt x="2728913" y="257175"/>
                          </a:lnTo>
                          <a:lnTo>
                            <a:pt x="2790825" y="266700"/>
                          </a:lnTo>
                          <a:lnTo>
                            <a:pt x="2867025" y="226218"/>
                          </a:lnTo>
                          <a:lnTo>
                            <a:pt x="2895600" y="166687"/>
                          </a:lnTo>
                          <a:cubicBezTo>
                            <a:pt x="2900363" y="160337"/>
                            <a:pt x="2904578" y="153537"/>
                            <a:pt x="2909888" y="147637"/>
                          </a:cubicBezTo>
                          <a:cubicBezTo>
                            <a:pt x="2911802" y="145510"/>
                            <a:pt x="2915008" y="144899"/>
                            <a:pt x="2917031" y="142875"/>
                          </a:cubicBezTo>
                          <a:cubicBezTo>
                            <a:pt x="2920625" y="139281"/>
                            <a:pt x="2926556" y="130968"/>
                            <a:pt x="2926556" y="130968"/>
                          </a:cubicBezTo>
                          <a:lnTo>
                            <a:pt x="2940844" y="92868"/>
                          </a:lnTo>
                          <a:lnTo>
                            <a:pt x="3024188" y="114300"/>
                          </a:lnTo>
                          <a:lnTo>
                            <a:pt x="3095625" y="130968"/>
                          </a:lnTo>
                          <a:lnTo>
                            <a:pt x="3109913" y="200025"/>
                          </a:lnTo>
                          <a:lnTo>
                            <a:pt x="3145631" y="252412"/>
                          </a:lnTo>
                          <a:lnTo>
                            <a:pt x="3131344" y="259556"/>
                          </a:lnTo>
                          <a:lnTo>
                            <a:pt x="3090863" y="283368"/>
                          </a:lnTo>
                          <a:lnTo>
                            <a:pt x="3062288" y="314325"/>
                          </a:lnTo>
                          <a:lnTo>
                            <a:pt x="3033713" y="354806"/>
                          </a:lnTo>
                          <a:lnTo>
                            <a:pt x="3031331" y="416718"/>
                          </a:lnTo>
                          <a:lnTo>
                            <a:pt x="3045619" y="466725"/>
                          </a:lnTo>
                          <a:lnTo>
                            <a:pt x="3071813" y="511968"/>
                          </a:lnTo>
                          <a:lnTo>
                            <a:pt x="3095625" y="535781"/>
                          </a:lnTo>
                          <a:lnTo>
                            <a:pt x="3076575" y="564356"/>
                          </a:lnTo>
                          <a:lnTo>
                            <a:pt x="3055144" y="590550"/>
                          </a:lnTo>
                          <a:lnTo>
                            <a:pt x="3050381" y="640556"/>
                          </a:lnTo>
                          <a:lnTo>
                            <a:pt x="3064669" y="666750"/>
                          </a:lnTo>
                          <a:lnTo>
                            <a:pt x="3090863" y="716756"/>
                          </a:lnTo>
                          <a:lnTo>
                            <a:pt x="3114675" y="733425"/>
                          </a:lnTo>
                          <a:lnTo>
                            <a:pt x="3105150" y="769143"/>
                          </a:lnTo>
                          <a:lnTo>
                            <a:pt x="3098006" y="790575"/>
                          </a:lnTo>
                          <a:lnTo>
                            <a:pt x="3071813" y="807243"/>
                          </a:lnTo>
                          <a:lnTo>
                            <a:pt x="3045619" y="828675"/>
                          </a:lnTo>
                          <a:lnTo>
                            <a:pt x="3057525" y="859631"/>
                          </a:lnTo>
                          <a:lnTo>
                            <a:pt x="3067050" y="883443"/>
                          </a:lnTo>
                          <a:lnTo>
                            <a:pt x="3143250" y="962025"/>
                          </a:lnTo>
                          <a:lnTo>
                            <a:pt x="3095625" y="1021556"/>
                          </a:lnTo>
                          <a:cubicBezTo>
                            <a:pt x="3094831" y="1074737"/>
                            <a:pt x="3094038" y="1127919"/>
                            <a:pt x="3093244" y="1181100"/>
                          </a:cubicBezTo>
                          <a:lnTo>
                            <a:pt x="3052763" y="1214437"/>
                          </a:lnTo>
                          <a:lnTo>
                            <a:pt x="3114675" y="1293018"/>
                          </a:lnTo>
                          <a:lnTo>
                            <a:pt x="3171825" y="1238250"/>
                          </a:lnTo>
                          <a:lnTo>
                            <a:pt x="3236119" y="1240631"/>
                          </a:lnTo>
                          <a:lnTo>
                            <a:pt x="3228975" y="1283493"/>
                          </a:lnTo>
                          <a:lnTo>
                            <a:pt x="3228975" y="1419225"/>
                          </a:lnTo>
                          <a:lnTo>
                            <a:pt x="3193256" y="1431131"/>
                          </a:lnTo>
                          <a:lnTo>
                            <a:pt x="3107531" y="1443037"/>
                          </a:lnTo>
                          <a:lnTo>
                            <a:pt x="2778919" y="1459706"/>
                          </a:lnTo>
                          <a:lnTo>
                            <a:pt x="2671763" y="1488281"/>
                          </a:lnTo>
                          <a:lnTo>
                            <a:pt x="2433638" y="1728787"/>
                          </a:lnTo>
                          <a:lnTo>
                            <a:pt x="1547813" y="1781175"/>
                          </a:lnTo>
                          <a:lnTo>
                            <a:pt x="1393031" y="1802606"/>
                          </a:lnTo>
                          <a:lnTo>
                            <a:pt x="971550" y="1814512"/>
                          </a:lnTo>
                          <a:lnTo>
                            <a:pt x="933450" y="1747837"/>
                          </a:lnTo>
                          <a:lnTo>
                            <a:pt x="845344" y="1747837"/>
                          </a:lnTo>
                          <a:lnTo>
                            <a:pt x="821531" y="1738312"/>
                          </a:lnTo>
                          <a:lnTo>
                            <a:pt x="766763" y="1776412"/>
                          </a:lnTo>
                          <a:lnTo>
                            <a:pt x="578644" y="1764506"/>
                          </a:lnTo>
                          <a:lnTo>
                            <a:pt x="502444" y="1690687"/>
                          </a:lnTo>
                          <a:lnTo>
                            <a:pt x="347663" y="1607343"/>
                          </a:lnTo>
                          <a:lnTo>
                            <a:pt x="314326" y="1588294"/>
                          </a:lnTo>
                          <a:lnTo>
                            <a:pt x="273845" y="1576387"/>
                          </a:lnTo>
                          <a:lnTo>
                            <a:pt x="147638" y="1514475"/>
                          </a:lnTo>
                          <a:lnTo>
                            <a:pt x="85725" y="1478756"/>
                          </a:lnTo>
                          <a:cubicBezTo>
                            <a:pt x="73025" y="1468040"/>
                            <a:pt x="69058" y="1466056"/>
                            <a:pt x="61914" y="1457325"/>
                          </a:cubicBezTo>
                          <a:cubicBezTo>
                            <a:pt x="54770" y="1448594"/>
                            <a:pt x="54769" y="1429940"/>
                            <a:pt x="42863" y="1426368"/>
                          </a:cubicBezTo>
                          <a:lnTo>
                            <a:pt x="1" y="1428749"/>
                          </a:lnTo>
                          <a:cubicBezTo>
                            <a:pt x="1" y="1418430"/>
                            <a:pt x="0" y="1408112"/>
                            <a:pt x="0" y="1397793"/>
                          </a:cubicBezTo>
                          <a:lnTo>
                            <a:pt x="307182" y="1171575"/>
                          </a:lnTo>
                          <a:lnTo>
                            <a:pt x="300039" y="1143000"/>
                          </a:lnTo>
                          <a:lnTo>
                            <a:pt x="252414" y="1100137"/>
                          </a:lnTo>
                          <a:lnTo>
                            <a:pt x="257176" y="1052513"/>
                          </a:lnTo>
                          <a:lnTo>
                            <a:pt x="307182" y="1038225"/>
                          </a:lnTo>
                          <a:lnTo>
                            <a:pt x="314326" y="985837"/>
                          </a:lnTo>
                          <a:lnTo>
                            <a:pt x="390526" y="900112"/>
                          </a:lnTo>
                          <a:lnTo>
                            <a:pt x="402432" y="864393"/>
                          </a:lnTo>
                          <a:lnTo>
                            <a:pt x="404814" y="823912"/>
                          </a:lnTo>
                          <a:lnTo>
                            <a:pt x="445295" y="812006"/>
                          </a:lnTo>
                          <a:lnTo>
                            <a:pt x="471489" y="850106"/>
                          </a:lnTo>
                          <a:lnTo>
                            <a:pt x="600076" y="866775"/>
                          </a:lnTo>
                          <a:lnTo>
                            <a:pt x="638176" y="804862"/>
                          </a:lnTo>
                          <a:lnTo>
                            <a:pt x="692945" y="828675"/>
                          </a:lnTo>
                          <a:lnTo>
                            <a:pt x="709614" y="769143"/>
                          </a:lnTo>
                          <a:lnTo>
                            <a:pt x="771527" y="721519"/>
                          </a:lnTo>
                          <a:cubicBezTo>
                            <a:pt x="771527" y="701675"/>
                            <a:pt x="771526" y="681831"/>
                            <a:pt x="771526" y="661987"/>
                          </a:cubicBezTo>
                          <a:lnTo>
                            <a:pt x="831057" y="602456"/>
                          </a:lnTo>
                          <a:lnTo>
                            <a:pt x="933450" y="533399"/>
                          </a:lnTo>
                          <a:lnTo>
                            <a:pt x="950120" y="478631"/>
                          </a:lnTo>
                          <a:lnTo>
                            <a:pt x="1000126" y="397668"/>
                          </a:lnTo>
                          <a:lnTo>
                            <a:pt x="1073944" y="342900"/>
                          </a:lnTo>
                          <a:lnTo>
                            <a:pt x="1112044" y="295275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/>
                      <a:endParaRPr lang="ru-RU" sz="600" kern="0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1" name="Freeform 19"/>
                    <p:cNvSpPr/>
                    <p:nvPr/>
                  </p:nvSpPr>
                  <p:spPr>
                    <a:xfrm>
                      <a:off x="3916464" y="1280121"/>
                      <a:ext cx="1209203" cy="745865"/>
                    </a:xfrm>
                    <a:custGeom>
                      <a:avLst/>
                      <a:gdLst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54769 w 1721644"/>
                        <a:gd name="connsiteY5" fmla="*/ 857250 h 1145381"/>
                        <a:gd name="connsiteX6" fmla="*/ 142875 w 1721644"/>
                        <a:gd name="connsiteY6" fmla="*/ 852487 h 1145381"/>
                        <a:gd name="connsiteX7" fmla="*/ 173832 w 1721644"/>
                        <a:gd name="connsiteY7" fmla="*/ 878681 h 1145381"/>
                        <a:gd name="connsiteX8" fmla="*/ 207169 w 1721644"/>
                        <a:gd name="connsiteY8" fmla="*/ 938212 h 1145381"/>
                        <a:gd name="connsiteX9" fmla="*/ 307182 w 1721644"/>
                        <a:gd name="connsiteY9" fmla="*/ 933450 h 1145381"/>
                        <a:gd name="connsiteX10" fmla="*/ 347663 w 1721644"/>
                        <a:gd name="connsiteY10" fmla="*/ 1000125 h 1145381"/>
                        <a:gd name="connsiteX11" fmla="*/ 438150 w 1721644"/>
                        <a:gd name="connsiteY11" fmla="*/ 1050131 h 1145381"/>
                        <a:gd name="connsiteX12" fmla="*/ 542925 w 1721644"/>
                        <a:gd name="connsiteY12" fmla="*/ 1035844 h 1145381"/>
                        <a:gd name="connsiteX13" fmla="*/ 557213 w 1721644"/>
                        <a:gd name="connsiteY13" fmla="*/ 1050131 h 1145381"/>
                        <a:gd name="connsiteX14" fmla="*/ 597694 w 1721644"/>
                        <a:gd name="connsiteY14" fmla="*/ 1014412 h 1145381"/>
                        <a:gd name="connsiteX15" fmla="*/ 621507 w 1721644"/>
                        <a:gd name="connsiteY15" fmla="*/ 990600 h 1145381"/>
                        <a:gd name="connsiteX16" fmla="*/ 633413 w 1721644"/>
                        <a:gd name="connsiteY16" fmla="*/ 954881 h 1145381"/>
                        <a:gd name="connsiteX17" fmla="*/ 671513 w 1721644"/>
                        <a:gd name="connsiteY17" fmla="*/ 940594 h 1145381"/>
                        <a:gd name="connsiteX18" fmla="*/ 711994 w 1721644"/>
                        <a:gd name="connsiteY18" fmla="*/ 969169 h 1145381"/>
                        <a:gd name="connsiteX19" fmla="*/ 728663 w 1721644"/>
                        <a:gd name="connsiteY19" fmla="*/ 1004887 h 1145381"/>
                        <a:gd name="connsiteX20" fmla="*/ 762000 w 1721644"/>
                        <a:gd name="connsiteY20" fmla="*/ 1038225 h 1145381"/>
                        <a:gd name="connsiteX21" fmla="*/ 835819 w 1721644"/>
                        <a:gd name="connsiteY21" fmla="*/ 1035844 h 1145381"/>
                        <a:gd name="connsiteX22" fmla="*/ 871538 w 1721644"/>
                        <a:gd name="connsiteY22" fmla="*/ 1071562 h 1145381"/>
                        <a:gd name="connsiteX23" fmla="*/ 883444 w 1721644"/>
                        <a:gd name="connsiteY23" fmla="*/ 1131094 h 1145381"/>
                        <a:gd name="connsiteX24" fmla="*/ 916782 w 1721644"/>
                        <a:gd name="connsiteY24" fmla="*/ 1116806 h 1145381"/>
                        <a:gd name="connsiteX25" fmla="*/ 990600 w 1721644"/>
                        <a:gd name="connsiteY25" fmla="*/ 1131094 h 1145381"/>
                        <a:gd name="connsiteX26" fmla="*/ 1047750 w 1721644"/>
                        <a:gd name="connsiteY26" fmla="*/ 1145381 h 1145381"/>
                        <a:gd name="connsiteX27" fmla="*/ 1095375 w 1721644"/>
                        <a:gd name="connsiteY27" fmla="*/ 1128712 h 1145381"/>
                        <a:gd name="connsiteX28" fmla="*/ 1114425 w 1721644"/>
                        <a:gd name="connsiteY28" fmla="*/ 1045369 h 1145381"/>
                        <a:gd name="connsiteX29" fmla="*/ 1254919 w 1721644"/>
                        <a:gd name="connsiteY29" fmla="*/ 940594 h 1145381"/>
                        <a:gd name="connsiteX30" fmla="*/ 1295400 w 1721644"/>
                        <a:gd name="connsiteY30" fmla="*/ 931069 h 1145381"/>
                        <a:gd name="connsiteX31" fmla="*/ 1307307 w 1721644"/>
                        <a:gd name="connsiteY31" fmla="*/ 983456 h 1145381"/>
                        <a:gd name="connsiteX32" fmla="*/ 1295400 w 1721644"/>
                        <a:gd name="connsiteY32" fmla="*/ 1021556 h 1145381"/>
                        <a:gd name="connsiteX33" fmla="*/ 1376363 w 1721644"/>
                        <a:gd name="connsiteY33" fmla="*/ 1040606 h 1145381"/>
                        <a:gd name="connsiteX34" fmla="*/ 1471613 w 1721644"/>
                        <a:gd name="connsiteY34" fmla="*/ 942975 h 1145381"/>
                        <a:gd name="connsiteX35" fmla="*/ 1497807 w 1721644"/>
                        <a:gd name="connsiteY35" fmla="*/ 890587 h 1145381"/>
                        <a:gd name="connsiteX36" fmla="*/ 1566863 w 1721644"/>
                        <a:gd name="connsiteY36" fmla="*/ 854869 h 1145381"/>
                        <a:gd name="connsiteX37" fmla="*/ 1616869 w 1721644"/>
                        <a:gd name="connsiteY37" fmla="*/ 800100 h 1145381"/>
                        <a:gd name="connsiteX38" fmla="*/ 1676400 w 1721644"/>
                        <a:gd name="connsiteY38" fmla="*/ 788194 h 1145381"/>
                        <a:gd name="connsiteX39" fmla="*/ 1712119 w 1721644"/>
                        <a:gd name="connsiteY39" fmla="*/ 762000 h 1145381"/>
                        <a:gd name="connsiteX40" fmla="*/ 1714500 w 1721644"/>
                        <a:gd name="connsiteY40" fmla="*/ 740569 h 1145381"/>
                        <a:gd name="connsiteX41" fmla="*/ 1678782 w 1721644"/>
                        <a:gd name="connsiteY41" fmla="*/ 711994 h 1145381"/>
                        <a:gd name="connsiteX42" fmla="*/ 1721644 w 1721644"/>
                        <a:gd name="connsiteY42" fmla="*/ 642937 h 1145381"/>
                        <a:gd name="connsiteX43" fmla="*/ 1700213 w 1721644"/>
                        <a:gd name="connsiteY43" fmla="*/ 585787 h 1145381"/>
                        <a:gd name="connsiteX44" fmla="*/ 1714500 w 1721644"/>
                        <a:gd name="connsiteY44" fmla="*/ 523875 h 1145381"/>
                        <a:gd name="connsiteX45" fmla="*/ 1721644 w 1721644"/>
                        <a:gd name="connsiteY45" fmla="*/ 473869 h 1145381"/>
                        <a:gd name="connsiteX46" fmla="*/ 1714500 w 1721644"/>
                        <a:gd name="connsiteY46" fmla="*/ 359569 h 1145381"/>
                        <a:gd name="connsiteX47" fmla="*/ 1702594 w 1721644"/>
                        <a:gd name="connsiteY47" fmla="*/ 314325 h 1145381"/>
                        <a:gd name="connsiteX48" fmla="*/ 1671638 w 1721644"/>
                        <a:gd name="connsiteY48" fmla="*/ 276225 h 1145381"/>
                        <a:gd name="connsiteX49" fmla="*/ 1626394 w 1721644"/>
                        <a:gd name="connsiteY49" fmla="*/ 273844 h 1145381"/>
                        <a:gd name="connsiteX50" fmla="*/ 1521619 w 1721644"/>
                        <a:gd name="connsiteY50" fmla="*/ 259556 h 1145381"/>
                        <a:gd name="connsiteX51" fmla="*/ 1488282 w 1721644"/>
                        <a:gd name="connsiteY51" fmla="*/ 250031 h 1145381"/>
                        <a:gd name="connsiteX52" fmla="*/ 1473994 w 1721644"/>
                        <a:gd name="connsiteY52" fmla="*/ 183356 h 1145381"/>
                        <a:gd name="connsiteX53" fmla="*/ 1388269 w 1721644"/>
                        <a:gd name="connsiteY53" fmla="*/ 207169 h 1145381"/>
                        <a:gd name="connsiteX54" fmla="*/ 1331119 w 1721644"/>
                        <a:gd name="connsiteY54" fmla="*/ 223837 h 1145381"/>
                        <a:gd name="connsiteX55" fmla="*/ 1295400 w 1721644"/>
                        <a:gd name="connsiteY55" fmla="*/ 202406 h 1145381"/>
                        <a:gd name="connsiteX56" fmla="*/ 1214438 w 1721644"/>
                        <a:gd name="connsiteY56" fmla="*/ 111919 h 1145381"/>
                        <a:gd name="connsiteX57" fmla="*/ 1164432 w 1721644"/>
                        <a:gd name="connsiteY57" fmla="*/ 121444 h 1145381"/>
                        <a:gd name="connsiteX58" fmla="*/ 1083469 w 1721644"/>
                        <a:gd name="connsiteY58" fmla="*/ 100012 h 1145381"/>
                        <a:gd name="connsiteX59" fmla="*/ 1050132 w 1721644"/>
                        <a:gd name="connsiteY59" fmla="*/ 83344 h 1145381"/>
                        <a:gd name="connsiteX60" fmla="*/ 995363 w 1721644"/>
                        <a:gd name="connsiteY60" fmla="*/ 135731 h 1145381"/>
                        <a:gd name="connsiteX61" fmla="*/ 966788 w 1721644"/>
                        <a:gd name="connsiteY61" fmla="*/ 107156 h 1145381"/>
                        <a:gd name="connsiteX62" fmla="*/ 940594 w 1721644"/>
                        <a:gd name="connsiteY62" fmla="*/ 76200 h 1145381"/>
                        <a:gd name="connsiteX63" fmla="*/ 895350 w 1721644"/>
                        <a:gd name="connsiteY63" fmla="*/ 59531 h 1145381"/>
                        <a:gd name="connsiteX64" fmla="*/ 897732 w 1721644"/>
                        <a:gd name="connsiteY64" fmla="*/ 14287 h 1145381"/>
                        <a:gd name="connsiteX65" fmla="*/ 862013 w 1721644"/>
                        <a:gd name="connsiteY65" fmla="*/ 0 h 1145381"/>
                        <a:gd name="connsiteX66" fmla="*/ 814388 w 1721644"/>
                        <a:gd name="connsiteY66" fmla="*/ 4762 h 1145381"/>
                        <a:gd name="connsiteX67" fmla="*/ 807244 w 1721644"/>
                        <a:gd name="connsiteY67" fmla="*/ 33337 h 1145381"/>
                        <a:gd name="connsiteX68" fmla="*/ 735807 w 1721644"/>
                        <a:gd name="connsiteY68" fmla="*/ 14287 h 1145381"/>
                        <a:gd name="connsiteX69" fmla="*/ 676275 w 1721644"/>
                        <a:gd name="connsiteY69" fmla="*/ 52387 h 1145381"/>
                        <a:gd name="connsiteX70" fmla="*/ 635794 w 1721644"/>
                        <a:gd name="connsiteY70" fmla="*/ 85725 h 1145381"/>
                        <a:gd name="connsiteX71" fmla="*/ 661988 w 1721644"/>
                        <a:gd name="connsiteY71" fmla="*/ 159544 h 1145381"/>
                        <a:gd name="connsiteX72" fmla="*/ 685800 w 1721644"/>
                        <a:gd name="connsiteY72" fmla="*/ 254794 h 1145381"/>
                        <a:gd name="connsiteX73" fmla="*/ 681038 w 1721644"/>
                        <a:gd name="connsiteY73" fmla="*/ 266700 h 1145381"/>
                        <a:gd name="connsiteX74" fmla="*/ 478632 w 1721644"/>
                        <a:gd name="connsiteY74" fmla="*/ 428625 h 1145381"/>
                        <a:gd name="connsiteX75" fmla="*/ 414338 w 1721644"/>
                        <a:gd name="connsiteY75" fmla="*/ 376237 h 1145381"/>
                        <a:gd name="connsiteX76" fmla="*/ 371475 w 1721644"/>
                        <a:gd name="connsiteY76" fmla="*/ 433387 h 1145381"/>
                        <a:gd name="connsiteX77" fmla="*/ 152400 w 1721644"/>
                        <a:gd name="connsiteY77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54769 w 1721644"/>
                        <a:gd name="connsiteY5" fmla="*/ 857250 h 1145381"/>
                        <a:gd name="connsiteX6" fmla="*/ 142875 w 1721644"/>
                        <a:gd name="connsiteY6" fmla="*/ 852487 h 1145381"/>
                        <a:gd name="connsiteX7" fmla="*/ 169070 w 1721644"/>
                        <a:gd name="connsiteY7" fmla="*/ 881062 h 1145381"/>
                        <a:gd name="connsiteX8" fmla="*/ 207169 w 1721644"/>
                        <a:gd name="connsiteY8" fmla="*/ 938212 h 1145381"/>
                        <a:gd name="connsiteX9" fmla="*/ 307182 w 1721644"/>
                        <a:gd name="connsiteY9" fmla="*/ 933450 h 1145381"/>
                        <a:gd name="connsiteX10" fmla="*/ 347663 w 1721644"/>
                        <a:gd name="connsiteY10" fmla="*/ 1000125 h 1145381"/>
                        <a:gd name="connsiteX11" fmla="*/ 438150 w 1721644"/>
                        <a:gd name="connsiteY11" fmla="*/ 1050131 h 1145381"/>
                        <a:gd name="connsiteX12" fmla="*/ 542925 w 1721644"/>
                        <a:gd name="connsiteY12" fmla="*/ 1035844 h 1145381"/>
                        <a:gd name="connsiteX13" fmla="*/ 557213 w 1721644"/>
                        <a:gd name="connsiteY13" fmla="*/ 1050131 h 1145381"/>
                        <a:gd name="connsiteX14" fmla="*/ 597694 w 1721644"/>
                        <a:gd name="connsiteY14" fmla="*/ 1014412 h 1145381"/>
                        <a:gd name="connsiteX15" fmla="*/ 621507 w 1721644"/>
                        <a:gd name="connsiteY15" fmla="*/ 990600 h 1145381"/>
                        <a:gd name="connsiteX16" fmla="*/ 633413 w 1721644"/>
                        <a:gd name="connsiteY16" fmla="*/ 954881 h 1145381"/>
                        <a:gd name="connsiteX17" fmla="*/ 671513 w 1721644"/>
                        <a:gd name="connsiteY17" fmla="*/ 940594 h 1145381"/>
                        <a:gd name="connsiteX18" fmla="*/ 711994 w 1721644"/>
                        <a:gd name="connsiteY18" fmla="*/ 969169 h 1145381"/>
                        <a:gd name="connsiteX19" fmla="*/ 728663 w 1721644"/>
                        <a:gd name="connsiteY19" fmla="*/ 1004887 h 1145381"/>
                        <a:gd name="connsiteX20" fmla="*/ 762000 w 1721644"/>
                        <a:gd name="connsiteY20" fmla="*/ 1038225 h 1145381"/>
                        <a:gd name="connsiteX21" fmla="*/ 835819 w 1721644"/>
                        <a:gd name="connsiteY21" fmla="*/ 1035844 h 1145381"/>
                        <a:gd name="connsiteX22" fmla="*/ 871538 w 1721644"/>
                        <a:gd name="connsiteY22" fmla="*/ 1071562 h 1145381"/>
                        <a:gd name="connsiteX23" fmla="*/ 883444 w 1721644"/>
                        <a:gd name="connsiteY23" fmla="*/ 1131094 h 1145381"/>
                        <a:gd name="connsiteX24" fmla="*/ 916782 w 1721644"/>
                        <a:gd name="connsiteY24" fmla="*/ 1116806 h 1145381"/>
                        <a:gd name="connsiteX25" fmla="*/ 990600 w 1721644"/>
                        <a:gd name="connsiteY25" fmla="*/ 1131094 h 1145381"/>
                        <a:gd name="connsiteX26" fmla="*/ 1047750 w 1721644"/>
                        <a:gd name="connsiteY26" fmla="*/ 1145381 h 1145381"/>
                        <a:gd name="connsiteX27" fmla="*/ 1095375 w 1721644"/>
                        <a:gd name="connsiteY27" fmla="*/ 1128712 h 1145381"/>
                        <a:gd name="connsiteX28" fmla="*/ 1114425 w 1721644"/>
                        <a:gd name="connsiteY28" fmla="*/ 1045369 h 1145381"/>
                        <a:gd name="connsiteX29" fmla="*/ 1254919 w 1721644"/>
                        <a:gd name="connsiteY29" fmla="*/ 940594 h 1145381"/>
                        <a:gd name="connsiteX30" fmla="*/ 1295400 w 1721644"/>
                        <a:gd name="connsiteY30" fmla="*/ 931069 h 1145381"/>
                        <a:gd name="connsiteX31" fmla="*/ 1307307 w 1721644"/>
                        <a:gd name="connsiteY31" fmla="*/ 983456 h 1145381"/>
                        <a:gd name="connsiteX32" fmla="*/ 1295400 w 1721644"/>
                        <a:gd name="connsiteY32" fmla="*/ 1021556 h 1145381"/>
                        <a:gd name="connsiteX33" fmla="*/ 1376363 w 1721644"/>
                        <a:gd name="connsiteY33" fmla="*/ 1040606 h 1145381"/>
                        <a:gd name="connsiteX34" fmla="*/ 1471613 w 1721644"/>
                        <a:gd name="connsiteY34" fmla="*/ 942975 h 1145381"/>
                        <a:gd name="connsiteX35" fmla="*/ 1497807 w 1721644"/>
                        <a:gd name="connsiteY35" fmla="*/ 890587 h 1145381"/>
                        <a:gd name="connsiteX36" fmla="*/ 1566863 w 1721644"/>
                        <a:gd name="connsiteY36" fmla="*/ 854869 h 1145381"/>
                        <a:gd name="connsiteX37" fmla="*/ 1616869 w 1721644"/>
                        <a:gd name="connsiteY37" fmla="*/ 800100 h 1145381"/>
                        <a:gd name="connsiteX38" fmla="*/ 1676400 w 1721644"/>
                        <a:gd name="connsiteY38" fmla="*/ 788194 h 1145381"/>
                        <a:gd name="connsiteX39" fmla="*/ 1712119 w 1721644"/>
                        <a:gd name="connsiteY39" fmla="*/ 762000 h 1145381"/>
                        <a:gd name="connsiteX40" fmla="*/ 1714500 w 1721644"/>
                        <a:gd name="connsiteY40" fmla="*/ 740569 h 1145381"/>
                        <a:gd name="connsiteX41" fmla="*/ 1678782 w 1721644"/>
                        <a:gd name="connsiteY41" fmla="*/ 711994 h 1145381"/>
                        <a:gd name="connsiteX42" fmla="*/ 1721644 w 1721644"/>
                        <a:gd name="connsiteY42" fmla="*/ 642937 h 1145381"/>
                        <a:gd name="connsiteX43" fmla="*/ 1700213 w 1721644"/>
                        <a:gd name="connsiteY43" fmla="*/ 585787 h 1145381"/>
                        <a:gd name="connsiteX44" fmla="*/ 1714500 w 1721644"/>
                        <a:gd name="connsiteY44" fmla="*/ 523875 h 1145381"/>
                        <a:gd name="connsiteX45" fmla="*/ 1721644 w 1721644"/>
                        <a:gd name="connsiteY45" fmla="*/ 473869 h 1145381"/>
                        <a:gd name="connsiteX46" fmla="*/ 1714500 w 1721644"/>
                        <a:gd name="connsiteY46" fmla="*/ 359569 h 1145381"/>
                        <a:gd name="connsiteX47" fmla="*/ 1702594 w 1721644"/>
                        <a:gd name="connsiteY47" fmla="*/ 314325 h 1145381"/>
                        <a:gd name="connsiteX48" fmla="*/ 1671638 w 1721644"/>
                        <a:gd name="connsiteY48" fmla="*/ 276225 h 1145381"/>
                        <a:gd name="connsiteX49" fmla="*/ 1626394 w 1721644"/>
                        <a:gd name="connsiteY49" fmla="*/ 273844 h 1145381"/>
                        <a:gd name="connsiteX50" fmla="*/ 1521619 w 1721644"/>
                        <a:gd name="connsiteY50" fmla="*/ 259556 h 1145381"/>
                        <a:gd name="connsiteX51" fmla="*/ 1488282 w 1721644"/>
                        <a:gd name="connsiteY51" fmla="*/ 250031 h 1145381"/>
                        <a:gd name="connsiteX52" fmla="*/ 1473994 w 1721644"/>
                        <a:gd name="connsiteY52" fmla="*/ 183356 h 1145381"/>
                        <a:gd name="connsiteX53" fmla="*/ 1388269 w 1721644"/>
                        <a:gd name="connsiteY53" fmla="*/ 207169 h 1145381"/>
                        <a:gd name="connsiteX54" fmla="*/ 1331119 w 1721644"/>
                        <a:gd name="connsiteY54" fmla="*/ 223837 h 1145381"/>
                        <a:gd name="connsiteX55" fmla="*/ 1295400 w 1721644"/>
                        <a:gd name="connsiteY55" fmla="*/ 202406 h 1145381"/>
                        <a:gd name="connsiteX56" fmla="*/ 1214438 w 1721644"/>
                        <a:gd name="connsiteY56" fmla="*/ 111919 h 1145381"/>
                        <a:gd name="connsiteX57" fmla="*/ 1164432 w 1721644"/>
                        <a:gd name="connsiteY57" fmla="*/ 121444 h 1145381"/>
                        <a:gd name="connsiteX58" fmla="*/ 1083469 w 1721644"/>
                        <a:gd name="connsiteY58" fmla="*/ 100012 h 1145381"/>
                        <a:gd name="connsiteX59" fmla="*/ 1050132 w 1721644"/>
                        <a:gd name="connsiteY59" fmla="*/ 83344 h 1145381"/>
                        <a:gd name="connsiteX60" fmla="*/ 995363 w 1721644"/>
                        <a:gd name="connsiteY60" fmla="*/ 135731 h 1145381"/>
                        <a:gd name="connsiteX61" fmla="*/ 966788 w 1721644"/>
                        <a:gd name="connsiteY61" fmla="*/ 107156 h 1145381"/>
                        <a:gd name="connsiteX62" fmla="*/ 940594 w 1721644"/>
                        <a:gd name="connsiteY62" fmla="*/ 76200 h 1145381"/>
                        <a:gd name="connsiteX63" fmla="*/ 895350 w 1721644"/>
                        <a:gd name="connsiteY63" fmla="*/ 59531 h 1145381"/>
                        <a:gd name="connsiteX64" fmla="*/ 897732 w 1721644"/>
                        <a:gd name="connsiteY64" fmla="*/ 14287 h 1145381"/>
                        <a:gd name="connsiteX65" fmla="*/ 862013 w 1721644"/>
                        <a:gd name="connsiteY65" fmla="*/ 0 h 1145381"/>
                        <a:gd name="connsiteX66" fmla="*/ 814388 w 1721644"/>
                        <a:gd name="connsiteY66" fmla="*/ 4762 h 1145381"/>
                        <a:gd name="connsiteX67" fmla="*/ 807244 w 1721644"/>
                        <a:gd name="connsiteY67" fmla="*/ 33337 h 1145381"/>
                        <a:gd name="connsiteX68" fmla="*/ 735807 w 1721644"/>
                        <a:gd name="connsiteY68" fmla="*/ 14287 h 1145381"/>
                        <a:gd name="connsiteX69" fmla="*/ 676275 w 1721644"/>
                        <a:gd name="connsiteY69" fmla="*/ 52387 h 1145381"/>
                        <a:gd name="connsiteX70" fmla="*/ 635794 w 1721644"/>
                        <a:gd name="connsiteY70" fmla="*/ 85725 h 1145381"/>
                        <a:gd name="connsiteX71" fmla="*/ 661988 w 1721644"/>
                        <a:gd name="connsiteY71" fmla="*/ 159544 h 1145381"/>
                        <a:gd name="connsiteX72" fmla="*/ 685800 w 1721644"/>
                        <a:gd name="connsiteY72" fmla="*/ 254794 h 1145381"/>
                        <a:gd name="connsiteX73" fmla="*/ 681038 w 1721644"/>
                        <a:gd name="connsiteY73" fmla="*/ 266700 h 1145381"/>
                        <a:gd name="connsiteX74" fmla="*/ 478632 w 1721644"/>
                        <a:gd name="connsiteY74" fmla="*/ 428625 h 1145381"/>
                        <a:gd name="connsiteX75" fmla="*/ 414338 w 1721644"/>
                        <a:gd name="connsiteY75" fmla="*/ 376237 h 1145381"/>
                        <a:gd name="connsiteX76" fmla="*/ 371475 w 1721644"/>
                        <a:gd name="connsiteY76" fmla="*/ 433387 h 1145381"/>
                        <a:gd name="connsiteX77" fmla="*/ 152400 w 1721644"/>
                        <a:gd name="connsiteY77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54769 w 1721644"/>
                        <a:gd name="connsiteY5" fmla="*/ 857250 h 1145381"/>
                        <a:gd name="connsiteX6" fmla="*/ 133350 w 1721644"/>
                        <a:gd name="connsiteY6" fmla="*/ 857250 h 1145381"/>
                        <a:gd name="connsiteX7" fmla="*/ 169070 w 1721644"/>
                        <a:gd name="connsiteY7" fmla="*/ 881062 h 1145381"/>
                        <a:gd name="connsiteX8" fmla="*/ 207169 w 1721644"/>
                        <a:gd name="connsiteY8" fmla="*/ 938212 h 1145381"/>
                        <a:gd name="connsiteX9" fmla="*/ 307182 w 1721644"/>
                        <a:gd name="connsiteY9" fmla="*/ 933450 h 1145381"/>
                        <a:gd name="connsiteX10" fmla="*/ 347663 w 1721644"/>
                        <a:gd name="connsiteY10" fmla="*/ 1000125 h 1145381"/>
                        <a:gd name="connsiteX11" fmla="*/ 438150 w 1721644"/>
                        <a:gd name="connsiteY11" fmla="*/ 1050131 h 1145381"/>
                        <a:gd name="connsiteX12" fmla="*/ 542925 w 1721644"/>
                        <a:gd name="connsiteY12" fmla="*/ 1035844 h 1145381"/>
                        <a:gd name="connsiteX13" fmla="*/ 557213 w 1721644"/>
                        <a:gd name="connsiteY13" fmla="*/ 1050131 h 1145381"/>
                        <a:gd name="connsiteX14" fmla="*/ 597694 w 1721644"/>
                        <a:gd name="connsiteY14" fmla="*/ 1014412 h 1145381"/>
                        <a:gd name="connsiteX15" fmla="*/ 621507 w 1721644"/>
                        <a:gd name="connsiteY15" fmla="*/ 990600 h 1145381"/>
                        <a:gd name="connsiteX16" fmla="*/ 633413 w 1721644"/>
                        <a:gd name="connsiteY16" fmla="*/ 954881 h 1145381"/>
                        <a:gd name="connsiteX17" fmla="*/ 671513 w 1721644"/>
                        <a:gd name="connsiteY17" fmla="*/ 940594 h 1145381"/>
                        <a:gd name="connsiteX18" fmla="*/ 711994 w 1721644"/>
                        <a:gd name="connsiteY18" fmla="*/ 969169 h 1145381"/>
                        <a:gd name="connsiteX19" fmla="*/ 728663 w 1721644"/>
                        <a:gd name="connsiteY19" fmla="*/ 1004887 h 1145381"/>
                        <a:gd name="connsiteX20" fmla="*/ 762000 w 1721644"/>
                        <a:gd name="connsiteY20" fmla="*/ 1038225 h 1145381"/>
                        <a:gd name="connsiteX21" fmla="*/ 835819 w 1721644"/>
                        <a:gd name="connsiteY21" fmla="*/ 1035844 h 1145381"/>
                        <a:gd name="connsiteX22" fmla="*/ 871538 w 1721644"/>
                        <a:gd name="connsiteY22" fmla="*/ 1071562 h 1145381"/>
                        <a:gd name="connsiteX23" fmla="*/ 883444 w 1721644"/>
                        <a:gd name="connsiteY23" fmla="*/ 1131094 h 1145381"/>
                        <a:gd name="connsiteX24" fmla="*/ 916782 w 1721644"/>
                        <a:gd name="connsiteY24" fmla="*/ 1116806 h 1145381"/>
                        <a:gd name="connsiteX25" fmla="*/ 990600 w 1721644"/>
                        <a:gd name="connsiteY25" fmla="*/ 1131094 h 1145381"/>
                        <a:gd name="connsiteX26" fmla="*/ 1047750 w 1721644"/>
                        <a:gd name="connsiteY26" fmla="*/ 1145381 h 1145381"/>
                        <a:gd name="connsiteX27" fmla="*/ 1095375 w 1721644"/>
                        <a:gd name="connsiteY27" fmla="*/ 1128712 h 1145381"/>
                        <a:gd name="connsiteX28" fmla="*/ 1114425 w 1721644"/>
                        <a:gd name="connsiteY28" fmla="*/ 1045369 h 1145381"/>
                        <a:gd name="connsiteX29" fmla="*/ 1254919 w 1721644"/>
                        <a:gd name="connsiteY29" fmla="*/ 940594 h 1145381"/>
                        <a:gd name="connsiteX30" fmla="*/ 1295400 w 1721644"/>
                        <a:gd name="connsiteY30" fmla="*/ 931069 h 1145381"/>
                        <a:gd name="connsiteX31" fmla="*/ 1307307 w 1721644"/>
                        <a:gd name="connsiteY31" fmla="*/ 983456 h 1145381"/>
                        <a:gd name="connsiteX32" fmla="*/ 1295400 w 1721644"/>
                        <a:gd name="connsiteY32" fmla="*/ 1021556 h 1145381"/>
                        <a:gd name="connsiteX33" fmla="*/ 1376363 w 1721644"/>
                        <a:gd name="connsiteY33" fmla="*/ 1040606 h 1145381"/>
                        <a:gd name="connsiteX34" fmla="*/ 1471613 w 1721644"/>
                        <a:gd name="connsiteY34" fmla="*/ 942975 h 1145381"/>
                        <a:gd name="connsiteX35" fmla="*/ 1497807 w 1721644"/>
                        <a:gd name="connsiteY35" fmla="*/ 890587 h 1145381"/>
                        <a:gd name="connsiteX36" fmla="*/ 1566863 w 1721644"/>
                        <a:gd name="connsiteY36" fmla="*/ 854869 h 1145381"/>
                        <a:gd name="connsiteX37" fmla="*/ 1616869 w 1721644"/>
                        <a:gd name="connsiteY37" fmla="*/ 800100 h 1145381"/>
                        <a:gd name="connsiteX38" fmla="*/ 1676400 w 1721644"/>
                        <a:gd name="connsiteY38" fmla="*/ 788194 h 1145381"/>
                        <a:gd name="connsiteX39" fmla="*/ 1712119 w 1721644"/>
                        <a:gd name="connsiteY39" fmla="*/ 762000 h 1145381"/>
                        <a:gd name="connsiteX40" fmla="*/ 1714500 w 1721644"/>
                        <a:gd name="connsiteY40" fmla="*/ 740569 h 1145381"/>
                        <a:gd name="connsiteX41" fmla="*/ 1678782 w 1721644"/>
                        <a:gd name="connsiteY41" fmla="*/ 711994 h 1145381"/>
                        <a:gd name="connsiteX42" fmla="*/ 1721644 w 1721644"/>
                        <a:gd name="connsiteY42" fmla="*/ 642937 h 1145381"/>
                        <a:gd name="connsiteX43" fmla="*/ 1700213 w 1721644"/>
                        <a:gd name="connsiteY43" fmla="*/ 585787 h 1145381"/>
                        <a:gd name="connsiteX44" fmla="*/ 1714500 w 1721644"/>
                        <a:gd name="connsiteY44" fmla="*/ 523875 h 1145381"/>
                        <a:gd name="connsiteX45" fmla="*/ 1721644 w 1721644"/>
                        <a:gd name="connsiteY45" fmla="*/ 473869 h 1145381"/>
                        <a:gd name="connsiteX46" fmla="*/ 1714500 w 1721644"/>
                        <a:gd name="connsiteY46" fmla="*/ 359569 h 1145381"/>
                        <a:gd name="connsiteX47" fmla="*/ 1702594 w 1721644"/>
                        <a:gd name="connsiteY47" fmla="*/ 314325 h 1145381"/>
                        <a:gd name="connsiteX48" fmla="*/ 1671638 w 1721644"/>
                        <a:gd name="connsiteY48" fmla="*/ 276225 h 1145381"/>
                        <a:gd name="connsiteX49" fmla="*/ 1626394 w 1721644"/>
                        <a:gd name="connsiteY49" fmla="*/ 273844 h 1145381"/>
                        <a:gd name="connsiteX50" fmla="*/ 1521619 w 1721644"/>
                        <a:gd name="connsiteY50" fmla="*/ 259556 h 1145381"/>
                        <a:gd name="connsiteX51" fmla="*/ 1488282 w 1721644"/>
                        <a:gd name="connsiteY51" fmla="*/ 250031 h 1145381"/>
                        <a:gd name="connsiteX52" fmla="*/ 1473994 w 1721644"/>
                        <a:gd name="connsiteY52" fmla="*/ 183356 h 1145381"/>
                        <a:gd name="connsiteX53" fmla="*/ 1388269 w 1721644"/>
                        <a:gd name="connsiteY53" fmla="*/ 207169 h 1145381"/>
                        <a:gd name="connsiteX54" fmla="*/ 1331119 w 1721644"/>
                        <a:gd name="connsiteY54" fmla="*/ 223837 h 1145381"/>
                        <a:gd name="connsiteX55" fmla="*/ 1295400 w 1721644"/>
                        <a:gd name="connsiteY55" fmla="*/ 202406 h 1145381"/>
                        <a:gd name="connsiteX56" fmla="*/ 1214438 w 1721644"/>
                        <a:gd name="connsiteY56" fmla="*/ 111919 h 1145381"/>
                        <a:gd name="connsiteX57" fmla="*/ 1164432 w 1721644"/>
                        <a:gd name="connsiteY57" fmla="*/ 121444 h 1145381"/>
                        <a:gd name="connsiteX58" fmla="*/ 1083469 w 1721644"/>
                        <a:gd name="connsiteY58" fmla="*/ 100012 h 1145381"/>
                        <a:gd name="connsiteX59" fmla="*/ 1050132 w 1721644"/>
                        <a:gd name="connsiteY59" fmla="*/ 83344 h 1145381"/>
                        <a:gd name="connsiteX60" fmla="*/ 995363 w 1721644"/>
                        <a:gd name="connsiteY60" fmla="*/ 135731 h 1145381"/>
                        <a:gd name="connsiteX61" fmla="*/ 966788 w 1721644"/>
                        <a:gd name="connsiteY61" fmla="*/ 107156 h 1145381"/>
                        <a:gd name="connsiteX62" fmla="*/ 940594 w 1721644"/>
                        <a:gd name="connsiteY62" fmla="*/ 76200 h 1145381"/>
                        <a:gd name="connsiteX63" fmla="*/ 895350 w 1721644"/>
                        <a:gd name="connsiteY63" fmla="*/ 59531 h 1145381"/>
                        <a:gd name="connsiteX64" fmla="*/ 897732 w 1721644"/>
                        <a:gd name="connsiteY64" fmla="*/ 14287 h 1145381"/>
                        <a:gd name="connsiteX65" fmla="*/ 862013 w 1721644"/>
                        <a:gd name="connsiteY65" fmla="*/ 0 h 1145381"/>
                        <a:gd name="connsiteX66" fmla="*/ 814388 w 1721644"/>
                        <a:gd name="connsiteY66" fmla="*/ 4762 h 1145381"/>
                        <a:gd name="connsiteX67" fmla="*/ 807244 w 1721644"/>
                        <a:gd name="connsiteY67" fmla="*/ 33337 h 1145381"/>
                        <a:gd name="connsiteX68" fmla="*/ 735807 w 1721644"/>
                        <a:gd name="connsiteY68" fmla="*/ 14287 h 1145381"/>
                        <a:gd name="connsiteX69" fmla="*/ 676275 w 1721644"/>
                        <a:gd name="connsiteY69" fmla="*/ 52387 h 1145381"/>
                        <a:gd name="connsiteX70" fmla="*/ 635794 w 1721644"/>
                        <a:gd name="connsiteY70" fmla="*/ 85725 h 1145381"/>
                        <a:gd name="connsiteX71" fmla="*/ 661988 w 1721644"/>
                        <a:gd name="connsiteY71" fmla="*/ 159544 h 1145381"/>
                        <a:gd name="connsiteX72" fmla="*/ 685800 w 1721644"/>
                        <a:gd name="connsiteY72" fmla="*/ 254794 h 1145381"/>
                        <a:gd name="connsiteX73" fmla="*/ 681038 w 1721644"/>
                        <a:gd name="connsiteY73" fmla="*/ 266700 h 1145381"/>
                        <a:gd name="connsiteX74" fmla="*/ 478632 w 1721644"/>
                        <a:gd name="connsiteY74" fmla="*/ 428625 h 1145381"/>
                        <a:gd name="connsiteX75" fmla="*/ 414338 w 1721644"/>
                        <a:gd name="connsiteY75" fmla="*/ 376237 h 1145381"/>
                        <a:gd name="connsiteX76" fmla="*/ 371475 w 1721644"/>
                        <a:gd name="connsiteY76" fmla="*/ 433387 h 1145381"/>
                        <a:gd name="connsiteX77" fmla="*/ 152400 w 1721644"/>
                        <a:gd name="connsiteY77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54769 w 1721644"/>
                        <a:gd name="connsiteY5" fmla="*/ 857250 h 1145381"/>
                        <a:gd name="connsiteX6" fmla="*/ 133350 w 1721644"/>
                        <a:gd name="connsiteY6" fmla="*/ 857250 h 1145381"/>
                        <a:gd name="connsiteX7" fmla="*/ 169070 w 1721644"/>
                        <a:gd name="connsiteY7" fmla="*/ 881062 h 1145381"/>
                        <a:gd name="connsiteX8" fmla="*/ 207169 w 1721644"/>
                        <a:gd name="connsiteY8" fmla="*/ 938212 h 1145381"/>
                        <a:gd name="connsiteX9" fmla="*/ 307182 w 1721644"/>
                        <a:gd name="connsiteY9" fmla="*/ 933450 h 1145381"/>
                        <a:gd name="connsiteX10" fmla="*/ 347663 w 1721644"/>
                        <a:gd name="connsiteY10" fmla="*/ 1000125 h 1145381"/>
                        <a:gd name="connsiteX11" fmla="*/ 438150 w 1721644"/>
                        <a:gd name="connsiteY11" fmla="*/ 1050131 h 1145381"/>
                        <a:gd name="connsiteX12" fmla="*/ 542925 w 1721644"/>
                        <a:gd name="connsiteY12" fmla="*/ 1035844 h 1145381"/>
                        <a:gd name="connsiteX13" fmla="*/ 557213 w 1721644"/>
                        <a:gd name="connsiteY13" fmla="*/ 1050131 h 1145381"/>
                        <a:gd name="connsiteX14" fmla="*/ 597694 w 1721644"/>
                        <a:gd name="connsiteY14" fmla="*/ 1014412 h 1145381"/>
                        <a:gd name="connsiteX15" fmla="*/ 621507 w 1721644"/>
                        <a:gd name="connsiteY15" fmla="*/ 990600 h 1145381"/>
                        <a:gd name="connsiteX16" fmla="*/ 633413 w 1721644"/>
                        <a:gd name="connsiteY16" fmla="*/ 954881 h 1145381"/>
                        <a:gd name="connsiteX17" fmla="*/ 671513 w 1721644"/>
                        <a:gd name="connsiteY17" fmla="*/ 940594 h 1145381"/>
                        <a:gd name="connsiteX18" fmla="*/ 711994 w 1721644"/>
                        <a:gd name="connsiteY18" fmla="*/ 969169 h 1145381"/>
                        <a:gd name="connsiteX19" fmla="*/ 728663 w 1721644"/>
                        <a:gd name="connsiteY19" fmla="*/ 1004887 h 1145381"/>
                        <a:gd name="connsiteX20" fmla="*/ 762000 w 1721644"/>
                        <a:gd name="connsiteY20" fmla="*/ 1038225 h 1145381"/>
                        <a:gd name="connsiteX21" fmla="*/ 835819 w 1721644"/>
                        <a:gd name="connsiteY21" fmla="*/ 1035844 h 1145381"/>
                        <a:gd name="connsiteX22" fmla="*/ 871538 w 1721644"/>
                        <a:gd name="connsiteY22" fmla="*/ 1071562 h 1145381"/>
                        <a:gd name="connsiteX23" fmla="*/ 883444 w 1721644"/>
                        <a:gd name="connsiteY23" fmla="*/ 1131094 h 1145381"/>
                        <a:gd name="connsiteX24" fmla="*/ 916782 w 1721644"/>
                        <a:gd name="connsiteY24" fmla="*/ 1116806 h 1145381"/>
                        <a:gd name="connsiteX25" fmla="*/ 990600 w 1721644"/>
                        <a:gd name="connsiteY25" fmla="*/ 1131094 h 1145381"/>
                        <a:gd name="connsiteX26" fmla="*/ 1047750 w 1721644"/>
                        <a:gd name="connsiteY26" fmla="*/ 1145381 h 1145381"/>
                        <a:gd name="connsiteX27" fmla="*/ 1095375 w 1721644"/>
                        <a:gd name="connsiteY27" fmla="*/ 1128712 h 1145381"/>
                        <a:gd name="connsiteX28" fmla="*/ 1114425 w 1721644"/>
                        <a:gd name="connsiteY28" fmla="*/ 1045369 h 1145381"/>
                        <a:gd name="connsiteX29" fmla="*/ 1254919 w 1721644"/>
                        <a:gd name="connsiteY29" fmla="*/ 940594 h 1145381"/>
                        <a:gd name="connsiteX30" fmla="*/ 1295400 w 1721644"/>
                        <a:gd name="connsiteY30" fmla="*/ 931069 h 1145381"/>
                        <a:gd name="connsiteX31" fmla="*/ 1307307 w 1721644"/>
                        <a:gd name="connsiteY31" fmla="*/ 983456 h 1145381"/>
                        <a:gd name="connsiteX32" fmla="*/ 1295400 w 1721644"/>
                        <a:gd name="connsiteY32" fmla="*/ 1021556 h 1145381"/>
                        <a:gd name="connsiteX33" fmla="*/ 1376363 w 1721644"/>
                        <a:gd name="connsiteY33" fmla="*/ 1040606 h 1145381"/>
                        <a:gd name="connsiteX34" fmla="*/ 1471613 w 1721644"/>
                        <a:gd name="connsiteY34" fmla="*/ 942975 h 1145381"/>
                        <a:gd name="connsiteX35" fmla="*/ 1497807 w 1721644"/>
                        <a:gd name="connsiteY35" fmla="*/ 890587 h 1145381"/>
                        <a:gd name="connsiteX36" fmla="*/ 1566863 w 1721644"/>
                        <a:gd name="connsiteY36" fmla="*/ 854869 h 1145381"/>
                        <a:gd name="connsiteX37" fmla="*/ 1616869 w 1721644"/>
                        <a:gd name="connsiteY37" fmla="*/ 800100 h 1145381"/>
                        <a:gd name="connsiteX38" fmla="*/ 1676400 w 1721644"/>
                        <a:gd name="connsiteY38" fmla="*/ 788194 h 1145381"/>
                        <a:gd name="connsiteX39" fmla="*/ 1712119 w 1721644"/>
                        <a:gd name="connsiteY39" fmla="*/ 762000 h 1145381"/>
                        <a:gd name="connsiteX40" fmla="*/ 1714500 w 1721644"/>
                        <a:gd name="connsiteY40" fmla="*/ 740569 h 1145381"/>
                        <a:gd name="connsiteX41" fmla="*/ 1678782 w 1721644"/>
                        <a:gd name="connsiteY41" fmla="*/ 711994 h 1145381"/>
                        <a:gd name="connsiteX42" fmla="*/ 1721644 w 1721644"/>
                        <a:gd name="connsiteY42" fmla="*/ 642937 h 1145381"/>
                        <a:gd name="connsiteX43" fmla="*/ 1700213 w 1721644"/>
                        <a:gd name="connsiteY43" fmla="*/ 585787 h 1145381"/>
                        <a:gd name="connsiteX44" fmla="*/ 1714500 w 1721644"/>
                        <a:gd name="connsiteY44" fmla="*/ 523875 h 1145381"/>
                        <a:gd name="connsiteX45" fmla="*/ 1721644 w 1721644"/>
                        <a:gd name="connsiteY45" fmla="*/ 473869 h 1145381"/>
                        <a:gd name="connsiteX46" fmla="*/ 1714500 w 1721644"/>
                        <a:gd name="connsiteY46" fmla="*/ 359569 h 1145381"/>
                        <a:gd name="connsiteX47" fmla="*/ 1702594 w 1721644"/>
                        <a:gd name="connsiteY47" fmla="*/ 314325 h 1145381"/>
                        <a:gd name="connsiteX48" fmla="*/ 1671638 w 1721644"/>
                        <a:gd name="connsiteY48" fmla="*/ 276225 h 1145381"/>
                        <a:gd name="connsiteX49" fmla="*/ 1626394 w 1721644"/>
                        <a:gd name="connsiteY49" fmla="*/ 273844 h 1145381"/>
                        <a:gd name="connsiteX50" fmla="*/ 1521619 w 1721644"/>
                        <a:gd name="connsiteY50" fmla="*/ 259556 h 1145381"/>
                        <a:gd name="connsiteX51" fmla="*/ 1488282 w 1721644"/>
                        <a:gd name="connsiteY51" fmla="*/ 250031 h 1145381"/>
                        <a:gd name="connsiteX52" fmla="*/ 1473994 w 1721644"/>
                        <a:gd name="connsiteY52" fmla="*/ 183356 h 1145381"/>
                        <a:gd name="connsiteX53" fmla="*/ 1388269 w 1721644"/>
                        <a:gd name="connsiteY53" fmla="*/ 207169 h 1145381"/>
                        <a:gd name="connsiteX54" fmla="*/ 1331119 w 1721644"/>
                        <a:gd name="connsiteY54" fmla="*/ 223837 h 1145381"/>
                        <a:gd name="connsiteX55" fmla="*/ 1295400 w 1721644"/>
                        <a:gd name="connsiteY55" fmla="*/ 202406 h 1145381"/>
                        <a:gd name="connsiteX56" fmla="*/ 1214438 w 1721644"/>
                        <a:gd name="connsiteY56" fmla="*/ 111919 h 1145381"/>
                        <a:gd name="connsiteX57" fmla="*/ 1164432 w 1721644"/>
                        <a:gd name="connsiteY57" fmla="*/ 121444 h 1145381"/>
                        <a:gd name="connsiteX58" fmla="*/ 1083469 w 1721644"/>
                        <a:gd name="connsiteY58" fmla="*/ 100012 h 1145381"/>
                        <a:gd name="connsiteX59" fmla="*/ 1050132 w 1721644"/>
                        <a:gd name="connsiteY59" fmla="*/ 83344 h 1145381"/>
                        <a:gd name="connsiteX60" fmla="*/ 995363 w 1721644"/>
                        <a:gd name="connsiteY60" fmla="*/ 135731 h 1145381"/>
                        <a:gd name="connsiteX61" fmla="*/ 966788 w 1721644"/>
                        <a:gd name="connsiteY61" fmla="*/ 107156 h 1145381"/>
                        <a:gd name="connsiteX62" fmla="*/ 940594 w 1721644"/>
                        <a:gd name="connsiteY62" fmla="*/ 76200 h 1145381"/>
                        <a:gd name="connsiteX63" fmla="*/ 895350 w 1721644"/>
                        <a:gd name="connsiteY63" fmla="*/ 59531 h 1145381"/>
                        <a:gd name="connsiteX64" fmla="*/ 897732 w 1721644"/>
                        <a:gd name="connsiteY64" fmla="*/ 14287 h 1145381"/>
                        <a:gd name="connsiteX65" fmla="*/ 862013 w 1721644"/>
                        <a:gd name="connsiteY65" fmla="*/ 0 h 1145381"/>
                        <a:gd name="connsiteX66" fmla="*/ 814388 w 1721644"/>
                        <a:gd name="connsiteY66" fmla="*/ 4762 h 1145381"/>
                        <a:gd name="connsiteX67" fmla="*/ 800100 w 1721644"/>
                        <a:gd name="connsiteY67" fmla="*/ 23812 h 1145381"/>
                        <a:gd name="connsiteX68" fmla="*/ 735807 w 1721644"/>
                        <a:gd name="connsiteY68" fmla="*/ 14287 h 1145381"/>
                        <a:gd name="connsiteX69" fmla="*/ 676275 w 1721644"/>
                        <a:gd name="connsiteY69" fmla="*/ 52387 h 1145381"/>
                        <a:gd name="connsiteX70" fmla="*/ 635794 w 1721644"/>
                        <a:gd name="connsiteY70" fmla="*/ 85725 h 1145381"/>
                        <a:gd name="connsiteX71" fmla="*/ 661988 w 1721644"/>
                        <a:gd name="connsiteY71" fmla="*/ 159544 h 1145381"/>
                        <a:gd name="connsiteX72" fmla="*/ 685800 w 1721644"/>
                        <a:gd name="connsiteY72" fmla="*/ 254794 h 1145381"/>
                        <a:gd name="connsiteX73" fmla="*/ 681038 w 1721644"/>
                        <a:gd name="connsiteY73" fmla="*/ 266700 h 1145381"/>
                        <a:gd name="connsiteX74" fmla="*/ 478632 w 1721644"/>
                        <a:gd name="connsiteY74" fmla="*/ 428625 h 1145381"/>
                        <a:gd name="connsiteX75" fmla="*/ 414338 w 1721644"/>
                        <a:gd name="connsiteY75" fmla="*/ 376237 h 1145381"/>
                        <a:gd name="connsiteX76" fmla="*/ 371475 w 1721644"/>
                        <a:gd name="connsiteY76" fmla="*/ 433387 h 1145381"/>
                        <a:gd name="connsiteX77" fmla="*/ 152400 w 1721644"/>
                        <a:gd name="connsiteY77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52388 w 1721644"/>
                        <a:gd name="connsiteY5" fmla="*/ 757237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47663 w 1721644"/>
                        <a:gd name="connsiteY11" fmla="*/ 1000125 h 1145381"/>
                        <a:gd name="connsiteX12" fmla="*/ 438150 w 1721644"/>
                        <a:gd name="connsiteY12" fmla="*/ 1050131 h 1145381"/>
                        <a:gd name="connsiteX13" fmla="*/ 542925 w 1721644"/>
                        <a:gd name="connsiteY13" fmla="*/ 1035844 h 1145381"/>
                        <a:gd name="connsiteX14" fmla="*/ 557213 w 1721644"/>
                        <a:gd name="connsiteY14" fmla="*/ 1050131 h 1145381"/>
                        <a:gd name="connsiteX15" fmla="*/ 597694 w 1721644"/>
                        <a:gd name="connsiteY15" fmla="*/ 1014412 h 1145381"/>
                        <a:gd name="connsiteX16" fmla="*/ 621507 w 1721644"/>
                        <a:gd name="connsiteY16" fmla="*/ 990600 h 1145381"/>
                        <a:gd name="connsiteX17" fmla="*/ 633413 w 1721644"/>
                        <a:gd name="connsiteY17" fmla="*/ 954881 h 1145381"/>
                        <a:gd name="connsiteX18" fmla="*/ 671513 w 1721644"/>
                        <a:gd name="connsiteY18" fmla="*/ 940594 h 1145381"/>
                        <a:gd name="connsiteX19" fmla="*/ 711994 w 1721644"/>
                        <a:gd name="connsiteY19" fmla="*/ 969169 h 1145381"/>
                        <a:gd name="connsiteX20" fmla="*/ 728663 w 1721644"/>
                        <a:gd name="connsiteY20" fmla="*/ 1004887 h 1145381"/>
                        <a:gd name="connsiteX21" fmla="*/ 762000 w 1721644"/>
                        <a:gd name="connsiteY21" fmla="*/ 1038225 h 1145381"/>
                        <a:gd name="connsiteX22" fmla="*/ 835819 w 1721644"/>
                        <a:gd name="connsiteY22" fmla="*/ 1035844 h 1145381"/>
                        <a:gd name="connsiteX23" fmla="*/ 871538 w 1721644"/>
                        <a:gd name="connsiteY23" fmla="*/ 1071562 h 1145381"/>
                        <a:gd name="connsiteX24" fmla="*/ 883444 w 1721644"/>
                        <a:gd name="connsiteY24" fmla="*/ 1131094 h 1145381"/>
                        <a:gd name="connsiteX25" fmla="*/ 916782 w 1721644"/>
                        <a:gd name="connsiteY25" fmla="*/ 1116806 h 1145381"/>
                        <a:gd name="connsiteX26" fmla="*/ 990600 w 1721644"/>
                        <a:gd name="connsiteY26" fmla="*/ 1131094 h 1145381"/>
                        <a:gd name="connsiteX27" fmla="*/ 1047750 w 1721644"/>
                        <a:gd name="connsiteY27" fmla="*/ 1145381 h 1145381"/>
                        <a:gd name="connsiteX28" fmla="*/ 1095375 w 1721644"/>
                        <a:gd name="connsiteY28" fmla="*/ 1128712 h 1145381"/>
                        <a:gd name="connsiteX29" fmla="*/ 1114425 w 1721644"/>
                        <a:gd name="connsiteY29" fmla="*/ 1045369 h 1145381"/>
                        <a:gd name="connsiteX30" fmla="*/ 1254919 w 1721644"/>
                        <a:gd name="connsiteY30" fmla="*/ 940594 h 1145381"/>
                        <a:gd name="connsiteX31" fmla="*/ 1295400 w 1721644"/>
                        <a:gd name="connsiteY31" fmla="*/ 931069 h 1145381"/>
                        <a:gd name="connsiteX32" fmla="*/ 1307307 w 1721644"/>
                        <a:gd name="connsiteY32" fmla="*/ 983456 h 1145381"/>
                        <a:gd name="connsiteX33" fmla="*/ 1295400 w 1721644"/>
                        <a:gd name="connsiteY33" fmla="*/ 1021556 h 1145381"/>
                        <a:gd name="connsiteX34" fmla="*/ 1376363 w 1721644"/>
                        <a:gd name="connsiteY34" fmla="*/ 1040606 h 1145381"/>
                        <a:gd name="connsiteX35" fmla="*/ 1471613 w 1721644"/>
                        <a:gd name="connsiteY35" fmla="*/ 942975 h 1145381"/>
                        <a:gd name="connsiteX36" fmla="*/ 1497807 w 1721644"/>
                        <a:gd name="connsiteY36" fmla="*/ 890587 h 1145381"/>
                        <a:gd name="connsiteX37" fmla="*/ 1566863 w 1721644"/>
                        <a:gd name="connsiteY37" fmla="*/ 854869 h 1145381"/>
                        <a:gd name="connsiteX38" fmla="*/ 1616869 w 1721644"/>
                        <a:gd name="connsiteY38" fmla="*/ 800100 h 1145381"/>
                        <a:gd name="connsiteX39" fmla="*/ 1676400 w 1721644"/>
                        <a:gd name="connsiteY39" fmla="*/ 788194 h 1145381"/>
                        <a:gd name="connsiteX40" fmla="*/ 1712119 w 1721644"/>
                        <a:gd name="connsiteY40" fmla="*/ 762000 h 1145381"/>
                        <a:gd name="connsiteX41" fmla="*/ 1714500 w 1721644"/>
                        <a:gd name="connsiteY41" fmla="*/ 740569 h 1145381"/>
                        <a:gd name="connsiteX42" fmla="*/ 1678782 w 1721644"/>
                        <a:gd name="connsiteY42" fmla="*/ 711994 h 1145381"/>
                        <a:gd name="connsiteX43" fmla="*/ 1721644 w 1721644"/>
                        <a:gd name="connsiteY43" fmla="*/ 642937 h 1145381"/>
                        <a:gd name="connsiteX44" fmla="*/ 1700213 w 1721644"/>
                        <a:gd name="connsiteY44" fmla="*/ 585787 h 1145381"/>
                        <a:gd name="connsiteX45" fmla="*/ 1714500 w 1721644"/>
                        <a:gd name="connsiteY45" fmla="*/ 523875 h 1145381"/>
                        <a:gd name="connsiteX46" fmla="*/ 1721644 w 1721644"/>
                        <a:gd name="connsiteY46" fmla="*/ 473869 h 1145381"/>
                        <a:gd name="connsiteX47" fmla="*/ 1714500 w 1721644"/>
                        <a:gd name="connsiteY47" fmla="*/ 359569 h 1145381"/>
                        <a:gd name="connsiteX48" fmla="*/ 1702594 w 1721644"/>
                        <a:gd name="connsiteY48" fmla="*/ 314325 h 1145381"/>
                        <a:gd name="connsiteX49" fmla="*/ 1671638 w 1721644"/>
                        <a:gd name="connsiteY49" fmla="*/ 276225 h 1145381"/>
                        <a:gd name="connsiteX50" fmla="*/ 1626394 w 1721644"/>
                        <a:gd name="connsiteY50" fmla="*/ 273844 h 1145381"/>
                        <a:gd name="connsiteX51" fmla="*/ 1521619 w 1721644"/>
                        <a:gd name="connsiteY51" fmla="*/ 259556 h 1145381"/>
                        <a:gd name="connsiteX52" fmla="*/ 1488282 w 1721644"/>
                        <a:gd name="connsiteY52" fmla="*/ 250031 h 1145381"/>
                        <a:gd name="connsiteX53" fmla="*/ 1473994 w 1721644"/>
                        <a:gd name="connsiteY53" fmla="*/ 183356 h 1145381"/>
                        <a:gd name="connsiteX54" fmla="*/ 1388269 w 1721644"/>
                        <a:gd name="connsiteY54" fmla="*/ 207169 h 1145381"/>
                        <a:gd name="connsiteX55" fmla="*/ 1331119 w 1721644"/>
                        <a:gd name="connsiteY55" fmla="*/ 223837 h 1145381"/>
                        <a:gd name="connsiteX56" fmla="*/ 1295400 w 1721644"/>
                        <a:gd name="connsiteY56" fmla="*/ 202406 h 1145381"/>
                        <a:gd name="connsiteX57" fmla="*/ 1214438 w 1721644"/>
                        <a:gd name="connsiteY57" fmla="*/ 111919 h 1145381"/>
                        <a:gd name="connsiteX58" fmla="*/ 1164432 w 1721644"/>
                        <a:gd name="connsiteY58" fmla="*/ 121444 h 1145381"/>
                        <a:gd name="connsiteX59" fmla="*/ 1083469 w 1721644"/>
                        <a:gd name="connsiteY59" fmla="*/ 100012 h 1145381"/>
                        <a:gd name="connsiteX60" fmla="*/ 1050132 w 1721644"/>
                        <a:gd name="connsiteY60" fmla="*/ 83344 h 1145381"/>
                        <a:gd name="connsiteX61" fmla="*/ 995363 w 1721644"/>
                        <a:gd name="connsiteY61" fmla="*/ 135731 h 1145381"/>
                        <a:gd name="connsiteX62" fmla="*/ 966788 w 1721644"/>
                        <a:gd name="connsiteY62" fmla="*/ 107156 h 1145381"/>
                        <a:gd name="connsiteX63" fmla="*/ 940594 w 1721644"/>
                        <a:gd name="connsiteY63" fmla="*/ 76200 h 1145381"/>
                        <a:gd name="connsiteX64" fmla="*/ 895350 w 1721644"/>
                        <a:gd name="connsiteY64" fmla="*/ 59531 h 1145381"/>
                        <a:gd name="connsiteX65" fmla="*/ 897732 w 1721644"/>
                        <a:gd name="connsiteY65" fmla="*/ 14287 h 1145381"/>
                        <a:gd name="connsiteX66" fmla="*/ 862013 w 1721644"/>
                        <a:gd name="connsiteY66" fmla="*/ 0 h 1145381"/>
                        <a:gd name="connsiteX67" fmla="*/ 814388 w 1721644"/>
                        <a:gd name="connsiteY67" fmla="*/ 4762 h 1145381"/>
                        <a:gd name="connsiteX68" fmla="*/ 800100 w 1721644"/>
                        <a:gd name="connsiteY68" fmla="*/ 23812 h 1145381"/>
                        <a:gd name="connsiteX69" fmla="*/ 735807 w 1721644"/>
                        <a:gd name="connsiteY69" fmla="*/ 14287 h 1145381"/>
                        <a:gd name="connsiteX70" fmla="*/ 676275 w 1721644"/>
                        <a:gd name="connsiteY70" fmla="*/ 52387 h 1145381"/>
                        <a:gd name="connsiteX71" fmla="*/ 635794 w 1721644"/>
                        <a:gd name="connsiteY71" fmla="*/ 85725 h 1145381"/>
                        <a:gd name="connsiteX72" fmla="*/ 661988 w 1721644"/>
                        <a:gd name="connsiteY72" fmla="*/ 159544 h 1145381"/>
                        <a:gd name="connsiteX73" fmla="*/ 685800 w 1721644"/>
                        <a:gd name="connsiteY73" fmla="*/ 254794 h 1145381"/>
                        <a:gd name="connsiteX74" fmla="*/ 681038 w 1721644"/>
                        <a:gd name="connsiteY74" fmla="*/ 266700 h 1145381"/>
                        <a:gd name="connsiteX75" fmla="*/ 478632 w 1721644"/>
                        <a:gd name="connsiteY75" fmla="*/ 428625 h 1145381"/>
                        <a:gd name="connsiteX76" fmla="*/ 414338 w 1721644"/>
                        <a:gd name="connsiteY76" fmla="*/ 376237 h 1145381"/>
                        <a:gd name="connsiteX77" fmla="*/ 371475 w 1721644"/>
                        <a:gd name="connsiteY77" fmla="*/ 433387 h 1145381"/>
                        <a:gd name="connsiteX78" fmla="*/ 152400 w 1721644"/>
                        <a:gd name="connsiteY78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47663 w 1721644"/>
                        <a:gd name="connsiteY11" fmla="*/ 1000125 h 1145381"/>
                        <a:gd name="connsiteX12" fmla="*/ 438150 w 1721644"/>
                        <a:gd name="connsiteY12" fmla="*/ 1050131 h 1145381"/>
                        <a:gd name="connsiteX13" fmla="*/ 542925 w 1721644"/>
                        <a:gd name="connsiteY13" fmla="*/ 1035844 h 1145381"/>
                        <a:gd name="connsiteX14" fmla="*/ 557213 w 1721644"/>
                        <a:gd name="connsiteY14" fmla="*/ 1050131 h 1145381"/>
                        <a:gd name="connsiteX15" fmla="*/ 597694 w 1721644"/>
                        <a:gd name="connsiteY15" fmla="*/ 1014412 h 1145381"/>
                        <a:gd name="connsiteX16" fmla="*/ 621507 w 1721644"/>
                        <a:gd name="connsiteY16" fmla="*/ 990600 h 1145381"/>
                        <a:gd name="connsiteX17" fmla="*/ 633413 w 1721644"/>
                        <a:gd name="connsiteY17" fmla="*/ 954881 h 1145381"/>
                        <a:gd name="connsiteX18" fmla="*/ 671513 w 1721644"/>
                        <a:gd name="connsiteY18" fmla="*/ 940594 h 1145381"/>
                        <a:gd name="connsiteX19" fmla="*/ 711994 w 1721644"/>
                        <a:gd name="connsiteY19" fmla="*/ 969169 h 1145381"/>
                        <a:gd name="connsiteX20" fmla="*/ 728663 w 1721644"/>
                        <a:gd name="connsiteY20" fmla="*/ 1004887 h 1145381"/>
                        <a:gd name="connsiteX21" fmla="*/ 762000 w 1721644"/>
                        <a:gd name="connsiteY21" fmla="*/ 1038225 h 1145381"/>
                        <a:gd name="connsiteX22" fmla="*/ 835819 w 1721644"/>
                        <a:gd name="connsiteY22" fmla="*/ 1035844 h 1145381"/>
                        <a:gd name="connsiteX23" fmla="*/ 871538 w 1721644"/>
                        <a:gd name="connsiteY23" fmla="*/ 1071562 h 1145381"/>
                        <a:gd name="connsiteX24" fmla="*/ 883444 w 1721644"/>
                        <a:gd name="connsiteY24" fmla="*/ 1131094 h 1145381"/>
                        <a:gd name="connsiteX25" fmla="*/ 916782 w 1721644"/>
                        <a:gd name="connsiteY25" fmla="*/ 1116806 h 1145381"/>
                        <a:gd name="connsiteX26" fmla="*/ 990600 w 1721644"/>
                        <a:gd name="connsiteY26" fmla="*/ 1131094 h 1145381"/>
                        <a:gd name="connsiteX27" fmla="*/ 1047750 w 1721644"/>
                        <a:gd name="connsiteY27" fmla="*/ 1145381 h 1145381"/>
                        <a:gd name="connsiteX28" fmla="*/ 1095375 w 1721644"/>
                        <a:gd name="connsiteY28" fmla="*/ 1128712 h 1145381"/>
                        <a:gd name="connsiteX29" fmla="*/ 1114425 w 1721644"/>
                        <a:gd name="connsiteY29" fmla="*/ 1045369 h 1145381"/>
                        <a:gd name="connsiteX30" fmla="*/ 1254919 w 1721644"/>
                        <a:gd name="connsiteY30" fmla="*/ 940594 h 1145381"/>
                        <a:gd name="connsiteX31" fmla="*/ 1295400 w 1721644"/>
                        <a:gd name="connsiteY31" fmla="*/ 931069 h 1145381"/>
                        <a:gd name="connsiteX32" fmla="*/ 1307307 w 1721644"/>
                        <a:gd name="connsiteY32" fmla="*/ 983456 h 1145381"/>
                        <a:gd name="connsiteX33" fmla="*/ 1295400 w 1721644"/>
                        <a:gd name="connsiteY33" fmla="*/ 1021556 h 1145381"/>
                        <a:gd name="connsiteX34" fmla="*/ 1376363 w 1721644"/>
                        <a:gd name="connsiteY34" fmla="*/ 1040606 h 1145381"/>
                        <a:gd name="connsiteX35" fmla="*/ 1471613 w 1721644"/>
                        <a:gd name="connsiteY35" fmla="*/ 942975 h 1145381"/>
                        <a:gd name="connsiteX36" fmla="*/ 1497807 w 1721644"/>
                        <a:gd name="connsiteY36" fmla="*/ 890587 h 1145381"/>
                        <a:gd name="connsiteX37" fmla="*/ 1566863 w 1721644"/>
                        <a:gd name="connsiteY37" fmla="*/ 854869 h 1145381"/>
                        <a:gd name="connsiteX38" fmla="*/ 1616869 w 1721644"/>
                        <a:gd name="connsiteY38" fmla="*/ 800100 h 1145381"/>
                        <a:gd name="connsiteX39" fmla="*/ 1676400 w 1721644"/>
                        <a:gd name="connsiteY39" fmla="*/ 788194 h 1145381"/>
                        <a:gd name="connsiteX40" fmla="*/ 1712119 w 1721644"/>
                        <a:gd name="connsiteY40" fmla="*/ 762000 h 1145381"/>
                        <a:gd name="connsiteX41" fmla="*/ 1714500 w 1721644"/>
                        <a:gd name="connsiteY41" fmla="*/ 740569 h 1145381"/>
                        <a:gd name="connsiteX42" fmla="*/ 1678782 w 1721644"/>
                        <a:gd name="connsiteY42" fmla="*/ 711994 h 1145381"/>
                        <a:gd name="connsiteX43" fmla="*/ 1721644 w 1721644"/>
                        <a:gd name="connsiteY43" fmla="*/ 642937 h 1145381"/>
                        <a:gd name="connsiteX44" fmla="*/ 1700213 w 1721644"/>
                        <a:gd name="connsiteY44" fmla="*/ 585787 h 1145381"/>
                        <a:gd name="connsiteX45" fmla="*/ 1714500 w 1721644"/>
                        <a:gd name="connsiteY45" fmla="*/ 523875 h 1145381"/>
                        <a:gd name="connsiteX46" fmla="*/ 1721644 w 1721644"/>
                        <a:gd name="connsiteY46" fmla="*/ 473869 h 1145381"/>
                        <a:gd name="connsiteX47" fmla="*/ 1714500 w 1721644"/>
                        <a:gd name="connsiteY47" fmla="*/ 359569 h 1145381"/>
                        <a:gd name="connsiteX48" fmla="*/ 1702594 w 1721644"/>
                        <a:gd name="connsiteY48" fmla="*/ 314325 h 1145381"/>
                        <a:gd name="connsiteX49" fmla="*/ 1671638 w 1721644"/>
                        <a:gd name="connsiteY49" fmla="*/ 276225 h 1145381"/>
                        <a:gd name="connsiteX50" fmla="*/ 1626394 w 1721644"/>
                        <a:gd name="connsiteY50" fmla="*/ 273844 h 1145381"/>
                        <a:gd name="connsiteX51" fmla="*/ 1521619 w 1721644"/>
                        <a:gd name="connsiteY51" fmla="*/ 259556 h 1145381"/>
                        <a:gd name="connsiteX52" fmla="*/ 1488282 w 1721644"/>
                        <a:gd name="connsiteY52" fmla="*/ 250031 h 1145381"/>
                        <a:gd name="connsiteX53" fmla="*/ 1473994 w 1721644"/>
                        <a:gd name="connsiteY53" fmla="*/ 183356 h 1145381"/>
                        <a:gd name="connsiteX54" fmla="*/ 1388269 w 1721644"/>
                        <a:gd name="connsiteY54" fmla="*/ 207169 h 1145381"/>
                        <a:gd name="connsiteX55" fmla="*/ 1331119 w 1721644"/>
                        <a:gd name="connsiteY55" fmla="*/ 223837 h 1145381"/>
                        <a:gd name="connsiteX56" fmla="*/ 1295400 w 1721644"/>
                        <a:gd name="connsiteY56" fmla="*/ 202406 h 1145381"/>
                        <a:gd name="connsiteX57" fmla="*/ 1214438 w 1721644"/>
                        <a:gd name="connsiteY57" fmla="*/ 111919 h 1145381"/>
                        <a:gd name="connsiteX58" fmla="*/ 1164432 w 1721644"/>
                        <a:gd name="connsiteY58" fmla="*/ 121444 h 1145381"/>
                        <a:gd name="connsiteX59" fmla="*/ 1083469 w 1721644"/>
                        <a:gd name="connsiteY59" fmla="*/ 100012 h 1145381"/>
                        <a:gd name="connsiteX60" fmla="*/ 1050132 w 1721644"/>
                        <a:gd name="connsiteY60" fmla="*/ 83344 h 1145381"/>
                        <a:gd name="connsiteX61" fmla="*/ 995363 w 1721644"/>
                        <a:gd name="connsiteY61" fmla="*/ 135731 h 1145381"/>
                        <a:gd name="connsiteX62" fmla="*/ 966788 w 1721644"/>
                        <a:gd name="connsiteY62" fmla="*/ 107156 h 1145381"/>
                        <a:gd name="connsiteX63" fmla="*/ 940594 w 1721644"/>
                        <a:gd name="connsiteY63" fmla="*/ 76200 h 1145381"/>
                        <a:gd name="connsiteX64" fmla="*/ 895350 w 1721644"/>
                        <a:gd name="connsiteY64" fmla="*/ 59531 h 1145381"/>
                        <a:gd name="connsiteX65" fmla="*/ 897732 w 1721644"/>
                        <a:gd name="connsiteY65" fmla="*/ 14287 h 1145381"/>
                        <a:gd name="connsiteX66" fmla="*/ 862013 w 1721644"/>
                        <a:gd name="connsiteY66" fmla="*/ 0 h 1145381"/>
                        <a:gd name="connsiteX67" fmla="*/ 814388 w 1721644"/>
                        <a:gd name="connsiteY67" fmla="*/ 4762 h 1145381"/>
                        <a:gd name="connsiteX68" fmla="*/ 800100 w 1721644"/>
                        <a:gd name="connsiteY68" fmla="*/ 23812 h 1145381"/>
                        <a:gd name="connsiteX69" fmla="*/ 735807 w 1721644"/>
                        <a:gd name="connsiteY69" fmla="*/ 14287 h 1145381"/>
                        <a:gd name="connsiteX70" fmla="*/ 676275 w 1721644"/>
                        <a:gd name="connsiteY70" fmla="*/ 52387 h 1145381"/>
                        <a:gd name="connsiteX71" fmla="*/ 635794 w 1721644"/>
                        <a:gd name="connsiteY71" fmla="*/ 85725 h 1145381"/>
                        <a:gd name="connsiteX72" fmla="*/ 661988 w 1721644"/>
                        <a:gd name="connsiteY72" fmla="*/ 159544 h 1145381"/>
                        <a:gd name="connsiteX73" fmla="*/ 685800 w 1721644"/>
                        <a:gd name="connsiteY73" fmla="*/ 254794 h 1145381"/>
                        <a:gd name="connsiteX74" fmla="*/ 681038 w 1721644"/>
                        <a:gd name="connsiteY74" fmla="*/ 266700 h 1145381"/>
                        <a:gd name="connsiteX75" fmla="*/ 478632 w 1721644"/>
                        <a:gd name="connsiteY75" fmla="*/ 428625 h 1145381"/>
                        <a:gd name="connsiteX76" fmla="*/ 414338 w 1721644"/>
                        <a:gd name="connsiteY76" fmla="*/ 376237 h 1145381"/>
                        <a:gd name="connsiteX77" fmla="*/ 371475 w 1721644"/>
                        <a:gd name="connsiteY77" fmla="*/ 433387 h 1145381"/>
                        <a:gd name="connsiteX78" fmla="*/ 152400 w 1721644"/>
                        <a:gd name="connsiteY78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47663 w 1721644"/>
                        <a:gd name="connsiteY11" fmla="*/ 1000125 h 1145381"/>
                        <a:gd name="connsiteX12" fmla="*/ 438150 w 1721644"/>
                        <a:gd name="connsiteY12" fmla="*/ 1050131 h 1145381"/>
                        <a:gd name="connsiteX13" fmla="*/ 542925 w 1721644"/>
                        <a:gd name="connsiteY13" fmla="*/ 1035844 h 1145381"/>
                        <a:gd name="connsiteX14" fmla="*/ 557213 w 1721644"/>
                        <a:gd name="connsiteY14" fmla="*/ 1050131 h 1145381"/>
                        <a:gd name="connsiteX15" fmla="*/ 597694 w 1721644"/>
                        <a:gd name="connsiteY15" fmla="*/ 1014412 h 1145381"/>
                        <a:gd name="connsiteX16" fmla="*/ 621507 w 1721644"/>
                        <a:gd name="connsiteY16" fmla="*/ 990600 h 1145381"/>
                        <a:gd name="connsiteX17" fmla="*/ 633413 w 1721644"/>
                        <a:gd name="connsiteY17" fmla="*/ 954881 h 1145381"/>
                        <a:gd name="connsiteX18" fmla="*/ 671513 w 1721644"/>
                        <a:gd name="connsiteY18" fmla="*/ 940594 h 1145381"/>
                        <a:gd name="connsiteX19" fmla="*/ 711994 w 1721644"/>
                        <a:gd name="connsiteY19" fmla="*/ 969169 h 1145381"/>
                        <a:gd name="connsiteX20" fmla="*/ 728663 w 1721644"/>
                        <a:gd name="connsiteY20" fmla="*/ 1004887 h 1145381"/>
                        <a:gd name="connsiteX21" fmla="*/ 762000 w 1721644"/>
                        <a:gd name="connsiteY21" fmla="*/ 1038225 h 1145381"/>
                        <a:gd name="connsiteX22" fmla="*/ 835819 w 1721644"/>
                        <a:gd name="connsiteY22" fmla="*/ 1035844 h 1145381"/>
                        <a:gd name="connsiteX23" fmla="*/ 871538 w 1721644"/>
                        <a:gd name="connsiteY23" fmla="*/ 1071562 h 1145381"/>
                        <a:gd name="connsiteX24" fmla="*/ 883444 w 1721644"/>
                        <a:gd name="connsiteY24" fmla="*/ 1131094 h 1145381"/>
                        <a:gd name="connsiteX25" fmla="*/ 916782 w 1721644"/>
                        <a:gd name="connsiteY25" fmla="*/ 1116806 h 1145381"/>
                        <a:gd name="connsiteX26" fmla="*/ 990600 w 1721644"/>
                        <a:gd name="connsiteY26" fmla="*/ 1131094 h 1145381"/>
                        <a:gd name="connsiteX27" fmla="*/ 1047750 w 1721644"/>
                        <a:gd name="connsiteY27" fmla="*/ 1145381 h 1145381"/>
                        <a:gd name="connsiteX28" fmla="*/ 1095375 w 1721644"/>
                        <a:gd name="connsiteY28" fmla="*/ 1128712 h 1145381"/>
                        <a:gd name="connsiteX29" fmla="*/ 1114425 w 1721644"/>
                        <a:gd name="connsiteY29" fmla="*/ 1045369 h 1145381"/>
                        <a:gd name="connsiteX30" fmla="*/ 1254919 w 1721644"/>
                        <a:gd name="connsiteY30" fmla="*/ 940594 h 1145381"/>
                        <a:gd name="connsiteX31" fmla="*/ 1295400 w 1721644"/>
                        <a:gd name="connsiteY31" fmla="*/ 931069 h 1145381"/>
                        <a:gd name="connsiteX32" fmla="*/ 1307307 w 1721644"/>
                        <a:gd name="connsiteY32" fmla="*/ 983456 h 1145381"/>
                        <a:gd name="connsiteX33" fmla="*/ 1295400 w 1721644"/>
                        <a:gd name="connsiteY33" fmla="*/ 1021556 h 1145381"/>
                        <a:gd name="connsiteX34" fmla="*/ 1376363 w 1721644"/>
                        <a:gd name="connsiteY34" fmla="*/ 1040606 h 1145381"/>
                        <a:gd name="connsiteX35" fmla="*/ 1471613 w 1721644"/>
                        <a:gd name="connsiteY35" fmla="*/ 942975 h 1145381"/>
                        <a:gd name="connsiteX36" fmla="*/ 1497807 w 1721644"/>
                        <a:gd name="connsiteY36" fmla="*/ 890587 h 1145381"/>
                        <a:gd name="connsiteX37" fmla="*/ 1566863 w 1721644"/>
                        <a:gd name="connsiteY37" fmla="*/ 854869 h 1145381"/>
                        <a:gd name="connsiteX38" fmla="*/ 1616869 w 1721644"/>
                        <a:gd name="connsiteY38" fmla="*/ 800100 h 1145381"/>
                        <a:gd name="connsiteX39" fmla="*/ 1676400 w 1721644"/>
                        <a:gd name="connsiteY39" fmla="*/ 788194 h 1145381"/>
                        <a:gd name="connsiteX40" fmla="*/ 1712119 w 1721644"/>
                        <a:gd name="connsiteY40" fmla="*/ 762000 h 1145381"/>
                        <a:gd name="connsiteX41" fmla="*/ 1714500 w 1721644"/>
                        <a:gd name="connsiteY41" fmla="*/ 740569 h 1145381"/>
                        <a:gd name="connsiteX42" fmla="*/ 1678782 w 1721644"/>
                        <a:gd name="connsiteY42" fmla="*/ 711994 h 1145381"/>
                        <a:gd name="connsiteX43" fmla="*/ 1721644 w 1721644"/>
                        <a:gd name="connsiteY43" fmla="*/ 642937 h 1145381"/>
                        <a:gd name="connsiteX44" fmla="*/ 1700213 w 1721644"/>
                        <a:gd name="connsiteY44" fmla="*/ 585787 h 1145381"/>
                        <a:gd name="connsiteX45" fmla="*/ 1714500 w 1721644"/>
                        <a:gd name="connsiteY45" fmla="*/ 523875 h 1145381"/>
                        <a:gd name="connsiteX46" fmla="*/ 1721644 w 1721644"/>
                        <a:gd name="connsiteY46" fmla="*/ 473869 h 1145381"/>
                        <a:gd name="connsiteX47" fmla="*/ 1714500 w 1721644"/>
                        <a:gd name="connsiteY47" fmla="*/ 359569 h 1145381"/>
                        <a:gd name="connsiteX48" fmla="*/ 1702594 w 1721644"/>
                        <a:gd name="connsiteY48" fmla="*/ 314325 h 1145381"/>
                        <a:gd name="connsiteX49" fmla="*/ 1671638 w 1721644"/>
                        <a:gd name="connsiteY49" fmla="*/ 276225 h 1145381"/>
                        <a:gd name="connsiteX50" fmla="*/ 1626394 w 1721644"/>
                        <a:gd name="connsiteY50" fmla="*/ 273844 h 1145381"/>
                        <a:gd name="connsiteX51" fmla="*/ 1521619 w 1721644"/>
                        <a:gd name="connsiteY51" fmla="*/ 259556 h 1145381"/>
                        <a:gd name="connsiteX52" fmla="*/ 1488282 w 1721644"/>
                        <a:gd name="connsiteY52" fmla="*/ 250031 h 1145381"/>
                        <a:gd name="connsiteX53" fmla="*/ 1473994 w 1721644"/>
                        <a:gd name="connsiteY53" fmla="*/ 183356 h 1145381"/>
                        <a:gd name="connsiteX54" fmla="*/ 1388269 w 1721644"/>
                        <a:gd name="connsiteY54" fmla="*/ 207169 h 1145381"/>
                        <a:gd name="connsiteX55" fmla="*/ 1331119 w 1721644"/>
                        <a:gd name="connsiteY55" fmla="*/ 223837 h 1145381"/>
                        <a:gd name="connsiteX56" fmla="*/ 1295400 w 1721644"/>
                        <a:gd name="connsiteY56" fmla="*/ 202406 h 1145381"/>
                        <a:gd name="connsiteX57" fmla="*/ 1214438 w 1721644"/>
                        <a:gd name="connsiteY57" fmla="*/ 111919 h 1145381"/>
                        <a:gd name="connsiteX58" fmla="*/ 1164432 w 1721644"/>
                        <a:gd name="connsiteY58" fmla="*/ 121444 h 1145381"/>
                        <a:gd name="connsiteX59" fmla="*/ 1083469 w 1721644"/>
                        <a:gd name="connsiteY59" fmla="*/ 100012 h 1145381"/>
                        <a:gd name="connsiteX60" fmla="*/ 1050132 w 1721644"/>
                        <a:gd name="connsiteY60" fmla="*/ 83344 h 1145381"/>
                        <a:gd name="connsiteX61" fmla="*/ 995363 w 1721644"/>
                        <a:gd name="connsiteY61" fmla="*/ 135731 h 1145381"/>
                        <a:gd name="connsiteX62" fmla="*/ 966788 w 1721644"/>
                        <a:gd name="connsiteY62" fmla="*/ 107156 h 1145381"/>
                        <a:gd name="connsiteX63" fmla="*/ 940594 w 1721644"/>
                        <a:gd name="connsiteY63" fmla="*/ 76200 h 1145381"/>
                        <a:gd name="connsiteX64" fmla="*/ 895350 w 1721644"/>
                        <a:gd name="connsiteY64" fmla="*/ 59531 h 1145381"/>
                        <a:gd name="connsiteX65" fmla="*/ 897732 w 1721644"/>
                        <a:gd name="connsiteY65" fmla="*/ 14287 h 1145381"/>
                        <a:gd name="connsiteX66" fmla="*/ 862013 w 1721644"/>
                        <a:gd name="connsiteY66" fmla="*/ 0 h 1145381"/>
                        <a:gd name="connsiteX67" fmla="*/ 814388 w 1721644"/>
                        <a:gd name="connsiteY67" fmla="*/ 4762 h 1145381"/>
                        <a:gd name="connsiteX68" fmla="*/ 800100 w 1721644"/>
                        <a:gd name="connsiteY68" fmla="*/ 23812 h 1145381"/>
                        <a:gd name="connsiteX69" fmla="*/ 735807 w 1721644"/>
                        <a:gd name="connsiteY69" fmla="*/ 14287 h 1145381"/>
                        <a:gd name="connsiteX70" fmla="*/ 676275 w 1721644"/>
                        <a:gd name="connsiteY70" fmla="*/ 52387 h 1145381"/>
                        <a:gd name="connsiteX71" fmla="*/ 635794 w 1721644"/>
                        <a:gd name="connsiteY71" fmla="*/ 85725 h 1145381"/>
                        <a:gd name="connsiteX72" fmla="*/ 661988 w 1721644"/>
                        <a:gd name="connsiteY72" fmla="*/ 159544 h 1145381"/>
                        <a:gd name="connsiteX73" fmla="*/ 685800 w 1721644"/>
                        <a:gd name="connsiteY73" fmla="*/ 254794 h 1145381"/>
                        <a:gd name="connsiteX74" fmla="*/ 681038 w 1721644"/>
                        <a:gd name="connsiteY74" fmla="*/ 266700 h 1145381"/>
                        <a:gd name="connsiteX75" fmla="*/ 478632 w 1721644"/>
                        <a:gd name="connsiteY75" fmla="*/ 428625 h 1145381"/>
                        <a:gd name="connsiteX76" fmla="*/ 414338 w 1721644"/>
                        <a:gd name="connsiteY76" fmla="*/ 376237 h 1145381"/>
                        <a:gd name="connsiteX77" fmla="*/ 371475 w 1721644"/>
                        <a:gd name="connsiteY77" fmla="*/ 433387 h 1145381"/>
                        <a:gd name="connsiteX78" fmla="*/ 152400 w 1721644"/>
                        <a:gd name="connsiteY78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47663 w 1721644"/>
                        <a:gd name="connsiteY11" fmla="*/ 1000125 h 1145381"/>
                        <a:gd name="connsiteX12" fmla="*/ 385763 w 1721644"/>
                        <a:gd name="connsiteY12" fmla="*/ 1016794 h 1145381"/>
                        <a:gd name="connsiteX13" fmla="*/ 438150 w 1721644"/>
                        <a:gd name="connsiteY13" fmla="*/ 1050131 h 1145381"/>
                        <a:gd name="connsiteX14" fmla="*/ 542925 w 1721644"/>
                        <a:gd name="connsiteY14" fmla="*/ 1035844 h 1145381"/>
                        <a:gd name="connsiteX15" fmla="*/ 557213 w 1721644"/>
                        <a:gd name="connsiteY15" fmla="*/ 1050131 h 1145381"/>
                        <a:gd name="connsiteX16" fmla="*/ 597694 w 1721644"/>
                        <a:gd name="connsiteY16" fmla="*/ 1014412 h 1145381"/>
                        <a:gd name="connsiteX17" fmla="*/ 621507 w 1721644"/>
                        <a:gd name="connsiteY17" fmla="*/ 990600 h 1145381"/>
                        <a:gd name="connsiteX18" fmla="*/ 633413 w 1721644"/>
                        <a:gd name="connsiteY18" fmla="*/ 954881 h 1145381"/>
                        <a:gd name="connsiteX19" fmla="*/ 671513 w 1721644"/>
                        <a:gd name="connsiteY19" fmla="*/ 940594 h 1145381"/>
                        <a:gd name="connsiteX20" fmla="*/ 711994 w 1721644"/>
                        <a:gd name="connsiteY20" fmla="*/ 969169 h 1145381"/>
                        <a:gd name="connsiteX21" fmla="*/ 728663 w 1721644"/>
                        <a:gd name="connsiteY21" fmla="*/ 1004887 h 1145381"/>
                        <a:gd name="connsiteX22" fmla="*/ 762000 w 1721644"/>
                        <a:gd name="connsiteY22" fmla="*/ 1038225 h 1145381"/>
                        <a:gd name="connsiteX23" fmla="*/ 835819 w 1721644"/>
                        <a:gd name="connsiteY23" fmla="*/ 1035844 h 1145381"/>
                        <a:gd name="connsiteX24" fmla="*/ 871538 w 1721644"/>
                        <a:gd name="connsiteY24" fmla="*/ 1071562 h 1145381"/>
                        <a:gd name="connsiteX25" fmla="*/ 883444 w 1721644"/>
                        <a:gd name="connsiteY25" fmla="*/ 1131094 h 1145381"/>
                        <a:gd name="connsiteX26" fmla="*/ 916782 w 1721644"/>
                        <a:gd name="connsiteY26" fmla="*/ 1116806 h 1145381"/>
                        <a:gd name="connsiteX27" fmla="*/ 990600 w 1721644"/>
                        <a:gd name="connsiteY27" fmla="*/ 1131094 h 1145381"/>
                        <a:gd name="connsiteX28" fmla="*/ 1047750 w 1721644"/>
                        <a:gd name="connsiteY28" fmla="*/ 1145381 h 1145381"/>
                        <a:gd name="connsiteX29" fmla="*/ 1095375 w 1721644"/>
                        <a:gd name="connsiteY29" fmla="*/ 1128712 h 1145381"/>
                        <a:gd name="connsiteX30" fmla="*/ 1114425 w 1721644"/>
                        <a:gd name="connsiteY30" fmla="*/ 1045369 h 1145381"/>
                        <a:gd name="connsiteX31" fmla="*/ 1254919 w 1721644"/>
                        <a:gd name="connsiteY31" fmla="*/ 940594 h 1145381"/>
                        <a:gd name="connsiteX32" fmla="*/ 1295400 w 1721644"/>
                        <a:gd name="connsiteY32" fmla="*/ 931069 h 1145381"/>
                        <a:gd name="connsiteX33" fmla="*/ 1307307 w 1721644"/>
                        <a:gd name="connsiteY33" fmla="*/ 983456 h 1145381"/>
                        <a:gd name="connsiteX34" fmla="*/ 1295400 w 1721644"/>
                        <a:gd name="connsiteY34" fmla="*/ 1021556 h 1145381"/>
                        <a:gd name="connsiteX35" fmla="*/ 1376363 w 1721644"/>
                        <a:gd name="connsiteY35" fmla="*/ 1040606 h 1145381"/>
                        <a:gd name="connsiteX36" fmla="*/ 1471613 w 1721644"/>
                        <a:gd name="connsiteY36" fmla="*/ 942975 h 1145381"/>
                        <a:gd name="connsiteX37" fmla="*/ 1497807 w 1721644"/>
                        <a:gd name="connsiteY37" fmla="*/ 890587 h 1145381"/>
                        <a:gd name="connsiteX38" fmla="*/ 1566863 w 1721644"/>
                        <a:gd name="connsiteY38" fmla="*/ 854869 h 1145381"/>
                        <a:gd name="connsiteX39" fmla="*/ 1616869 w 1721644"/>
                        <a:gd name="connsiteY39" fmla="*/ 800100 h 1145381"/>
                        <a:gd name="connsiteX40" fmla="*/ 1676400 w 1721644"/>
                        <a:gd name="connsiteY40" fmla="*/ 788194 h 1145381"/>
                        <a:gd name="connsiteX41" fmla="*/ 1712119 w 1721644"/>
                        <a:gd name="connsiteY41" fmla="*/ 762000 h 1145381"/>
                        <a:gd name="connsiteX42" fmla="*/ 1714500 w 1721644"/>
                        <a:gd name="connsiteY42" fmla="*/ 740569 h 1145381"/>
                        <a:gd name="connsiteX43" fmla="*/ 1678782 w 1721644"/>
                        <a:gd name="connsiteY43" fmla="*/ 711994 h 1145381"/>
                        <a:gd name="connsiteX44" fmla="*/ 1721644 w 1721644"/>
                        <a:gd name="connsiteY44" fmla="*/ 642937 h 1145381"/>
                        <a:gd name="connsiteX45" fmla="*/ 1700213 w 1721644"/>
                        <a:gd name="connsiteY45" fmla="*/ 585787 h 1145381"/>
                        <a:gd name="connsiteX46" fmla="*/ 1714500 w 1721644"/>
                        <a:gd name="connsiteY46" fmla="*/ 523875 h 1145381"/>
                        <a:gd name="connsiteX47" fmla="*/ 1721644 w 1721644"/>
                        <a:gd name="connsiteY47" fmla="*/ 473869 h 1145381"/>
                        <a:gd name="connsiteX48" fmla="*/ 1714500 w 1721644"/>
                        <a:gd name="connsiteY48" fmla="*/ 359569 h 1145381"/>
                        <a:gd name="connsiteX49" fmla="*/ 1702594 w 1721644"/>
                        <a:gd name="connsiteY49" fmla="*/ 314325 h 1145381"/>
                        <a:gd name="connsiteX50" fmla="*/ 1671638 w 1721644"/>
                        <a:gd name="connsiteY50" fmla="*/ 276225 h 1145381"/>
                        <a:gd name="connsiteX51" fmla="*/ 1626394 w 1721644"/>
                        <a:gd name="connsiteY51" fmla="*/ 273844 h 1145381"/>
                        <a:gd name="connsiteX52" fmla="*/ 1521619 w 1721644"/>
                        <a:gd name="connsiteY52" fmla="*/ 259556 h 1145381"/>
                        <a:gd name="connsiteX53" fmla="*/ 1488282 w 1721644"/>
                        <a:gd name="connsiteY53" fmla="*/ 250031 h 1145381"/>
                        <a:gd name="connsiteX54" fmla="*/ 1473994 w 1721644"/>
                        <a:gd name="connsiteY54" fmla="*/ 183356 h 1145381"/>
                        <a:gd name="connsiteX55" fmla="*/ 1388269 w 1721644"/>
                        <a:gd name="connsiteY55" fmla="*/ 207169 h 1145381"/>
                        <a:gd name="connsiteX56" fmla="*/ 1331119 w 1721644"/>
                        <a:gd name="connsiteY56" fmla="*/ 223837 h 1145381"/>
                        <a:gd name="connsiteX57" fmla="*/ 1295400 w 1721644"/>
                        <a:gd name="connsiteY57" fmla="*/ 202406 h 1145381"/>
                        <a:gd name="connsiteX58" fmla="*/ 1214438 w 1721644"/>
                        <a:gd name="connsiteY58" fmla="*/ 111919 h 1145381"/>
                        <a:gd name="connsiteX59" fmla="*/ 1164432 w 1721644"/>
                        <a:gd name="connsiteY59" fmla="*/ 121444 h 1145381"/>
                        <a:gd name="connsiteX60" fmla="*/ 1083469 w 1721644"/>
                        <a:gd name="connsiteY60" fmla="*/ 100012 h 1145381"/>
                        <a:gd name="connsiteX61" fmla="*/ 1050132 w 1721644"/>
                        <a:gd name="connsiteY61" fmla="*/ 83344 h 1145381"/>
                        <a:gd name="connsiteX62" fmla="*/ 995363 w 1721644"/>
                        <a:gd name="connsiteY62" fmla="*/ 135731 h 1145381"/>
                        <a:gd name="connsiteX63" fmla="*/ 966788 w 1721644"/>
                        <a:gd name="connsiteY63" fmla="*/ 107156 h 1145381"/>
                        <a:gd name="connsiteX64" fmla="*/ 940594 w 1721644"/>
                        <a:gd name="connsiteY64" fmla="*/ 76200 h 1145381"/>
                        <a:gd name="connsiteX65" fmla="*/ 895350 w 1721644"/>
                        <a:gd name="connsiteY65" fmla="*/ 59531 h 1145381"/>
                        <a:gd name="connsiteX66" fmla="*/ 897732 w 1721644"/>
                        <a:gd name="connsiteY66" fmla="*/ 14287 h 1145381"/>
                        <a:gd name="connsiteX67" fmla="*/ 862013 w 1721644"/>
                        <a:gd name="connsiteY67" fmla="*/ 0 h 1145381"/>
                        <a:gd name="connsiteX68" fmla="*/ 814388 w 1721644"/>
                        <a:gd name="connsiteY68" fmla="*/ 4762 h 1145381"/>
                        <a:gd name="connsiteX69" fmla="*/ 800100 w 1721644"/>
                        <a:gd name="connsiteY69" fmla="*/ 23812 h 1145381"/>
                        <a:gd name="connsiteX70" fmla="*/ 735807 w 1721644"/>
                        <a:gd name="connsiteY70" fmla="*/ 14287 h 1145381"/>
                        <a:gd name="connsiteX71" fmla="*/ 676275 w 1721644"/>
                        <a:gd name="connsiteY71" fmla="*/ 52387 h 1145381"/>
                        <a:gd name="connsiteX72" fmla="*/ 635794 w 1721644"/>
                        <a:gd name="connsiteY72" fmla="*/ 85725 h 1145381"/>
                        <a:gd name="connsiteX73" fmla="*/ 661988 w 1721644"/>
                        <a:gd name="connsiteY73" fmla="*/ 159544 h 1145381"/>
                        <a:gd name="connsiteX74" fmla="*/ 685800 w 1721644"/>
                        <a:gd name="connsiteY74" fmla="*/ 254794 h 1145381"/>
                        <a:gd name="connsiteX75" fmla="*/ 681038 w 1721644"/>
                        <a:gd name="connsiteY75" fmla="*/ 266700 h 1145381"/>
                        <a:gd name="connsiteX76" fmla="*/ 478632 w 1721644"/>
                        <a:gd name="connsiteY76" fmla="*/ 428625 h 1145381"/>
                        <a:gd name="connsiteX77" fmla="*/ 414338 w 1721644"/>
                        <a:gd name="connsiteY77" fmla="*/ 376237 h 1145381"/>
                        <a:gd name="connsiteX78" fmla="*/ 371475 w 1721644"/>
                        <a:gd name="connsiteY78" fmla="*/ 433387 h 1145381"/>
                        <a:gd name="connsiteX79" fmla="*/ 152400 w 1721644"/>
                        <a:gd name="connsiteY79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47663 w 1721644"/>
                        <a:gd name="connsiteY11" fmla="*/ 1000125 h 1145381"/>
                        <a:gd name="connsiteX12" fmla="*/ 376238 w 1721644"/>
                        <a:gd name="connsiteY12" fmla="*/ 1028700 h 1145381"/>
                        <a:gd name="connsiteX13" fmla="*/ 438150 w 1721644"/>
                        <a:gd name="connsiteY13" fmla="*/ 1050131 h 1145381"/>
                        <a:gd name="connsiteX14" fmla="*/ 542925 w 1721644"/>
                        <a:gd name="connsiteY14" fmla="*/ 1035844 h 1145381"/>
                        <a:gd name="connsiteX15" fmla="*/ 557213 w 1721644"/>
                        <a:gd name="connsiteY15" fmla="*/ 1050131 h 1145381"/>
                        <a:gd name="connsiteX16" fmla="*/ 597694 w 1721644"/>
                        <a:gd name="connsiteY16" fmla="*/ 1014412 h 1145381"/>
                        <a:gd name="connsiteX17" fmla="*/ 621507 w 1721644"/>
                        <a:gd name="connsiteY17" fmla="*/ 990600 h 1145381"/>
                        <a:gd name="connsiteX18" fmla="*/ 633413 w 1721644"/>
                        <a:gd name="connsiteY18" fmla="*/ 954881 h 1145381"/>
                        <a:gd name="connsiteX19" fmla="*/ 671513 w 1721644"/>
                        <a:gd name="connsiteY19" fmla="*/ 940594 h 1145381"/>
                        <a:gd name="connsiteX20" fmla="*/ 711994 w 1721644"/>
                        <a:gd name="connsiteY20" fmla="*/ 969169 h 1145381"/>
                        <a:gd name="connsiteX21" fmla="*/ 728663 w 1721644"/>
                        <a:gd name="connsiteY21" fmla="*/ 1004887 h 1145381"/>
                        <a:gd name="connsiteX22" fmla="*/ 762000 w 1721644"/>
                        <a:gd name="connsiteY22" fmla="*/ 1038225 h 1145381"/>
                        <a:gd name="connsiteX23" fmla="*/ 835819 w 1721644"/>
                        <a:gd name="connsiteY23" fmla="*/ 1035844 h 1145381"/>
                        <a:gd name="connsiteX24" fmla="*/ 871538 w 1721644"/>
                        <a:gd name="connsiteY24" fmla="*/ 1071562 h 1145381"/>
                        <a:gd name="connsiteX25" fmla="*/ 883444 w 1721644"/>
                        <a:gd name="connsiteY25" fmla="*/ 1131094 h 1145381"/>
                        <a:gd name="connsiteX26" fmla="*/ 916782 w 1721644"/>
                        <a:gd name="connsiteY26" fmla="*/ 1116806 h 1145381"/>
                        <a:gd name="connsiteX27" fmla="*/ 990600 w 1721644"/>
                        <a:gd name="connsiteY27" fmla="*/ 1131094 h 1145381"/>
                        <a:gd name="connsiteX28" fmla="*/ 1047750 w 1721644"/>
                        <a:gd name="connsiteY28" fmla="*/ 1145381 h 1145381"/>
                        <a:gd name="connsiteX29" fmla="*/ 1095375 w 1721644"/>
                        <a:gd name="connsiteY29" fmla="*/ 1128712 h 1145381"/>
                        <a:gd name="connsiteX30" fmla="*/ 1114425 w 1721644"/>
                        <a:gd name="connsiteY30" fmla="*/ 1045369 h 1145381"/>
                        <a:gd name="connsiteX31" fmla="*/ 1254919 w 1721644"/>
                        <a:gd name="connsiteY31" fmla="*/ 940594 h 1145381"/>
                        <a:gd name="connsiteX32" fmla="*/ 1295400 w 1721644"/>
                        <a:gd name="connsiteY32" fmla="*/ 931069 h 1145381"/>
                        <a:gd name="connsiteX33" fmla="*/ 1307307 w 1721644"/>
                        <a:gd name="connsiteY33" fmla="*/ 983456 h 1145381"/>
                        <a:gd name="connsiteX34" fmla="*/ 1295400 w 1721644"/>
                        <a:gd name="connsiteY34" fmla="*/ 1021556 h 1145381"/>
                        <a:gd name="connsiteX35" fmla="*/ 1376363 w 1721644"/>
                        <a:gd name="connsiteY35" fmla="*/ 1040606 h 1145381"/>
                        <a:gd name="connsiteX36" fmla="*/ 1471613 w 1721644"/>
                        <a:gd name="connsiteY36" fmla="*/ 942975 h 1145381"/>
                        <a:gd name="connsiteX37" fmla="*/ 1497807 w 1721644"/>
                        <a:gd name="connsiteY37" fmla="*/ 890587 h 1145381"/>
                        <a:gd name="connsiteX38" fmla="*/ 1566863 w 1721644"/>
                        <a:gd name="connsiteY38" fmla="*/ 854869 h 1145381"/>
                        <a:gd name="connsiteX39" fmla="*/ 1616869 w 1721644"/>
                        <a:gd name="connsiteY39" fmla="*/ 800100 h 1145381"/>
                        <a:gd name="connsiteX40" fmla="*/ 1676400 w 1721644"/>
                        <a:gd name="connsiteY40" fmla="*/ 788194 h 1145381"/>
                        <a:gd name="connsiteX41" fmla="*/ 1712119 w 1721644"/>
                        <a:gd name="connsiteY41" fmla="*/ 762000 h 1145381"/>
                        <a:gd name="connsiteX42" fmla="*/ 1714500 w 1721644"/>
                        <a:gd name="connsiteY42" fmla="*/ 740569 h 1145381"/>
                        <a:gd name="connsiteX43" fmla="*/ 1678782 w 1721644"/>
                        <a:gd name="connsiteY43" fmla="*/ 711994 h 1145381"/>
                        <a:gd name="connsiteX44" fmla="*/ 1721644 w 1721644"/>
                        <a:gd name="connsiteY44" fmla="*/ 642937 h 1145381"/>
                        <a:gd name="connsiteX45" fmla="*/ 1700213 w 1721644"/>
                        <a:gd name="connsiteY45" fmla="*/ 585787 h 1145381"/>
                        <a:gd name="connsiteX46" fmla="*/ 1714500 w 1721644"/>
                        <a:gd name="connsiteY46" fmla="*/ 523875 h 1145381"/>
                        <a:gd name="connsiteX47" fmla="*/ 1721644 w 1721644"/>
                        <a:gd name="connsiteY47" fmla="*/ 473869 h 1145381"/>
                        <a:gd name="connsiteX48" fmla="*/ 1714500 w 1721644"/>
                        <a:gd name="connsiteY48" fmla="*/ 359569 h 1145381"/>
                        <a:gd name="connsiteX49" fmla="*/ 1702594 w 1721644"/>
                        <a:gd name="connsiteY49" fmla="*/ 314325 h 1145381"/>
                        <a:gd name="connsiteX50" fmla="*/ 1671638 w 1721644"/>
                        <a:gd name="connsiteY50" fmla="*/ 276225 h 1145381"/>
                        <a:gd name="connsiteX51" fmla="*/ 1626394 w 1721644"/>
                        <a:gd name="connsiteY51" fmla="*/ 273844 h 1145381"/>
                        <a:gd name="connsiteX52" fmla="*/ 1521619 w 1721644"/>
                        <a:gd name="connsiteY52" fmla="*/ 259556 h 1145381"/>
                        <a:gd name="connsiteX53" fmla="*/ 1488282 w 1721644"/>
                        <a:gd name="connsiteY53" fmla="*/ 250031 h 1145381"/>
                        <a:gd name="connsiteX54" fmla="*/ 1473994 w 1721644"/>
                        <a:gd name="connsiteY54" fmla="*/ 183356 h 1145381"/>
                        <a:gd name="connsiteX55" fmla="*/ 1388269 w 1721644"/>
                        <a:gd name="connsiteY55" fmla="*/ 207169 h 1145381"/>
                        <a:gd name="connsiteX56" fmla="*/ 1331119 w 1721644"/>
                        <a:gd name="connsiteY56" fmla="*/ 223837 h 1145381"/>
                        <a:gd name="connsiteX57" fmla="*/ 1295400 w 1721644"/>
                        <a:gd name="connsiteY57" fmla="*/ 202406 h 1145381"/>
                        <a:gd name="connsiteX58" fmla="*/ 1214438 w 1721644"/>
                        <a:gd name="connsiteY58" fmla="*/ 111919 h 1145381"/>
                        <a:gd name="connsiteX59" fmla="*/ 1164432 w 1721644"/>
                        <a:gd name="connsiteY59" fmla="*/ 121444 h 1145381"/>
                        <a:gd name="connsiteX60" fmla="*/ 1083469 w 1721644"/>
                        <a:gd name="connsiteY60" fmla="*/ 100012 h 1145381"/>
                        <a:gd name="connsiteX61" fmla="*/ 1050132 w 1721644"/>
                        <a:gd name="connsiteY61" fmla="*/ 83344 h 1145381"/>
                        <a:gd name="connsiteX62" fmla="*/ 995363 w 1721644"/>
                        <a:gd name="connsiteY62" fmla="*/ 135731 h 1145381"/>
                        <a:gd name="connsiteX63" fmla="*/ 966788 w 1721644"/>
                        <a:gd name="connsiteY63" fmla="*/ 107156 h 1145381"/>
                        <a:gd name="connsiteX64" fmla="*/ 940594 w 1721644"/>
                        <a:gd name="connsiteY64" fmla="*/ 76200 h 1145381"/>
                        <a:gd name="connsiteX65" fmla="*/ 895350 w 1721644"/>
                        <a:gd name="connsiteY65" fmla="*/ 59531 h 1145381"/>
                        <a:gd name="connsiteX66" fmla="*/ 897732 w 1721644"/>
                        <a:gd name="connsiteY66" fmla="*/ 14287 h 1145381"/>
                        <a:gd name="connsiteX67" fmla="*/ 862013 w 1721644"/>
                        <a:gd name="connsiteY67" fmla="*/ 0 h 1145381"/>
                        <a:gd name="connsiteX68" fmla="*/ 814388 w 1721644"/>
                        <a:gd name="connsiteY68" fmla="*/ 4762 h 1145381"/>
                        <a:gd name="connsiteX69" fmla="*/ 800100 w 1721644"/>
                        <a:gd name="connsiteY69" fmla="*/ 23812 h 1145381"/>
                        <a:gd name="connsiteX70" fmla="*/ 735807 w 1721644"/>
                        <a:gd name="connsiteY70" fmla="*/ 14287 h 1145381"/>
                        <a:gd name="connsiteX71" fmla="*/ 676275 w 1721644"/>
                        <a:gd name="connsiteY71" fmla="*/ 52387 h 1145381"/>
                        <a:gd name="connsiteX72" fmla="*/ 635794 w 1721644"/>
                        <a:gd name="connsiteY72" fmla="*/ 85725 h 1145381"/>
                        <a:gd name="connsiteX73" fmla="*/ 661988 w 1721644"/>
                        <a:gd name="connsiteY73" fmla="*/ 159544 h 1145381"/>
                        <a:gd name="connsiteX74" fmla="*/ 685800 w 1721644"/>
                        <a:gd name="connsiteY74" fmla="*/ 254794 h 1145381"/>
                        <a:gd name="connsiteX75" fmla="*/ 681038 w 1721644"/>
                        <a:gd name="connsiteY75" fmla="*/ 266700 h 1145381"/>
                        <a:gd name="connsiteX76" fmla="*/ 478632 w 1721644"/>
                        <a:gd name="connsiteY76" fmla="*/ 428625 h 1145381"/>
                        <a:gd name="connsiteX77" fmla="*/ 414338 w 1721644"/>
                        <a:gd name="connsiteY77" fmla="*/ 376237 h 1145381"/>
                        <a:gd name="connsiteX78" fmla="*/ 371475 w 1721644"/>
                        <a:gd name="connsiteY78" fmla="*/ 433387 h 1145381"/>
                        <a:gd name="connsiteX79" fmla="*/ 152400 w 1721644"/>
                        <a:gd name="connsiteY79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28613 w 1721644"/>
                        <a:gd name="connsiteY11" fmla="*/ 973931 h 1145381"/>
                        <a:gd name="connsiteX12" fmla="*/ 347663 w 1721644"/>
                        <a:gd name="connsiteY12" fmla="*/ 1000125 h 1145381"/>
                        <a:gd name="connsiteX13" fmla="*/ 376238 w 1721644"/>
                        <a:gd name="connsiteY13" fmla="*/ 1028700 h 1145381"/>
                        <a:gd name="connsiteX14" fmla="*/ 438150 w 1721644"/>
                        <a:gd name="connsiteY14" fmla="*/ 1050131 h 1145381"/>
                        <a:gd name="connsiteX15" fmla="*/ 542925 w 1721644"/>
                        <a:gd name="connsiteY15" fmla="*/ 1035844 h 1145381"/>
                        <a:gd name="connsiteX16" fmla="*/ 557213 w 1721644"/>
                        <a:gd name="connsiteY16" fmla="*/ 1050131 h 1145381"/>
                        <a:gd name="connsiteX17" fmla="*/ 597694 w 1721644"/>
                        <a:gd name="connsiteY17" fmla="*/ 1014412 h 1145381"/>
                        <a:gd name="connsiteX18" fmla="*/ 621507 w 1721644"/>
                        <a:gd name="connsiteY18" fmla="*/ 990600 h 1145381"/>
                        <a:gd name="connsiteX19" fmla="*/ 633413 w 1721644"/>
                        <a:gd name="connsiteY19" fmla="*/ 954881 h 1145381"/>
                        <a:gd name="connsiteX20" fmla="*/ 671513 w 1721644"/>
                        <a:gd name="connsiteY20" fmla="*/ 940594 h 1145381"/>
                        <a:gd name="connsiteX21" fmla="*/ 711994 w 1721644"/>
                        <a:gd name="connsiteY21" fmla="*/ 969169 h 1145381"/>
                        <a:gd name="connsiteX22" fmla="*/ 728663 w 1721644"/>
                        <a:gd name="connsiteY22" fmla="*/ 1004887 h 1145381"/>
                        <a:gd name="connsiteX23" fmla="*/ 762000 w 1721644"/>
                        <a:gd name="connsiteY23" fmla="*/ 1038225 h 1145381"/>
                        <a:gd name="connsiteX24" fmla="*/ 835819 w 1721644"/>
                        <a:gd name="connsiteY24" fmla="*/ 1035844 h 1145381"/>
                        <a:gd name="connsiteX25" fmla="*/ 871538 w 1721644"/>
                        <a:gd name="connsiteY25" fmla="*/ 1071562 h 1145381"/>
                        <a:gd name="connsiteX26" fmla="*/ 883444 w 1721644"/>
                        <a:gd name="connsiteY26" fmla="*/ 1131094 h 1145381"/>
                        <a:gd name="connsiteX27" fmla="*/ 916782 w 1721644"/>
                        <a:gd name="connsiteY27" fmla="*/ 1116806 h 1145381"/>
                        <a:gd name="connsiteX28" fmla="*/ 990600 w 1721644"/>
                        <a:gd name="connsiteY28" fmla="*/ 1131094 h 1145381"/>
                        <a:gd name="connsiteX29" fmla="*/ 1047750 w 1721644"/>
                        <a:gd name="connsiteY29" fmla="*/ 1145381 h 1145381"/>
                        <a:gd name="connsiteX30" fmla="*/ 1095375 w 1721644"/>
                        <a:gd name="connsiteY30" fmla="*/ 1128712 h 1145381"/>
                        <a:gd name="connsiteX31" fmla="*/ 1114425 w 1721644"/>
                        <a:gd name="connsiteY31" fmla="*/ 1045369 h 1145381"/>
                        <a:gd name="connsiteX32" fmla="*/ 1254919 w 1721644"/>
                        <a:gd name="connsiteY32" fmla="*/ 940594 h 1145381"/>
                        <a:gd name="connsiteX33" fmla="*/ 1295400 w 1721644"/>
                        <a:gd name="connsiteY33" fmla="*/ 931069 h 1145381"/>
                        <a:gd name="connsiteX34" fmla="*/ 1307307 w 1721644"/>
                        <a:gd name="connsiteY34" fmla="*/ 983456 h 1145381"/>
                        <a:gd name="connsiteX35" fmla="*/ 1295400 w 1721644"/>
                        <a:gd name="connsiteY35" fmla="*/ 1021556 h 1145381"/>
                        <a:gd name="connsiteX36" fmla="*/ 1376363 w 1721644"/>
                        <a:gd name="connsiteY36" fmla="*/ 1040606 h 1145381"/>
                        <a:gd name="connsiteX37" fmla="*/ 1471613 w 1721644"/>
                        <a:gd name="connsiteY37" fmla="*/ 942975 h 1145381"/>
                        <a:gd name="connsiteX38" fmla="*/ 1497807 w 1721644"/>
                        <a:gd name="connsiteY38" fmla="*/ 890587 h 1145381"/>
                        <a:gd name="connsiteX39" fmla="*/ 1566863 w 1721644"/>
                        <a:gd name="connsiteY39" fmla="*/ 854869 h 1145381"/>
                        <a:gd name="connsiteX40" fmla="*/ 1616869 w 1721644"/>
                        <a:gd name="connsiteY40" fmla="*/ 800100 h 1145381"/>
                        <a:gd name="connsiteX41" fmla="*/ 1676400 w 1721644"/>
                        <a:gd name="connsiteY41" fmla="*/ 788194 h 1145381"/>
                        <a:gd name="connsiteX42" fmla="*/ 1712119 w 1721644"/>
                        <a:gd name="connsiteY42" fmla="*/ 762000 h 1145381"/>
                        <a:gd name="connsiteX43" fmla="*/ 1714500 w 1721644"/>
                        <a:gd name="connsiteY43" fmla="*/ 740569 h 1145381"/>
                        <a:gd name="connsiteX44" fmla="*/ 1678782 w 1721644"/>
                        <a:gd name="connsiteY44" fmla="*/ 711994 h 1145381"/>
                        <a:gd name="connsiteX45" fmla="*/ 1721644 w 1721644"/>
                        <a:gd name="connsiteY45" fmla="*/ 642937 h 1145381"/>
                        <a:gd name="connsiteX46" fmla="*/ 1700213 w 1721644"/>
                        <a:gd name="connsiteY46" fmla="*/ 585787 h 1145381"/>
                        <a:gd name="connsiteX47" fmla="*/ 1714500 w 1721644"/>
                        <a:gd name="connsiteY47" fmla="*/ 523875 h 1145381"/>
                        <a:gd name="connsiteX48" fmla="*/ 1721644 w 1721644"/>
                        <a:gd name="connsiteY48" fmla="*/ 473869 h 1145381"/>
                        <a:gd name="connsiteX49" fmla="*/ 1714500 w 1721644"/>
                        <a:gd name="connsiteY49" fmla="*/ 359569 h 1145381"/>
                        <a:gd name="connsiteX50" fmla="*/ 1702594 w 1721644"/>
                        <a:gd name="connsiteY50" fmla="*/ 314325 h 1145381"/>
                        <a:gd name="connsiteX51" fmla="*/ 1671638 w 1721644"/>
                        <a:gd name="connsiteY51" fmla="*/ 276225 h 1145381"/>
                        <a:gd name="connsiteX52" fmla="*/ 1626394 w 1721644"/>
                        <a:gd name="connsiteY52" fmla="*/ 273844 h 1145381"/>
                        <a:gd name="connsiteX53" fmla="*/ 1521619 w 1721644"/>
                        <a:gd name="connsiteY53" fmla="*/ 259556 h 1145381"/>
                        <a:gd name="connsiteX54" fmla="*/ 1488282 w 1721644"/>
                        <a:gd name="connsiteY54" fmla="*/ 250031 h 1145381"/>
                        <a:gd name="connsiteX55" fmla="*/ 1473994 w 1721644"/>
                        <a:gd name="connsiteY55" fmla="*/ 183356 h 1145381"/>
                        <a:gd name="connsiteX56" fmla="*/ 1388269 w 1721644"/>
                        <a:gd name="connsiteY56" fmla="*/ 207169 h 1145381"/>
                        <a:gd name="connsiteX57" fmla="*/ 1331119 w 1721644"/>
                        <a:gd name="connsiteY57" fmla="*/ 223837 h 1145381"/>
                        <a:gd name="connsiteX58" fmla="*/ 1295400 w 1721644"/>
                        <a:gd name="connsiteY58" fmla="*/ 202406 h 1145381"/>
                        <a:gd name="connsiteX59" fmla="*/ 1214438 w 1721644"/>
                        <a:gd name="connsiteY59" fmla="*/ 111919 h 1145381"/>
                        <a:gd name="connsiteX60" fmla="*/ 1164432 w 1721644"/>
                        <a:gd name="connsiteY60" fmla="*/ 121444 h 1145381"/>
                        <a:gd name="connsiteX61" fmla="*/ 1083469 w 1721644"/>
                        <a:gd name="connsiteY61" fmla="*/ 100012 h 1145381"/>
                        <a:gd name="connsiteX62" fmla="*/ 1050132 w 1721644"/>
                        <a:gd name="connsiteY62" fmla="*/ 83344 h 1145381"/>
                        <a:gd name="connsiteX63" fmla="*/ 995363 w 1721644"/>
                        <a:gd name="connsiteY63" fmla="*/ 135731 h 1145381"/>
                        <a:gd name="connsiteX64" fmla="*/ 966788 w 1721644"/>
                        <a:gd name="connsiteY64" fmla="*/ 107156 h 1145381"/>
                        <a:gd name="connsiteX65" fmla="*/ 940594 w 1721644"/>
                        <a:gd name="connsiteY65" fmla="*/ 76200 h 1145381"/>
                        <a:gd name="connsiteX66" fmla="*/ 895350 w 1721644"/>
                        <a:gd name="connsiteY66" fmla="*/ 59531 h 1145381"/>
                        <a:gd name="connsiteX67" fmla="*/ 897732 w 1721644"/>
                        <a:gd name="connsiteY67" fmla="*/ 14287 h 1145381"/>
                        <a:gd name="connsiteX68" fmla="*/ 862013 w 1721644"/>
                        <a:gd name="connsiteY68" fmla="*/ 0 h 1145381"/>
                        <a:gd name="connsiteX69" fmla="*/ 814388 w 1721644"/>
                        <a:gd name="connsiteY69" fmla="*/ 4762 h 1145381"/>
                        <a:gd name="connsiteX70" fmla="*/ 800100 w 1721644"/>
                        <a:gd name="connsiteY70" fmla="*/ 23812 h 1145381"/>
                        <a:gd name="connsiteX71" fmla="*/ 735807 w 1721644"/>
                        <a:gd name="connsiteY71" fmla="*/ 14287 h 1145381"/>
                        <a:gd name="connsiteX72" fmla="*/ 676275 w 1721644"/>
                        <a:gd name="connsiteY72" fmla="*/ 52387 h 1145381"/>
                        <a:gd name="connsiteX73" fmla="*/ 635794 w 1721644"/>
                        <a:gd name="connsiteY73" fmla="*/ 85725 h 1145381"/>
                        <a:gd name="connsiteX74" fmla="*/ 661988 w 1721644"/>
                        <a:gd name="connsiteY74" fmla="*/ 159544 h 1145381"/>
                        <a:gd name="connsiteX75" fmla="*/ 685800 w 1721644"/>
                        <a:gd name="connsiteY75" fmla="*/ 254794 h 1145381"/>
                        <a:gd name="connsiteX76" fmla="*/ 681038 w 1721644"/>
                        <a:gd name="connsiteY76" fmla="*/ 266700 h 1145381"/>
                        <a:gd name="connsiteX77" fmla="*/ 478632 w 1721644"/>
                        <a:gd name="connsiteY77" fmla="*/ 428625 h 1145381"/>
                        <a:gd name="connsiteX78" fmla="*/ 414338 w 1721644"/>
                        <a:gd name="connsiteY78" fmla="*/ 376237 h 1145381"/>
                        <a:gd name="connsiteX79" fmla="*/ 371475 w 1721644"/>
                        <a:gd name="connsiteY79" fmla="*/ 433387 h 1145381"/>
                        <a:gd name="connsiteX80" fmla="*/ 152400 w 1721644"/>
                        <a:gd name="connsiteY80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21469 w 1721644"/>
                        <a:gd name="connsiteY11" fmla="*/ 976312 h 1145381"/>
                        <a:gd name="connsiteX12" fmla="*/ 347663 w 1721644"/>
                        <a:gd name="connsiteY12" fmla="*/ 1000125 h 1145381"/>
                        <a:gd name="connsiteX13" fmla="*/ 376238 w 1721644"/>
                        <a:gd name="connsiteY13" fmla="*/ 1028700 h 1145381"/>
                        <a:gd name="connsiteX14" fmla="*/ 438150 w 1721644"/>
                        <a:gd name="connsiteY14" fmla="*/ 1050131 h 1145381"/>
                        <a:gd name="connsiteX15" fmla="*/ 542925 w 1721644"/>
                        <a:gd name="connsiteY15" fmla="*/ 1035844 h 1145381"/>
                        <a:gd name="connsiteX16" fmla="*/ 557213 w 1721644"/>
                        <a:gd name="connsiteY16" fmla="*/ 1050131 h 1145381"/>
                        <a:gd name="connsiteX17" fmla="*/ 597694 w 1721644"/>
                        <a:gd name="connsiteY17" fmla="*/ 1014412 h 1145381"/>
                        <a:gd name="connsiteX18" fmla="*/ 621507 w 1721644"/>
                        <a:gd name="connsiteY18" fmla="*/ 990600 h 1145381"/>
                        <a:gd name="connsiteX19" fmla="*/ 633413 w 1721644"/>
                        <a:gd name="connsiteY19" fmla="*/ 954881 h 1145381"/>
                        <a:gd name="connsiteX20" fmla="*/ 671513 w 1721644"/>
                        <a:gd name="connsiteY20" fmla="*/ 940594 h 1145381"/>
                        <a:gd name="connsiteX21" fmla="*/ 711994 w 1721644"/>
                        <a:gd name="connsiteY21" fmla="*/ 969169 h 1145381"/>
                        <a:gd name="connsiteX22" fmla="*/ 728663 w 1721644"/>
                        <a:gd name="connsiteY22" fmla="*/ 1004887 h 1145381"/>
                        <a:gd name="connsiteX23" fmla="*/ 762000 w 1721644"/>
                        <a:gd name="connsiteY23" fmla="*/ 1038225 h 1145381"/>
                        <a:gd name="connsiteX24" fmla="*/ 835819 w 1721644"/>
                        <a:gd name="connsiteY24" fmla="*/ 1035844 h 1145381"/>
                        <a:gd name="connsiteX25" fmla="*/ 871538 w 1721644"/>
                        <a:gd name="connsiteY25" fmla="*/ 1071562 h 1145381"/>
                        <a:gd name="connsiteX26" fmla="*/ 883444 w 1721644"/>
                        <a:gd name="connsiteY26" fmla="*/ 1131094 h 1145381"/>
                        <a:gd name="connsiteX27" fmla="*/ 916782 w 1721644"/>
                        <a:gd name="connsiteY27" fmla="*/ 1116806 h 1145381"/>
                        <a:gd name="connsiteX28" fmla="*/ 990600 w 1721644"/>
                        <a:gd name="connsiteY28" fmla="*/ 1131094 h 1145381"/>
                        <a:gd name="connsiteX29" fmla="*/ 1047750 w 1721644"/>
                        <a:gd name="connsiteY29" fmla="*/ 1145381 h 1145381"/>
                        <a:gd name="connsiteX30" fmla="*/ 1095375 w 1721644"/>
                        <a:gd name="connsiteY30" fmla="*/ 1128712 h 1145381"/>
                        <a:gd name="connsiteX31" fmla="*/ 1114425 w 1721644"/>
                        <a:gd name="connsiteY31" fmla="*/ 1045369 h 1145381"/>
                        <a:gd name="connsiteX32" fmla="*/ 1254919 w 1721644"/>
                        <a:gd name="connsiteY32" fmla="*/ 940594 h 1145381"/>
                        <a:gd name="connsiteX33" fmla="*/ 1295400 w 1721644"/>
                        <a:gd name="connsiteY33" fmla="*/ 931069 h 1145381"/>
                        <a:gd name="connsiteX34" fmla="*/ 1307307 w 1721644"/>
                        <a:gd name="connsiteY34" fmla="*/ 983456 h 1145381"/>
                        <a:gd name="connsiteX35" fmla="*/ 1295400 w 1721644"/>
                        <a:gd name="connsiteY35" fmla="*/ 1021556 h 1145381"/>
                        <a:gd name="connsiteX36" fmla="*/ 1376363 w 1721644"/>
                        <a:gd name="connsiteY36" fmla="*/ 1040606 h 1145381"/>
                        <a:gd name="connsiteX37" fmla="*/ 1471613 w 1721644"/>
                        <a:gd name="connsiteY37" fmla="*/ 942975 h 1145381"/>
                        <a:gd name="connsiteX38" fmla="*/ 1497807 w 1721644"/>
                        <a:gd name="connsiteY38" fmla="*/ 890587 h 1145381"/>
                        <a:gd name="connsiteX39" fmla="*/ 1566863 w 1721644"/>
                        <a:gd name="connsiteY39" fmla="*/ 854869 h 1145381"/>
                        <a:gd name="connsiteX40" fmla="*/ 1616869 w 1721644"/>
                        <a:gd name="connsiteY40" fmla="*/ 800100 h 1145381"/>
                        <a:gd name="connsiteX41" fmla="*/ 1676400 w 1721644"/>
                        <a:gd name="connsiteY41" fmla="*/ 788194 h 1145381"/>
                        <a:gd name="connsiteX42" fmla="*/ 1712119 w 1721644"/>
                        <a:gd name="connsiteY42" fmla="*/ 762000 h 1145381"/>
                        <a:gd name="connsiteX43" fmla="*/ 1714500 w 1721644"/>
                        <a:gd name="connsiteY43" fmla="*/ 740569 h 1145381"/>
                        <a:gd name="connsiteX44" fmla="*/ 1678782 w 1721644"/>
                        <a:gd name="connsiteY44" fmla="*/ 711994 h 1145381"/>
                        <a:gd name="connsiteX45" fmla="*/ 1721644 w 1721644"/>
                        <a:gd name="connsiteY45" fmla="*/ 642937 h 1145381"/>
                        <a:gd name="connsiteX46" fmla="*/ 1700213 w 1721644"/>
                        <a:gd name="connsiteY46" fmla="*/ 585787 h 1145381"/>
                        <a:gd name="connsiteX47" fmla="*/ 1714500 w 1721644"/>
                        <a:gd name="connsiteY47" fmla="*/ 523875 h 1145381"/>
                        <a:gd name="connsiteX48" fmla="*/ 1721644 w 1721644"/>
                        <a:gd name="connsiteY48" fmla="*/ 473869 h 1145381"/>
                        <a:gd name="connsiteX49" fmla="*/ 1714500 w 1721644"/>
                        <a:gd name="connsiteY49" fmla="*/ 359569 h 1145381"/>
                        <a:gd name="connsiteX50" fmla="*/ 1702594 w 1721644"/>
                        <a:gd name="connsiteY50" fmla="*/ 314325 h 1145381"/>
                        <a:gd name="connsiteX51" fmla="*/ 1671638 w 1721644"/>
                        <a:gd name="connsiteY51" fmla="*/ 276225 h 1145381"/>
                        <a:gd name="connsiteX52" fmla="*/ 1626394 w 1721644"/>
                        <a:gd name="connsiteY52" fmla="*/ 273844 h 1145381"/>
                        <a:gd name="connsiteX53" fmla="*/ 1521619 w 1721644"/>
                        <a:gd name="connsiteY53" fmla="*/ 259556 h 1145381"/>
                        <a:gd name="connsiteX54" fmla="*/ 1488282 w 1721644"/>
                        <a:gd name="connsiteY54" fmla="*/ 250031 h 1145381"/>
                        <a:gd name="connsiteX55" fmla="*/ 1473994 w 1721644"/>
                        <a:gd name="connsiteY55" fmla="*/ 183356 h 1145381"/>
                        <a:gd name="connsiteX56" fmla="*/ 1388269 w 1721644"/>
                        <a:gd name="connsiteY56" fmla="*/ 207169 h 1145381"/>
                        <a:gd name="connsiteX57" fmla="*/ 1331119 w 1721644"/>
                        <a:gd name="connsiteY57" fmla="*/ 223837 h 1145381"/>
                        <a:gd name="connsiteX58" fmla="*/ 1295400 w 1721644"/>
                        <a:gd name="connsiteY58" fmla="*/ 202406 h 1145381"/>
                        <a:gd name="connsiteX59" fmla="*/ 1214438 w 1721644"/>
                        <a:gd name="connsiteY59" fmla="*/ 111919 h 1145381"/>
                        <a:gd name="connsiteX60" fmla="*/ 1164432 w 1721644"/>
                        <a:gd name="connsiteY60" fmla="*/ 121444 h 1145381"/>
                        <a:gd name="connsiteX61" fmla="*/ 1083469 w 1721644"/>
                        <a:gd name="connsiteY61" fmla="*/ 100012 h 1145381"/>
                        <a:gd name="connsiteX62" fmla="*/ 1050132 w 1721644"/>
                        <a:gd name="connsiteY62" fmla="*/ 83344 h 1145381"/>
                        <a:gd name="connsiteX63" fmla="*/ 995363 w 1721644"/>
                        <a:gd name="connsiteY63" fmla="*/ 135731 h 1145381"/>
                        <a:gd name="connsiteX64" fmla="*/ 966788 w 1721644"/>
                        <a:gd name="connsiteY64" fmla="*/ 107156 h 1145381"/>
                        <a:gd name="connsiteX65" fmla="*/ 940594 w 1721644"/>
                        <a:gd name="connsiteY65" fmla="*/ 76200 h 1145381"/>
                        <a:gd name="connsiteX66" fmla="*/ 895350 w 1721644"/>
                        <a:gd name="connsiteY66" fmla="*/ 59531 h 1145381"/>
                        <a:gd name="connsiteX67" fmla="*/ 897732 w 1721644"/>
                        <a:gd name="connsiteY67" fmla="*/ 14287 h 1145381"/>
                        <a:gd name="connsiteX68" fmla="*/ 862013 w 1721644"/>
                        <a:gd name="connsiteY68" fmla="*/ 0 h 1145381"/>
                        <a:gd name="connsiteX69" fmla="*/ 814388 w 1721644"/>
                        <a:gd name="connsiteY69" fmla="*/ 4762 h 1145381"/>
                        <a:gd name="connsiteX70" fmla="*/ 800100 w 1721644"/>
                        <a:gd name="connsiteY70" fmla="*/ 23812 h 1145381"/>
                        <a:gd name="connsiteX71" fmla="*/ 735807 w 1721644"/>
                        <a:gd name="connsiteY71" fmla="*/ 14287 h 1145381"/>
                        <a:gd name="connsiteX72" fmla="*/ 676275 w 1721644"/>
                        <a:gd name="connsiteY72" fmla="*/ 52387 h 1145381"/>
                        <a:gd name="connsiteX73" fmla="*/ 635794 w 1721644"/>
                        <a:gd name="connsiteY73" fmla="*/ 85725 h 1145381"/>
                        <a:gd name="connsiteX74" fmla="*/ 661988 w 1721644"/>
                        <a:gd name="connsiteY74" fmla="*/ 159544 h 1145381"/>
                        <a:gd name="connsiteX75" fmla="*/ 685800 w 1721644"/>
                        <a:gd name="connsiteY75" fmla="*/ 254794 h 1145381"/>
                        <a:gd name="connsiteX76" fmla="*/ 681038 w 1721644"/>
                        <a:gd name="connsiteY76" fmla="*/ 266700 h 1145381"/>
                        <a:gd name="connsiteX77" fmla="*/ 478632 w 1721644"/>
                        <a:gd name="connsiteY77" fmla="*/ 428625 h 1145381"/>
                        <a:gd name="connsiteX78" fmla="*/ 414338 w 1721644"/>
                        <a:gd name="connsiteY78" fmla="*/ 376237 h 1145381"/>
                        <a:gd name="connsiteX79" fmla="*/ 371475 w 1721644"/>
                        <a:gd name="connsiteY79" fmla="*/ 433387 h 1145381"/>
                        <a:gd name="connsiteX80" fmla="*/ 152400 w 1721644"/>
                        <a:gd name="connsiteY80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242888 w 1721644"/>
                        <a:gd name="connsiteY10" fmla="*/ 933450 h 1145381"/>
                        <a:gd name="connsiteX11" fmla="*/ 307182 w 1721644"/>
                        <a:gd name="connsiteY11" fmla="*/ 933450 h 1145381"/>
                        <a:gd name="connsiteX12" fmla="*/ 321469 w 1721644"/>
                        <a:gd name="connsiteY12" fmla="*/ 976312 h 1145381"/>
                        <a:gd name="connsiteX13" fmla="*/ 347663 w 1721644"/>
                        <a:gd name="connsiteY13" fmla="*/ 1000125 h 1145381"/>
                        <a:gd name="connsiteX14" fmla="*/ 376238 w 1721644"/>
                        <a:gd name="connsiteY14" fmla="*/ 1028700 h 1145381"/>
                        <a:gd name="connsiteX15" fmla="*/ 438150 w 1721644"/>
                        <a:gd name="connsiteY15" fmla="*/ 1050131 h 1145381"/>
                        <a:gd name="connsiteX16" fmla="*/ 542925 w 1721644"/>
                        <a:gd name="connsiteY16" fmla="*/ 1035844 h 1145381"/>
                        <a:gd name="connsiteX17" fmla="*/ 557213 w 1721644"/>
                        <a:gd name="connsiteY17" fmla="*/ 1050131 h 1145381"/>
                        <a:gd name="connsiteX18" fmla="*/ 597694 w 1721644"/>
                        <a:gd name="connsiteY18" fmla="*/ 1014412 h 1145381"/>
                        <a:gd name="connsiteX19" fmla="*/ 621507 w 1721644"/>
                        <a:gd name="connsiteY19" fmla="*/ 990600 h 1145381"/>
                        <a:gd name="connsiteX20" fmla="*/ 633413 w 1721644"/>
                        <a:gd name="connsiteY20" fmla="*/ 954881 h 1145381"/>
                        <a:gd name="connsiteX21" fmla="*/ 671513 w 1721644"/>
                        <a:gd name="connsiteY21" fmla="*/ 940594 h 1145381"/>
                        <a:gd name="connsiteX22" fmla="*/ 711994 w 1721644"/>
                        <a:gd name="connsiteY22" fmla="*/ 969169 h 1145381"/>
                        <a:gd name="connsiteX23" fmla="*/ 728663 w 1721644"/>
                        <a:gd name="connsiteY23" fmla="*/ 1004887 h 1145381"/>
                        <a:gd name="connsiteX24" fmla="*/ 762000 w 1721644"/>
                        <a:gd name="connsiteY24" fmla="*/ 1038225 h 1145381"/>
                        <a:gd name="connsiteX25" fmla="*/ 835819 w 1721644"/>
                        <a:gd name="connsiteY25" fmla="*/ 1035844 h 1145381"/>
                        <a:gd name="connsiteX26" fmla="*/ 871538 w 1721644"/>
                        <a:gd name="connsiteY26" fmla="*/ 1071562 h 1145381"/>
                        <a:gd name="connsiteX27" fmla="*/ 883444 w 1721644"/>
                        <a:gd name="connsiteY27" fmla="*/ 1131094 h 1145381"/>
                        <a:gd name="connsiteX28" fmla="*/ 916782 w 1721644"/>
                        <a:gd name="connsiteY28" fmla="*/ 1116806 h 1145381"/>
                        <a:gd name="connsiteX29" fmla="*/ 990600 w 1721644"/>
                        <a:gd name="connsiteY29" fmla="*/ 1131094 h 1145381"/>
                        <a:gd name="connsiteX30" fmla="*/ 1047750 w 1721644"/>
                        <a:gd name="connsiteY30" fmla="*/ 1145381 h 1145381"/>
                        <a:gd name="connsiteX31" fmla="*/ 1095375 w 1721644"/>
                        <a:gd name="connsiteY31" fmla="*/ 1128712 h 1145381"/>
                        <a:gd name="connsiteX32" fmla="*/ 1114425 w 1721644"/>
                        <a:gd name="connsiteY32" fmla="*/ 1045369 h 1145381"/>
                        <a:gd name="connsiteX33" fmla="*/ 1254919 w 1721644"/>
                        <a:gd name="connsiteY33" fmla="*/ 940594 h 1145381"/>
                        <a:gd name="connsiteX34" fmla="*/ 1295400 w 1721644"/>
                        <a:gd name="connsiteY34" fmla="*/ 931069 h 1145381"/>
                        <a:gd name="connsiteX35" fmla="*/ 1307307 w 1721644"/>
                        <a:gd name="connsiteY35" fmla="*/ 983456 h 1145381"/>
                        <a:gd name="connsiteX36" fmla="*/ 1295400 w 1721644"/>
                        <a:gd name="connsiteY36" fmla="*/ 1021556 h 1145381"/>
                        <a:gd name="connsiteX37" fmla="*/ 1376363 w 1721644"/>
                        <a:gd name="connsiteY37" fmla="*/ 1040606 h 1145381"/>
                        <a:gd name="connsiteX38" fmla="*/ 1471613 w 1721644"/>
                        <a:gd name="connsiteY38" fmla="*/ 942975 h 1145381"/>
                        <a:gd name="connsiteX39" fmla="*/ 1497807 w 1721644"/>
                        <a:gd name="connsiteY39" fmla="*/ 890587 h 1145381"/>
                        <a:gd name="connsiteX40" fmla="*/ 1566863 w 1721644"/>
                        <a:gd name="connsiteY40" fmla="*/ 854869 h 1145381"/>
                        <a:gd name="connsiteX41" fmla="*/ 1616869 w 1721644"/>
                        <a:gd name="connsiteY41" fmla="*/ 800100 h 1145381"/>
                        <a:gd name="connsiteX42" fmla="*/ 1676400 w 1721644"/>
                        <a:gd name="connsiteY42" fmla="*/ 788194 h 1145381"/>
                        <a:gd name="connsiteX43" fmla="*/ 1712119 w 1721644"/>
                        <a:gd name="connsiteY43" fmla="*/ 762000 h 1145381"/>
                        <a:gd name="connsiteX44" fmla="*/ 1714500 w 1721644"/>
                        <a:gd name="connsiteY44" fmla="*/ 740569 h 1145381"/>
                        <a:gd name="connsiteX45" fmla="*/ 1678782 w 1721644"/>
                        <a:gd name="connsiteY45" fmla="*/ 711994 h 1145381"/>
                        <a:gd name="connsiteX46" fmla="*/ 1721644 w 1721644"/>
                        <a:gd name="connsiteY46" fmla="*/ 642937 h 1145381"/>
                        <a:gd name="connsiteX47" fmla="*/ 1700213 w 1721644"/>
                        <a:gd name="connsiteY47" fmla="*/ 585787 h 1145381"/>
                        <a:gd name="connsiteX48" fmla="*/ 1714500 w 1721644"/>
                        <a:gd name="connsiteY48" fmla="*/ 523875 h 1145381"/>
                        <a:gd name="connsiteX49" fmla="*/ 1721644 w 1721644"/>
                        <a:gd name="connsiteY49" fmla="*/ 473869 h 1145381"/>
                        <a:gd name="connsiteX50" fmla="*/ 1714500 w 1721644"/>
                        <a:gd name="connsiteY50" fmla="*/ 359569 h 1145381"/>
                        <a:gd name="connsiteX51" fmla="*/ 1702594 w 1721644"/>
                        <a:gd name="connsiteY51" fmla="*/ 314325 h 1145381"/>
                        <a:gd name="connsiteX52" fmla="*/ 1671638 w 1721644"/>
                        <a:gd name="connsiteY52" fmla="*/ 276225 h 1145381"/>
                        <a:gd name="connsiteX53" fmla="*/ 1626394 w 1721644"/>
                        <a:gd name="connsiteY53" fmla="*/ 273844 h 1145381"/>
                        <a:gd name="connsiteX54" fmla="*/ 1521619 w 1721644"/>
                        <a:gd name="connsiteY54" fmla="*/ 259556 h 1145381"/>
                        <a:gd name="connsiteX55" fmla="*/ 1488282 w 1721644"/>
                        <a:gd name="connsiteY55" fmla="*/ 250031 h 1145381"/>
                        <a:gd name="connsiteX56" fmla="*/ 1473994 w 1721644"/>
                        <a:gd name="connsiteY56" fmla="*/ 183356 h 1145381"/>
                        <a:gd name="connsiteX57" fmla="*/ 1388269 w 1721644"/>
                        <a:gd name="connsiteY57" fmla="*/ 207169 h 1145381"/>
                        <a:gd name="connsiteX58" fmla="*/ 1331119 w 1721644"/>
                        <a:gd name="connsiteY58" fmla="*/ 223837 h 1145381"/>
                        <a:gd name="connsiteX59" fmla="*/ 1295400 w 1721644"/>
                        <a:gd name="connsiteY59" fmla="*/ 202406 h 1145381"/>
                        <a:gd name="connsiteX60" fmla="*/ 1214438 w 1721644"/>
                        <a:gd name="connsiteY60" fmla="*/ 111919 h 1145381"/>
                        <a:gd name="connsiteX61" fmla="*/ 1164432 w 1721644"/>
                        <a:gd name="connsiteY61" fmla="*/ 121444 h 1145381"/>
                        <a:gd name="connsiteX62" fmla="*/ 1083469 w 1721644"/>
                        <a:gd name="connsiteY62" fmla="*/ 100012 h 1145381"/>
                        <a:gd name="connsiteX63" fmla="*/ 1050132 w 1721644"/>
                        <a:gd name="connsiteY63" fmla="*/ 83344 h 1145381"/>
                        <a:gd name="connsiteX64" fmla="*/ 995363 w 1721644"/>
                        <a:gd name="connsiteY64" fmla="*/ 135731 h 1145381"/>
                        <a:gd name="connsiteX65" fmla="*/ 966788 w 1721644"/>
                        <a:gd name="connsiteY65" fmla="*/ 107156 h 1145381"/>
                        <a:gd name="connsiteX66" fmla="*/ 940594 w 1721644"/>
                        <a:gd name="connsiteY66" fmla="*/ 76200 h 1145381"/>
                        <a:gd name="connsiteX67" fmla="*/ 895350 w 1721644"/>
                        <a:gd name="connsiteY67" fmla="*/ 59531 h 1145381"/>
                        <a:gd name="connsiteX68" fmla="*/ 897732 w 1721644"/>
                        <a:gd name="connsiteY68" fmla="*/ 14287 h 1145381"/>
                        <a:gd name="connsiteX69" fmla="*/ 862013 w 1721644"/>
                        <a:gd name="connsiteY69" fmla="*/ 0 h 1145381"/>
                        <a:gd name="connsiteX70" fmla="*/ 814388 w 1721644"/>
                        <a:gd name="connsiteY70" fmla="*/ 4762 h 1145381"/>
                        <a:gd name="connsiteX71" fmla="*/ 800100 w 1721644"/>
                        <a:gd name="connsiteY71" fmla="*/ 23812 h 1145381"/>
                        <a:gd name="connsiteX72" fmla="*/ 735807 w 1721644"/>
                        <a:gd name="connsiteY72" fmla="*/ 14287 h 1145381"/>
                        <a:gd name="connsiteX73" fmla="*/ 676275 w 1721644"/>
                        <a:gd name="connsiteY73" fmla="*/ 52387 h 1145381"/>
                        <a:gd name="connsiteX74" fmla="*/ 635794 w 1721644"/>
                        <a:gd name="connsiteY74" fmla="*/ 85725 h 1145381"/>
                        <a:gd name="connsiteX75" fmla="*/ 661988 w 1721644"/>
                        <a:gd name="connsiteY75" fmla="*/ 159544 h 1145381"/>
                        <a:gd name="connsiteX76" fmla="*/ 685800 w 1721644"/>
                        <a:gd name="connsiteY76" fmla="*/ 254794 h 1145381"/>
                        <a:gd name="connsiteX77" fmla="*/ 681038 w 1721644"/>
                        <a:gd name="connsiteY77" fmla="*/ 266700 h 1145381"/>
                        <a:gd name="connsiteX78" fmla="*/ 478632 w 1721644"/>
                        <a:gd name="connsiteY78" fmla="*/ 428625 h 1145381"/>
                        <a:gd name="connsiteX79" fmla="*/ 414338 w 1721644"/>
                        <a:gd name="connsiteY79" fmla="*/ 376237 h 1145381"/>
                        <a:gd name="connsiteX80" fmla="*/ 371475 w 1721644"/>
                        <a:gd name="connsiteY80" fmla="*/ 433387 h 1145381"/>
                        <a:gd name="connsiteX81" fmla="*/ 152400 w 1721644"/>
                        <a:gd name="connsiteY81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247651 w 1721644"/>
                        <a:gd name="connsiteY10" fmla="*/ 940594 h 1145381"/>
                        <a:gd name="connsiteX11" fmla="*/ 307182 w 1721644"/>
                        <a:gd name="connsiteY11" fmla="*/ 933450 h 1145381"/>
                        <a:gd name="connsiteX12" fmla="*/ 321469 w 1721644"/>
                        <a:gd name="connsiteY12" fmla="*/ 976312 h 1145381"/>
                        <a:gd name="connsiteX13" fmla="*/ 347663 w 1721644"/>
                        <a:gd name="connsiteY13" fmla="*/ 1000125 h 1145381"/>
                        <a:gd name="connsiteX14" fmla="*/ 376238 w 1721644"/>
                        <a:gd name="connsiteY14" fmla="*/ 1028700 h 1145381"/>
                        <a:gd name="connsiteX15" fmla="*/ 438150 w 1721644"/>
                        <a:gd name="connsiteY15" fmla="*/ 1050131 h 1145381"/>
                        <a:gd name="connsiteX16" fmla="*/ 542925 w 1721644"/>
                        <a:gd name="connsiteY16" fmla="*/ 1035844 h 1145381"/>
                        <a:gd name="connsiteX17" fmla="*/ 557213 w 1721644"/>
                        <a:gd name="connsiteY17" fmla="*/ 1050131 h 1145381"/>
                        <a:gd name="connsiteX18" fmla="*/ 597694 w 1721644"/>
                        <a:gd name="connsiteY18" fmla="*/ 1014412 h 1145381"/>
                        <a:gd name="connsiteX19" fmla="*/ 621507 w 1721644"/>
                        <a:gd name="connsiteY19" fmla="*/ 990600 h 1145381"/>
                        <a:gd name="connsiteX20" fmla="*/ 633413 w 1721644"/>
                        <a:gd name="connsiteY20" fmla="*/ 954881 h 1145381"/>
                        <a:gd name="connsiteX21" fmla="*/ 671513 w 1721644"/>
                        <a:gd name="connsiteY21" fmla="*/ 940594 h 1145381"/>
                        <a:gd name="connsiteX22" fmla="*/ 711994 w 1721644"/>
                        <a:gd name="connsiteY22" fmla="*/ 969169 h 1145381"/>
                        <a:gd name="connsiteX23" fmla="*/ 728663 w 1721644"/>
                        <a:gd name="connsiteY23" fmla="*/ 1004887 h 1145381"/>
                        <a:gd name="connsiteX24" fmla="*/ 762000 w 1721644"/>
                        <a:gd name="connsiteY24" fmla="*/ 1038225 h 1145381"/>
                        <a:gd name="connsiteX25" fmla="*/ 835819 w 1721644"/>
                        <a:gd name="connsiteY25" fmla="*/ 1035844 h 1145381"/>
                        <a:gd name="connsiteX26" fmla="*/ 871538 w 1721644"/>
                        <a:gd name="connsiteY26" fmla="*/ 1071562 h 1145381"/>
                        <a:gd name="connsiteX27" fmla="*/ 883444 w 1721644"/>
                        <a:gd name="connsiteY27" fmla="*/ 1131094 h 1145381"/>
                        <a:gd name="connsiteX28" fmla="*/ 916782 w 1721644"/>
                        <a:gd name="connsiteY28" fmla="*/ 1116806 h 1145381"/>
                        <a:gd name="connsiteX29" fmla="*/ 990600 w 1721644"/>
                        <a:gd name="connsiteY29" fmla="*/ 1131094 h 1145381"/>
                        <a:gd name="connsiteX30" fmla="*/ 1047750 w 1721644"/>
                        <a:gd name="connsiteY30" fmla="*/ 1145381 h 1145381"/>
                        <a:gd name="connsiteX31" fmla="*/ 1095375 w 1721644"/>
                        <a:gd name="connsiteY31" fmla="*/ 1128712 h 1145381"/>
                        <a:gd name="connsiteX32" fmla="*/ 1114425 w 1721644"/>
                        <a:gd name="connsiteY32" fmla="*/ 1045369 h 1145381"/>
                        <a:gd name="connsiteX33" fmla="*/ 1254919 w 1721644"/>
                        <a:gd name="connsiteY33" fmla="*/ 940594 h 1145381"/>
                        <a:gd name="connsiteX34" fmla="*/ 1295400 w 1721644"/>
                        <a:gd name="connsiteY34" fmla="*/ 931069 h 1145381"/>
                        <a:gd name="connsiteX35" fmla="*/ 1307307 w 1721644"/>
                        <a:gd name="connsiteY35" fmla="*/ 983456 h 1145381"/>
                        <a:gd name="connsiteX36" fmla="*/ 1295400 w 1721644"/>
                        <a:gd name="connsiteY36" fmla="*/ 1021556 h 1145381"/>
                        <a:gd name="connsiteX37" fmla="*/ 1376363 w 1721644"/>
                        <a:gd name="connsiteY37" fmla="*/ 1040606 h 1145381"/>
                        <a:gd name="connsiteX38" fmla="*/ 1471613 w 1721644"/>
                        <a:gd name="connsiteY38" fmla="*/ 942975 h 1145381"/>
                        <a:gd name="connsiteX39" fmla="*/ 1497807 w 1721644"/>
                        <a:gd name="connsiteY39" fmla="*/ 890587 h 1145381"/>
                        <a:gd name="connsiteX40" fmla="*/ 1566863 w 1721644"/>
                        <a:gd name="connsiteY40" fmla="*/ 854869 h 1145381"/>
                        <a:gd name="connsiteX41" fmla="*/ 1616869 w 1721644"/>
                        <a:gd name="connsiteY41" fmla="*/ 800100 h 1145381"/>
                        <a:gd name="connsiteX42" fmla="*/ 1676400 w 1721644"/>
                        <a:gd name="connsiteY42" fmla="*/ 788194 h 1145381"/>
                        <a:gd name="connsiteX43" fmla="*/ 1712119 w 1721644"/>
                        <a:gd name="connsiteY43" fmla="*/ 762000 h 1145381"/>
                        <a:gd name="connsiteX44" fmla="*/ 1714500 w 1721644"/>
                        <a:gd name="connsiteY44" fmla="*/ 740569 h 1145381"/>
                        <a:gd name="connsiteX45" fmla="*/ 1678782 w 1721644"/>
                        <a:gd name="connsiteY45" fmla="*/ 711994 h 1145381"/>
                        <a:gd name="connsiteX46" fmla="*/ 1721644 w 1721644"/>
                        <a:gd name="connsiteY46" fmla="*/ 642937 h 1145381"/>
                        <a:gd name="connsiteX47" fmla="*/ 1700213 w 1721644"/>
                        <a:gd name="connsiteY47" fmla="*/ 585787 h 1145381"/>
                        <a:gd name="connsiteX48" fmla="*/ 1714500 w 1721644"/>
                        <a:gd name="connsiteY48" fmla="*/ 523875 h 1145381"/>
                        <a:gd name="connsiteX49" fmla="*/ 1721644 w 1721644"/>
                        <a:gd name="connsiteY49" fmla="*/ 473869 h 1145381"/>
                        <a:gd name="connsiteX50" fmla="*/ 1714500 w 1721644"/>
                        <a:gd name="connsiteY50" fmla="*/ 359569 h 1145381"/>
                        <a:gd name="connsiteX51" fmla="*/ 1702594 w 1721644"/>
                        <a:gd name="connsiteY51" fmla="*/ 314325 h 1145381"/>
                        <a:gd name="connsiteX52" fmla="*/ 1671638 w 1721644"/>
                        <a:gd name="connsiteY52" fmla="*/ 276225 h 1145381"/>
                        <a:gd name="connsiteX53" fmla="*/ 1626394 w 1721644"/>
                        <a:gd name="connsiteY53" fmla="*/ 273844 h 1145381"/>
                        <a:gd name="connsiteX54" fmla="*/ 1521619 w 1721644"/>
                        <a:gd name="connsiteY54" fmla="*/ 259556 h 1145381"/>
                        <a:gd name="connsiteX55" fmla="*/ 1488282 w 1721644"/>
                        <a:gd name="connsiteY55" fmla="*/ 250031 h 1145381"/>
                        <a:gd name="connsiteX56" fmla="*/ 1473994 w 1721644"/>
                        <a:gd name="connsiteY56" fmla="*/ 183356 h 1145381"/>
                        <a:gd name="connsiteX57" fmla="*/ 1388269 w 1721644"/>
                        <a:gd name="connsiteY57" fmla="*/ 207169 h 1145381"/>
                        <a:gd name="connsiteX58" fmla="*/ 1331119 w 1721644"/>
                        <a:gd name="connsiteY58" fmla="*/ 223837 h 1145381"/>
                        <a:gd name="connsiteX59" fmla="*/ 1295400 w 1721644"/>
                        <a:gd name="connsiteY59" fmla="*/ 202406 h 1145381"/>
                        <a:gd name="connsiteX60" fmla="*/ 1214438 w 1721644"/>
                        <a:gd name="connsiteY60" fmla="*/ 111919 h 1145381"/>
                        <a:gd name="connsiteX61" fmla="*/ 1164432 w 1721644"/>
                        <a:gd name="connsiteY61" fmla="*/ 121444 h 1145381"/>
                        <a:gd name="connsiteX62" fmla="*/ 1083469 w 1721644"/>
                        <a:gd name="connsiteY62" fmla="*/ 100012 h 1145381"/>
                        <a:gd name="connsiteX63" fmla="*/ 1050132 w 1721644"/>
                        <a:gd name="connsiteY63" fmla="*/ 83344 h 1145381"/>
                        <a:gd name="connsiteX64" fmla="*/ 995363 w 1721644"/>
                        <a:gd name="connsiteY64" fmla="*/ 135731 h 1145381"/>
                        <a:gd name="connsiteX65" fmla="*/ 966788 w 1721644"/>
                        <a:gd name="connsiteY65" fmla="*/ 107156 h 1145381"/>
                        <a:gd name="connsiteX66" fmla="*/ 940594 w 1721644"/>
                        <a:gd name="connsiteY66" fmla="*/ 76200 h 1145381"/>
                        <a:gd name="connsiteX67" fmla="*/ 895350 w 1721644"/>
                        <a:gd name="connsiteY67" fmla="*/ 59531 h 1145381"/>
                        <a:gd name="connsiteX68" fmla="*/ 897732 w 1721644"/>
                        <a:gd name="connsiteY68" fmla="*/ 14287 h 1145381"/>
                        <a:gd name="connsiteX69" fmla="*/ 862013 w 1721644"/>
                        <a:gd name="connsiteY69" fmla="*/ 0 h 1145381"/>
                        <a:gd name="connsiteX70" fmla="*/ 814388 w 1721644"/>
                        <a:gd name="connsiteY70" fmla="*/ 4762 h 1145381"/>
                        <a:gd name="connsiteX71" fmla="*/ 800100 w 1721644"/>
                        <a:gd name="connsiteY71" fmla="*/ 23812 h 1145381"/>
                        <a:gd name="connsiteX72" fmla="*/ 735807 w 1721644"/>
                        <a:gd name="connsiteY72" fmla="*/ 14287 h 1145381"/>
                        <a:gd name="connsiteX73" fmla="*/ 676275 w 1721644"/>
                        <a:gd name="connsiteY73" fmla="*/ 52387 h 1145381"/>
                        <a:gd name="connsiteX74" fmla="*/ 635794 w 1721644"/>
                        <a:gd name="connsiteY74" fmla="*/ 85725 h 1145381"/>
                        <a:gd name="connsiteX75" fmla="*/ 661988 w 1721644"/>
                        <a:gd name="connsiteY75" fmla="*/ 159544 h 1145381"/>
                        <a:gd name="connsiteX76" fmla="*/ 685800 w 1721644"/>
                        <a:gd name="connsiteY76" fmla="*/ 254794 h 1145381"/>
                        <a:gd name="connsiteX77" fmla="*/ 681038 w 1721644"/>
                        <a:gd name="connsiteY77" fmla="*/ 266700 h 1145381"/>
                        <a:gd name="connsiteX78" fmla="*/ 478632 w 1721644"/>
                        <a:gd name="connsiteY78" fmla="*/ 428625 h 1145381"/>
                        <a:gd name="connsiteX79" fmla="*/ 414338 w 1721644"/>
                        <a:gd name="connsiteY79" fmla="*/ 376237 h 1145381"/>
                        <a:gd name="connsiteX80" fmla="*/ 371475 w 1721644"/>
                        <a:gd name="connsiteY80" fmla="*/ 433387 h 1145381"/>
                        <a:gd name="connsiteX81" fmla="*/ 152400 w 1721644"/>
                        <a:gd name="connsiteY81" fmla="*/ 431006 h 11453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</a:cxnLst>
                      <a:rect l="l" t="t" r="r" b="b"/>
                      <a:pathLst>
                        <a:path w="1721644" h="1145381">
                          <a:moveTo>
                            <a:pt x="152400" y="431006"/>
                          </a:moveTo>
                          <a:lnTo>
                            <a:pt x="109538" y="509587"/>
                          </a:lnTo>
                          <a:lnTo>
                            <a:pt x="83344" y="552450"/>
                          </a:lnTo>
                          <a:lnTo>
                            <a:pt x="0" y="654844"/>
                          </a:lnTo>
                          <a:lnTo>
                            <a:pt x="40482" y="695325"/>
                          </a:lnTo>
                          <a:cubicBezTo>
                            <a:pt x="49213" y="712391"/>
                            <a:pt x="44847" y="740171"/>
                            <a:pt x="45244" y="766762"/>
                          </a:cubicBezTo>
                          <a:cubicBezTo>
                            <a:pt x="45641" y="793353"/>
                            <a:pt x="41275" y="840581"/>
                            <a:pt x="54769" y="857250"/>
                          </a:cubicBezTo>
                          <a:lnTo>
                            <a:pt x="133350" y="857250"/>
                          </a:lnTo>
                          <a:lnTo>
                            <a:pt x="169070" y="881062"/>
                          </a:lnTo>
                          <a:lnTo>
                            <a:pt x="207169" y="938212"/>
                          </a:lnTo>
                          <a:lnTo>
                            <a:pt x="247651" y="940594"/>
                          </a:lnTo>
                          <a:lnTo>
                            <a:pt x="307182" y="933450"/>
                          </a:lnTo>
                          <a:lnTo>
                            <a:pt x="321469" y="976312"/>
                          </a:lnTo>
                          <a:lnTo>
                            <a:pt x="347663" y="1000125"/>
                          </a:lnTo>
                          <a:lnTo>
                            <a:pt x="376238" y="1028700"/>
                          </a:lnTo>
                          <a:lnTo>
                            <a:pt x="438150" y="1050131"/>
                          </a:lnTo>
                          <a:lnTo>
                            <a:pt x="542925" y="1035844"/>
                          </a:lnTo>
                          <a:lnTo>
                            <a:pt x="557213" y="1050131"/>
                          </a:lnTo>
                          <a:lnTo>
                            <a:pt x="597694" y="1014412"/>
                          </a:lnTo>
                          <a:lnTo>
                            <a:pt x="621507" y="990600"/>
                          </a:lnTo>
                          <a:lnTo>
                            <a:pt x="633413" y="954881"/>
                          </a:lnTo>
                          <a:lnTo>
                            <a:pt x="671513" y="940594"/>
                          </a:lnTo>
                          <a:lnTo>
                            <a:pt x="711994" y="969169"/>
                          </a:lnTo>
                          <a:lnTo>
                            <a:pt x="728663" y="1004887"/>
                          </a:lnTo>
                          <a:lnTo>
                            <a:pt x="762000" y="1038225"/>
                          </a:lnTo>
                          <a:lnTo>
                            <a:pt x="835819" y="1035844"/>
                          </a:lnTo>
                          <a:lnTo>
                            <a:pt x="871538" y="1071562"/>
                          </a:lnTo>
                          <a:lnTo>
                            <a:pt x="883444" y="1131094"/>
                          </a:lnTo>
                          <a:lnTo>
                            <a:pt x="916782" y="1116806"/>
                          </a:lnTo>
                          <a:lnTo>
                            <a:pt x="990600" y="1131094"/>
                          </a:lnTo>
                          <a:lnTo>
                            <a:pt x="1047750" y="1145381"/>
                          </a:lnTo>
                          <a:lnTo>
                            <a:pt x="1095375" y="1128712"/>
                          </a:lnTo>
                          <a:lnTo>
                            <a:pt x="1114425" y="1045369"/>
                          </a:lnTo>
                          <a:lnTo>
                            <a:pt x="1254919" y="940594"/>
                          </a:lnTo>
                          <a:lnTo>
                            <a:pt x="1295400" y="931069"/>
                          </a:lnTo>
                          <a:lnTo>
                            <a:pt x="1307307" y="983456"/>
                          </a:lnTo>
                          <a:lnTo>
                            <a:pt x="1295400" y="1021556"/>
                          </a:lnTo>
                          <a:lnTo>
                            <a:pt x="1376363" y="1040606"/>
                          </a:lnTo>
                          <a:lnTo>
                            <a:pt x="1471613" y="942975"/>
                          </a:lnTo>
                          <a:lnTo>
                            <a:pt x="1497807" y="890587"/>
                          </a:lnTo>
                          <a:lnTo>
                            <a:pt x="1566863" y="854869"/>
                          </a:lnTo>
                          <a:lnTo>
                            <a:pt x="1616869" y="800100"/>
                          </a:lnTo>
                          <a:lnTo>
                            <a:pt x="1676400" y="788194"/>
                          </a:lnTo>
                          <a:lnTo>
                            <a:pt x="1712119" y="762000"/>
                          </a:lnTo>
                          <a:lnTo>
                            <a:pt x="1714500" y="740569"/>
                          </a:lnTo>
                          <a:lnTo>
                            <a:pt x="1678782" y="711994"/>
                          </a:lnTo>
                          <a:lnTo>
                            <a:pt x="1721644" y="642937"/>
                          </a:lnTo>
                          <a:lnTo>
                            <a:pt x="1700213" y="585787"/>
                          </a:lnTo>
                          <a:lnTo>
                            <a:pt x="1714500" y="523875"/>
                          </a:lnTo>
                          <a:lnTo>
                            <a:pt x="1721644" y="473869"/>
                          </a:lnTo>
                          <a:lnTo>
                            <a:pt x="1714500" y="359569"/>
                          </a:lnTo>
                          <a:lnTo>
                            <a:pt x="1702594" y="314325"/>
                          </a:lnTo>
                          <a:lnTo>
                            <a:pt x="1671638" y="276225"/>
                          </a:lnTo>
                          <a:lnTo>
                            <a:pt x="1626394" y="273844"/>
                          </a:lnTo>
                          <a:lnTo>
                            <a:pt x="1521619" y="259556"/>
                          </a:lnTo>
                          <a:lnTo>
                            <a:pt x="1488282" y="250031"/>
                          </a:lnTo>
                          <a:lnTo>
                            <a:pt x="1473994" y="183356"/>
                          </a:lnTo>
                          <a:lnTo>
                            <a:pt x="1388269" y="207169"/>
                          </a:lnTo>
                          <a:lnTo>
                            <a:pt x="1331119" y="223837"/>
                          </a:lnTo>
                          <a:lnTo>
                            <a:pt x="1295400" y="202406"/>
                          </a:lnTo>
                          <a:lnTo>
                            <a:pt x="1214438" y="111919"/>
                          </a:lnTo>
                          <a:lnTo>
                            <a:pt x="1164432" y="121444"/>
                          </a:lnTo>
                          <a:lnTo>
                            <a:pt x="1083469" y="100012"/>
                          </a:lnTo>
                          <a:lnTo>
                            <a:pt x="1050132" y="83344"/>
                          </a:lnTo>
                          <a:lnTo>
                            <a:pt x="995363" y="135731"/>
                          </a:lnTo>
                          <a:lnTo>
                            <a:pt x="966788" y="107156"/>
                          </a:lnTo>
                          <a:lnTo>
                            <a:pt x="940594" y="76200"/>
                          </a:lnTo>
                          <a:lnTo>
                            <a:pt x="895350" y="59531"/>
                          </a:lnTo>
                          <a:lnTo>
                            <a:pt x="897732" y="14287"/>
                          </a:lnTo>
                          <a:lnTo>
                            <a:pt x="862013" y="0"/>
                          </a:lnTo>
                          <a:lnTo>
                            <a:pt x="814388" y="4762"/>
                          </a:lnTo>
                          <a:lnTo>
                            <a:pt x="800100" y="23812"/>
                          </a:lnTo>
                          <a:lnTo>
                            <a:pt x="735807" y="14287"/>
                          </a:lnTo>
                          <a:lnTo>
                            <a:pt x="676275" y="52387"/>
                          </a:lnTo>
                          <a:lnTo>
                            <a:pt x="635794" y="85725"/>
                          </a:lnTo>
                          <a:lnTo>
                            <a:pt x="661988" y="159544"/>
                          </a:lnTo>
                          <a:lnTo>
                            <a:pt x="685800" y="254794"/>
                          </a:lnTo>
                          <a:lnTo>
                            <a:pt x="681038" y="266700"/>
                          </a:lnTo>
                          <a:lnTo>
                            <a:pt x="478632" y="428625"/>
                          </a:lnTo>
                          <a:lnTo>
                            <a:pt x="414338" y="376237"/>
                          </a:lnTo>
                          <a:lnTo>
                            <a:pt x="371475" y="433387"/>
                          </a:lnTo>
                          <a:lnTo>
                            <a:pt x="152400" y="431006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/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2" name="Rectangle 18"/>
                    <p:cNvSpPr txBox="1">
                      <a:spLocks noChangeArrowheads="1"/>
                    </p:cNvSpPr>
                    <p:nvPr/>
                  </p:nvSpPr>
                  <p:spPr bwMode="auto">
                    <a:xfrm>
                      <a:off x="4140295" y="1610904"/>
                      <a:ext cx="684053" cy="10881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square" lIns="0" tIns="0" rIns="0" bIns="0">
                      <a:spAutoFit/>
                    </a:bodyPr>
                    <a:lstStyle>
                      <a:defPPr>
                        <a:defRPr lang="ru-RU"/>
                      </a:defPPr>
                      <a:lvl1pPr defTabSz="895529">
                        <a:lnSpc>
                          <a:spcPct val="100000"/>
                        </a:lnSpc>
                        <a:spcBef>
                          <a:spcPct val="0"/>
                        </a:spcBef>
                        <a:buClr>
                          <a:srgbClr val="44546A"/>
                        </a:buClr>
                        <a:buFont typeface="Arial" panose="020B0604020202020204" pitchFamily="34" charset="0"/>
                        <a:buNone/>
                        <a:defRPr sz="1100" kern="0"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193675" indent="-192088" defTabSz="8953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buChar char="•"/>
                        <a:defRPr sz="2400">
                          <a:latin typeface="Calibri" panose="020F0502020204030204" pitchFamily="34" charset="0"/>
                        </a:defRPr>
                      </a:lvl2pPr>
                      <a:lvl3pPr marL="457200" indent="-261938" defTabSz="8953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3pPr>
                      <a:lvl4pPr marL="614363" indent="-155575" defTabSz="8953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4pPr>
                      <a:lvl5pPr marL="749300" indent="-130175" defTabSz="8953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5pPr>
                      <a:lvl6pPr marL="1206500" indent="-130175" defTabSz="895350"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6pPr>
                      <a:lvl7pPr marL="1663700" indent="-130175" defTabSz="895350"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7pPr>
                      <a:lvl8pPr marL="2120900" indent="-130175" defTabSz="895350"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8pPr>
                      <a:lvl9pPr marL="2578100" indent="-130175" defTabSz="895350"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9pPr>
                    </a:lstStyle>
                    <a:p>
                      <a:pPr defTabSz="503710">
                        <a:defRPr/>
                      </a:pPr>
                      <a:r>
                        <a:rPr lang="ru-RU" altLang="ru-RU" b="1" dirty="0" err="1">
                          <a:solidFill>
                            <a:prstClr val="black"/>
                          </a:solidFill>
                          <a:latin typeface="+mn-lt"/>
                        </a:rPr>
                        <a:t>Нұр-Сұлтан</a:t>
                      </a:r>
                      <a:endParaRPr lang="en-US" altLang="ru-RU" sz="700" b="1" dirty="0">
                        <a:solidFill>
                          <a:prstClr val="black"/>
                        </a:solidFill>
                        <a:latin typeface="+mn-lt"/>
                      </a:endParaRPr>
                    </a:p>
                  </p:txBody>
                </p:sp>
                <p:sp>
                  <p:nvSpPr>
                    <p:cNvPr id="133" name="Овал 132"/>
                    <p:cNvSpPr/>
                    <p:nvPr/>
                  </p:nvSpPr>
                  <p:spPr>
                    <a:xfrm>
                      <a:off x="4779791" y="1767139"/>
                      <a:ext cx="88398" cy="78287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12700" cap="flat" cmpd="sng" algn="ctr">
                      <a:solidFill>
                        <a:srgbClr val="5B9BD5">
                          <a:shade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>
                        <a:solidFill>
                          <a:srgbClr val="A5A5A5">
                            <a:lumMod val="50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</p:grpSp>
              <p:sp>
                <p:nvSpPr>
                  <p:cNvPr id="100" name="Овал 99"/>
                  <p:cNvSpPr/>
                  <p:nvPr/>
                </p:nvSpPr>
                <p:spPr bwMode="auto">
                  <a:xfrm>
                    <a:off x="6632886" y="3370662"/>
                    <a:ext cx="98336" cy="92816"/>
                  </a:xfrm>
                  <a:prstGeom prst="ellipse">
                    <a:avLst/>
                  </a:prstGeom>
                  <a:solidFill>
                    <a:schemeClr val="accent3">
                      <a:lumMod val="20000"/>
                      <a:lumOff val="80000"/>
                    </a:schemeClr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lIns="91439" tIns="45719" rIns="91439" bIns="45719" anchor="ctr"/>
                  <a:lstStyle/>
                  <a:p>
                    <a:pPr algn="ctr" defTabSz="514324">
                      <a:defRPr/>
                    </a:pPr>
                    <a:endParaRPr lang="ru-RU" sz="600" kern="0">
                      <a:solidFill>
                        <a:srgbClr val="A5A5A5">
                          <a:lumMod val="50000"/>
                        </a:srgbClr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1" name="Rectangle 18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679028" y="3479845"/>
                    <a:ext cx="767019" cy="110287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>
                    <a:spAutoFit/>
                  </a:bodyPr>
                  <a:lstStyle>
                    <a:defPPr>
                      <a:defRPr lang="ru-RU"/>
                    </a:defPPr>
                    <a:lvl1pPr defTabSz="895529">
                      <a:lnSpc>
                        <a:spcPct val="100000"/>
                      </a:lnSpc>
                      <a:spcBef>
                        <a:spcPct val="0"/>
                      </a:spcBef>
                      <a:buClr>
                        <a:srgbClr val="44546A"/>
                      </a:buClr>
                      <a:buFont typeface="Arial" panose="020B0604020202020204" pitchFamily="34" charset="0"/>
                      <a:buNone/>
                      <a:defRPr sz="1100" kern="0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193675" indent="-19208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latin typeface="Calibri" panose="020F0502020204030204" pitchFamily="34" charset="0"/>
                      </a:defRPr>
                    </a:lvl2pPr>
                    <a:lvl3pPr marL="457200" indent="-26193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3pPr>
                    <a:lvl4pPr marL="614363" indent="-1555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4pPr>
                    <a:lvl5pPr marL="749300" indent="-1301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5pPr>
                    <a:lvl6pPr marL="12065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6pPr>
                    <a:lvl7pPr marL="16637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7pPr>
                    <a:lvl8pPr marL="21209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8pPr>
                    <a:lvl9pPr marL="25781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9pPr>
                  </a:lstStyle>
                  <a:p>
                    <a:pPr defTabSz="503710">
                      <a:defRPr/>
                    </a:pPr>
                    <a:r>
                      <a:rPr lang="ru-RU" altLang="ru-RU" sz="800" b="1" dirty="0">
                        <a:solidFill>
                          <a:prstClr val="black"/>
                        </a:solidFill>
                        <a:latin typeface="+mn-lt"/>
                      </a:rPr>
                      <a:t>Семей</a:t>
                    </a:r>
                    <a:endParaRPr lang="en-US" altLang="ru-RU" sz="500" b="1" dirty="0">
                      <a:solidFill>
                        <a:prstClr val="black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102" name="Овал 101"/>
                  <p:cNvSpPr/>
                  <p:nvPr/>
                </p:nvSpPr>
                <p:spPr bwMode="auto">
                  <a:xfrm>
                    <a:off x="6337878" y="2083063"/>
                    <a:ext cx="98335" cy="92814"/>
                  </a:xfrm>
                  <a:prstGeom prst="ellipse">
                    <a:avLst/>
                  </a:prstGeom>
                  <a:solidFill>
                    <a:schemeClr val="accent3">
                      <a:lumMod val="20000"/>
                      <a:lumOff val="80000"/>
                    </a:schemeClr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lIns="91439" tIns="45719" rIns="91439" bIns="45719" anchor="ctr"/>
                  <a:lstStyle/>
                  <a:p>
                    <a:pPr algn="ctr" defTabSz="514324">
                      <a:defRPr/>
                    </a:pPr>
                    <a:endParaRPr lang="ru-RU" sz="600" kern="0">
                      <a:solidFill>
                        <a:srgbClr val="A5A5A5">
                          <a:lumMod val="50000"/>
                        </a:srgbClr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3" name="Rectangle 18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6512561" y="2078181"/>
                    <a:ext cx="817080" cy="96501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>
                    <a:spAutoFit/>
                  </a:bodyPr>
                  <a:lstStyle>
                    <a:defPPr>
                      <a:defRPr lang="ru-RU"/>
                    </a:defPPr>
                    <a:lvl1pPr defTabSz="895529">
                      <a:lnSpc>
                        <a:spcPct val="100000"/>
                      </a:lnSpc>
                      <a:spcBef>
                        <a:spcPct val="0"/>
                      </a:spcBef>
                      <a:buClr>
                        <a:srgbClr val="44546A"/>
                      </a:buClr>
                      <a:buFont typeface="Arial" panose="020B0604020202020204" pitchFamily="34" charset="0"/>
                      <a:buNone/>
                      <a:defRPr sz="1100" kern="0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193675" indent="-19208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latin typeface="Calibri" panose="020F0502020204030204" pitchFamily="34" charset="0"/>
                      </a:defRPr>
                    </a:lvl2pPr>
                    <a:lvl3pPr marL="457200" indent="-26193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3pPr>
                    <a:lvl4pPr marL="614363" indent="-1555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4pPr>
                    <a:lvl5pPr marL="749300" indent="-1301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5pPr>
                    <a:lvl6pPr marL="12065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6pPr>
                    <a:lvl7pPr marL="16637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7pPr>
                    <a:lvl8pPr marL="21209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8pPr>
                    <a:lvl9pPr marL="25781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9pPr>
                  </a:lstStyle>
                  <a:p>
                    <a:pPr defTabSz="503710">
                      <a:defRPr/>
                    </a:pPr>
                    <a:r>
                      <a:rPr lang="ru-RU" altLang="ru-RU" sz="700" b="1" dirty="0" err="1">
                        <a:solidFill>
                          <a:prstClr val="black"/>
                        </a:solidFill>
                        <a:latin typeface="+mn-lt"/>
                      </a:rPr>
                      <a:t>Новосібір</a:t>
                    </a:r>
                    <a:endParaRPr lang="en-US" altLang="ru-RU" sz="500" b="1" dirty="0">
                      <a:solidFill>
                        <a:prstClr val="black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104" name="Rectangle 18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6543988" y="2461994"/>
                    <a:ext cx="817080" cy="96501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>
                    <a:spAutoFit/>
                  </a:bodyPr>
                  <a:lstStyle>
                    <a:defPPr>
                      <a:defRPr lang="ru-RU"/>
                    </a:defPPr>
                    <a:lvl1pPr defTabSz="895529">
                      <a:lnSpc>
                        <a:spcPct val="100000"/>
                      </a:lnSpc>
                      <a:spcBef>
                        <a:spcPct val="0"/>
                      </a:spcBef>
                      <a:buClr>
                        <a:srgbClr val="44546A"/>
                      </a:buClr>
                      <a:buFont typeface="Arial" panose="020B0604020202020204" pitchFamily="34" charset="0"/>
                      <a:buNone/>
                      <a:defRPr sz="1100" kern="0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193675" indent="-19208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latin typeface="Calibri" panose="020F0502020204030204" pitchFamily="34" charset="0"/>
                      </a:defRPr>
                    </a:lvl2pPr>
                    <a:lvl3pPr marL="457200" indent="-26193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3pPr>
                    <a:lvl4pPr marL="614363" indent="-1555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4pPr>
                    <a:lvl5pPr marL="749300" indent="-1301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5pPr>
                    <a:lvl6pPr marL="12065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6pPr>
                    <a:lvl7pPr marL="16637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7pPr>
                    <a:lvl8pPr marL="21209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8pPr>
                    <a:lvl9pPr marL="25781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9pPr>
                  </a:lstStyle>
                  <a:p>
                    <a:pPr defTabSz="503710">
                      <a:defRPr/>
                    </a:pPr>
                    <a:r>
                      <a:rPr lang="ru-RU" altLang="ru-RU" sz="700" b="1" dirty="0" err="1">
                        <a:solidFill>
                          <a:prstClr val="black"/>
                        </a:solidFill>
                        <a:latin typeface="+mn-lt"/>
                      </a:rPr>
                      <a:t>Барнауыл</a:t>
                    </a:r>
                    <a:endParaRPr lang="en-US" altLang="ru-RU" sz="500" b="1" dirty="0">
                      <a:solidFill>
                        <a:prstClr val="black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105" name="Овал 104"/>
                  <p:cNvSpPr/>
                  <p:nvPr/>
                </p:nvSpPr>
                <p:spPr bwMode="auto">
                  <a:xfrm>
                    <a:off x="6420122" y="2462762"/>
                    <a:ext cx="98335" cy="94503"/>
                  </a:xfrm>
                  <a:prstGeom prst="ellipse">
                    <a:avLst/>
                  </a:prstGeom>
                  <a:solidFill>
                    <a:srgbClr val="FFFF00"/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lIns="91439" tIns="45719" rIns="91439" bIns="45719" anchor="ctr"/>
                  <a:lstStyle/>
                  <a:p>
                    <a:pPr algn="ctr" defTabSz="514324">
                      <a:defRPr/>
                    </a:pPr>
                    <a:endParaRPr lang="ru-RU" sz="600" kern="0">
                      <a:solidFill>
                        <a:srgbClr val="A5A5A5">
                          <a:lumMod val="50000"/>
                        </a:srgbClr>
                      </a:solidFill>
                      <a:cs typeface="Arial" panose="020B0604020202020204" pitchFamily="34" charset="0"/>
                    </a:endParaRPr>
                  </a:p>
                </p:txBody>
              </p:sp>
              <p:cxnSp>
                <p:nvCxnSpPr>
                  <p:cNvPr id="107" name="Прямая соединительная линия 106"/>
                  <p:cNvCxnSpPr>
                    <a:stCxn id="105" idx="4"/>
                    <a:endCxn id="111" idx="1"/>
                  </p:cNvCxnSpPr>
                  <p:nvPr/>
                </p:nvCxnSpPr>
                <p:spPr>
                  <a:xfrm flipH="1">
                    <a:off x="6201872" y="2557265"/>
                    <a:ext cx="267418" cy="530266"/>
                  </a:xfrm>
                  <a:prstGeom prst="line">
                    <a:avLst/>
                  </a:prstGeom>
                  <a:ln w="31750">
                    <a:solidFill>
                      <a:srgbClr val="FF0000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08" name="Овал 107"/>
                  <p:cNvSpPr/>
                  <p:nvPr/>
                </p:nvSpPr>
                <p:spPr bwMode="auto">
                  <a:xfrm>
                    <a:off x="5974931" y="3419599"/>
                    <a:ext cx="100123" cy="92814"/>
                  </a:xfrm>
                  <a:prstGeom prst="ellipse">
                    <a:avLst/>
                  </a:prstGeom>
                  <a:solidFill>
                    <a:schemeClr val="accent3">
                      <a:lumMod val="20000"/>
                      <a:lumOff val="80000"/>
                    </a:schemeClr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lIns="91439" tIns="45719" rIns="91439" bIns="45719" anchor="ctr"/>
                  <a:lstStyle/>
                  <a:p>
                    <a:pPr algn="ctr" defTabSz="514324">
                      <a:defRPr/>
                    </a:pPr>
                    <a:endParaRPr lang="ru-RU" sz="600" kern="0">
                      <a:solidFill>
                        <a:srgbClr val="A5A5A5">
                          <a:lumMod val="50000"/>
                        </a:srgbClr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9" name="TextBox 108"/>
                  <p:cNvSpPr txBox="1"/>
                  <p:nvPr/>
                </p:nvSpPr>
                <p:spPr>
                  <a:xfrm>
                    <a:off x="4304697" y="1887765"/>
                    <a:ext cx="3135288" cy="234357"/>
                  </a:xfrm>
                  <a:prstGeom prst="rect">
                    <a:avLst/>
                  </a:prstGeom>
                  <a:noFill/>
                </p:spPr>
                <p:txBody>
                  <a:bodyPr wrap="square" lIns="91439" tIns="45719" rIns="91439" bIns="45719">
                    <a:spAutoFit/>
                  </a:bodyPr>
                  <a:lstStyle/>
                  <a:p>
                    <a:pPr defTabSz="514324">
                      <a:defRPr/>
                    </a:pPr>
                    <a:r>
                      <a:rPr lang="ru-RU" sz="1100" dirty="0" err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cs typeface="Arial" panose="020B0604020202020204" pitchFamily="34" charset="0"/>
                      </a:rPr>
                      <a:t>Ресей</a:t>
                    </a:r>
                    <a:r>
                      <a:rPr lang="ru-RU" sz="11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cs typeface="Arial" panose="020B0604020202020204" pitchFamily="34" charset="0"/>
                      </a:rPr>
                      <a:t> </a:t>
                    </a:r>
                    <a:r>
                      <a:rPr lang="ru-RU" sz="1100" dirty="0" err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cs typeface="Arial" panose="020B0604020202020204" pitchFamily="34" charset="0"/>
                      </a:rPr>
                      <a:t>Федерациясы</a:t>
                    </a:r>
                    <a:endParaRPr lang="ru-RU" sz="105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cs typeface="Arial" panose="020B0604020202020204" pitchFamily="34" charset="0"/>
                    </a:endParaRPr>
                  </a:p>
                </p:txBody>
              </p:sp>
              <p:cxnSp>
                <p:nvCxnSpPr>
                  <p:cNvPr id="110" name="Прямая соединительная линия 109"/>
                  <p:cNvCxnSpPr/>
                  <p:nvPr/>
                </p:nvCxnSpPr>
                <p:spPr>
                  <a:xfrm flipV="1">
                    <a:off x="6096510" y="3443946"/>
                    <a:ext cx="521200" cy="28962"/>
                  </a:xfrm>
                  <a:prstGeom prst="line">
                    <a:avLst/>
                  </a:prstGeom>
                  <a:ln w="31750">
                    <a:solidFill>
                      <a:schemeClr val="accent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11" name="TextBox 110"/>
                  <p:cNvSpPr txBox="1"/>
                  <p:nvPr/>
                </p:nvSpPr>
                <p:spPr>
                  <a:xfrm>
                    <a:off x="6201872" y="2997924"/>
                    <a:ext cx="642931" cy="179214"/>
                  </a:xfrm>
                  <a:prstGeom prst="rect">
                    <a:avLst/>
                  </a:prstGeom>
                  <a:noFill/>
                </p:spPr>
                <p:txBody>
                  <a:bodyPr wrap="square" lIns="91439" tIns="45719" rIns="91439" bIns="45719" rtlCol="0">
                    <a:spAutoFit/>
                  </a:bodyPr>
                  <a:lstStyle/>
                  <a:p>
                    <a:r>
                      <a:rPr lang="ru-RU" sz="700" b="1" dirty="0">
                        <a:cs typeface="Arial" panose="020B0604020202020204" pitchFamily="34" charset="0"/>
                      </a:rPr>
                      <a:t>Веселоярск</a:t>
                    </a:r>
                  </a:p>
                </p:txBody>
              </p:sp>
              <p:sp>
                <p:nvSpPr>
                  <p:cNvPr id="112" name="TextBox 111"/>
                  <p:cNvSpPr txBox="1"/>
                  <p:nvPr/>
                </p:nvSpPr>
                <p:spPr>
                  <a:xfrm>
                    <a:off x="6677944" y="3370429"/>
                    <a:ext cx="1303394" cy="193000"/>
                  </a:xfrm>
                  <a:prstGeom prst="rect">
                    <a:avLst/>
                  </a:prstGeom>
                  <a:noFill/>
                </p:spPr>
                <p:txBody>
                  <a:bodyPr wrap="square" lIns="91439" tIns="45719" rIns="91439" bIns="45719" rtlCol="0">
                    <a:spAutoFit/>
                  </a:bodyPr>
                  <a:lstStyle/>
                  <a:p>
                    <a:r>
                      <a:rPr lang="ru-RU" sz="800" b="1" dirty="0" err="1">
                        <a:cs typeface="Arial" panose="020B0604020202020204" pitchFamily="34" charset="0"/>
                      </a:rPr>
                      <a:t>Өскемен</a:t>
                    </a:r>
                    <a:endParaRPr lang="ru-RU" sz="800" b="1" dirty="0">
                      <a:cs typeface="Arial" panose="020B0604020202020204" pitchFamily="34" charset="0"/>
                    </a:endParaRPr>
                  </a:p>
                </p:txBody>
              </p:sp>
              <p:cxnSp>
                <p:nvCxnSpPr>
                  <p:cNvPr id="113" name="Прямая соединительная линия 112"/>
                  <p:cNvCxnSpPr/>
                  <p:nvPr/>
                </p:nvCxnSpPr>
                <p:spPr>
                  <a:xfrm>
                    <a:off x="5347864" y="3255919"/>
                    <a:ext cx="606760" cy="203085"/>
                  </a:xfrm>
                  <a:prstGeom prst="line">
                    <a:avLst/>
                  </a:prstGeom>
                  <a:ln w="28575">
                    <a:solidFill>
                      <a:schemeClr val="accent1">
                        <a:lumMod val="50000"/>
                      </a:schemeClr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14" name="Овал 113"/>
                  <p:cNvSpPr/>
                  <p:nvPr/>
                </p:nvSpPr>
                <p:spPr bwMode="auto">
                  <a:xfrm>
                    <a:off x="5240808" y="3175288"/>
                    <a:ext cx="87313" cy="88900"/>
                  </a:xfrm>
                  <a:prstGeom prst="ellipse">
                    <a:avLst/>
                  </a:prstGeom>
                  <a:solidFill>
                    <a:schemeClr val="accent3">
                      <a:lumMod val="20000"/>
                      <a:lumOff val="80000"/>
                    </a:schemeClr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lIns="91439" tIns="45719" rIns="91439" bIns="45719" anchor="ctr"/>
                  <a:lstStyle/>
                  <a:p>
                    <a:pPr algn="ctr" defTabSz="514324">
                      <a:defRPr/>
                    </a:pPr>
                    <a:endParaRPr lang="ru-RU" sz="600" kern="0">
                      <a:solidFill>
                        <a:srgbClr val="A5A5A5">
                          <a:lumMod val="50000"/>
                        </a:srgbClr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15" name="Rectangle 18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4987178" y="3046101"/>
                    <a:ext cx="530881" cy="110287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>
                    <a:spAutoFit/>
                  </a:bodyPr>
                  <a:lstStyle>
                    <a:defPPr>
                      <a:defRPr lang="ru-RU"/>
                    </a:defPPr>
                    <a:lvl1pPr defTabSz="895529">
                      <a:lnSpc>
                        <a:spcPct val="100000"/>
                      </a:lnSpc>
                      <a:spcBef>
                        <a:spcPct val="0"/>
                      </a:spcBef>
                      <a:buClr>
                        <a:srgbClr val="44546A"/>
                      </a:buClr>
                      <a:buFont typeface="Arial" panose="020B0604020202020204" pitchFamily="34" charset="0"/>
                      <a:buNone/>
                      <a:defRPr sz="1100" kern="0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193675" indent="-19208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latin typeface="Calibri" panose="020F0502020204030204" pitchFamily="34" charset="0"/>
                      </a:defRPr>
                    </a:lvl2pPr>
                    <a:lvl3pPr marL="457200" indent="-26193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3pPr>
                    <a:lvl4pPr marL="614363" indent="-1555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4pPr>
                    <a:lvl5pPr marL="749300" indent="-1301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5pPr>
                    <a:lvl6pPr marL="12065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6pPr>
                    <a:lvl7pPr marL="16637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7pPr>
                    <a:lvl8pPr marL="21209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8pPr>
                    <a:lvl9pPr marL="25781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9pPr>
                  </a:lstStyle>
                  <a:p>
                    <a:pPr defTabSz="503710">
                      <a:defRPr/>
                    </a:pPr>
                    <a:r>
                      <a:rPr lang="ru-RU" altLang="ru-RU" sz="800" b="1" dirty="0">
                        <a:solidFill>
                          <a:prstClr val="black"/>
                        </a:solidFill>
                        <a:latin typeface="+mn-lt"/>
                      </a:rPr>
                      <a:t>Павлодар</a:t>
                    </a:r>
                    <a:endParaRPr lang="en-US" altLang="ru-RU" sz="800" b="1" dirty="0">
                      <a:solidFill>
                        <a:prstClr val="black"/>
                      </a:solidFill>
                      <a:latin typeface="+mn-lt"/>
                    </a:endParaRPr>
                  </a:p>
                </p:txBody>
              </p:sp>
              <p:cxnSp>
                <p:nvCxnSpPr>
                  <p:cNvPr id="116" name="Прямая соединительная линия 115"/>
                  <p:cNvCxnSpPr/>
                  <p:nvPr/>
                </p:nvCxnSpPr>
                <p:spPr>
                  <a:xfrm>
                    <a:off x="5353737" y="3200382"/>
                    <a:ext cx="606760" cy="203085"/>
                  </a:xfrm>
                  <a:prstGeom prst="line">
                    <a:avLst/>
                  </a:prstGeom>
                  <a:ln w="31750">
                    <a:solidFill>
                      <a:srgbClr val="FF0000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7" name="Прямая соединительная линия 116"/>
                  <p:cNvCxnSpPr/>
                  <p:nvPr/>
                </p:nvCxnSpPr>
                <p:spPr>
                  <a:xfrm flipV="1">
                    <a:off x="6083445" y="3384417"/>
                    <a:ext cx="521200" cy="28962"/>
                  </a:xfrm>
                  <a:prstGeom prst="line">
                    <a:avLst/>
                  </a:prstGeom>
                  <a:ln w="31750">
                    <a:solidFill>
                      <a:srgbClr val="FF0000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93" name="Овал 92"/>
                <p:cNvSpPr/>
                <p:nvPr/>
              </p:nvSpPr>
              <p:spPr bwMode="auto">
                <a:xfrm>
                  <a:off x="7323147" y="1772685"/>
                  <a:ext cx="107549" cy="88072"/>
                </a:xfrm>
                <a:prstGeom prst="ellipse">
                  <a:avLst/>
                </a:prstGeom>
                <a:solidFill>
                  <a:schemeClr val="accent3">
                    <a:lumMod val="20000"/>
                    <a:lumOff val="80000"/>
                  </a:schemeClr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lIns="68579" tIns="34289" rIns="68579" bIns="34289" anchor="ctr"/>
                <a:lstStyle/>
                <a:p>
                  <a:pPr algn="ctr" defTabSz="514324">
                    <a:defRPr/>
                  </a:pPr>
                  <a:endParaRPr lang="ru-RU" sz="600" kern="0">
                    <a:solidFill>
                      <a:srgbClr val="A5A5A5">
                        <a:lumMod val="50000"/>
                      </a:srgbClr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94" name="Прямая соединительная линия 93"/>
                <p:cNvCxnSpPr/>
                <p:nvPr/>
              </p:nvCxnSpPr>
              <p:spPr>
                <a:xfrm flipV="1">
                  <a:off x="5673796" y="1967905"/>
                  <a:ext cx="641067" cy="441560"/>
                </a:xfrm>
                <a:prstGeom prst="line">
                  <a:avLst/>
                </a:prstGeom>
                <a:ln w="28575">
                  <a:solidFill>
                    <a:schemeClr val="accent1">
                      <a:lumMod val="50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Rectangle 18"/>
                <p:cNvSpPr txBox="1">
                  <a:spLocks noChangeArrowheads="1"/>
                </p:cNvSpPr>
                <p:nvPr/>
              </p:nvSpPr>
              <p:spPr bwMode="auto">
                <a:xfrm>
                  <a:off x="5750493" y="2397777"/>
                  <a:ext cx="580618" cy="10465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defPPr>
                    <a:defRPr lang="ru-RU"/>
                  </a:defPPr>
                  <a:lvl1pPr defTabSz="895529">
                    <a:lnSpc>
                      <a:spcPct val="100000"/>
                    </a:lnSpc>
                    <a:spcBef>
                      <a:spcPct val="0"/>
                    </a:spcBef>
                    <a:buClr>
                      <a:srgbClr val="44546A"/>
                    </a:buClr>
                    <a:buFont typeface="Arial" panose="020B0604020202020204" pitchFamily="34" charset="0"/>
                    <a:buNone/>
                    <a:defRPr sz="1100" kern="0"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193675" indent="-192088" defTabSz="8953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latin typeface="Calibri" panose="020F0502020204030204" pitchFamily="34" charset="0"/>
                    </a:defRPr>
                  </a:lvl2pPr>
                  <a:lvl3pPr marL="457200" indent="-261938" defTabSz="8953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3pPr>
                  <a:lvl4pPr marL="614363" indent="-155575" defTabSz="8953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4pPr>
                  <a:lvl5pPr marL="749300" indent="-130175" defTabSz="8953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5pPr>
                  <a:lvl6pPr marL="1206500" indent="-130175" defTabSz="895350" fontAlgn="base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6pPr>
                  <a:lvl7pPr marL="1663700" indent="-130175" defTabSz="895350" fontAlgn="base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7pPr>
                  <a:lvl8pPr marL="2120900" indent="-130175" defTabSz="895350" fontAlgn="base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8pPr>
                  <a:lvl9pPr marL="2578100" indent="-130175" defTabSz="895350" fontAlgn="base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9pPr>
                </a:lstStyle>
                <a:p>
                  <a:pPr defTabSz="503710">
                    <a:defRPr/>
                  </a:pPr>
                  <a:r>
                    <a:rPr lang="ru-RU" altLang="ru-RU" sz="800" b="1" dirty="0" err="1">
                      <a:solidFill>
                        <a:prstClr val="black"/>
                      </a:solidFill>
                      <a:latin typeface="+mn-lt"/>
                    </a:rPr>
                    <a:t>Теміртау</a:t>
                  </a:r>
                  <a:endParaRPr lang="en-US" altLang="ru-RU" sz="800" b="1" dirty="0">
                    <a:solidFill>
                      <a:prstClr val="black"/>
                    </a:solidFill>
                    <a:latin typeface="+mn-lt"/>
                  </a:endParaRPr>
                </a:p>
              </p:txBody>
            </p:sp>
            <p:cxnSp>
              <p:nvCxnSpPr>
                <p:cNvPr id="96" name="Прямая соединительная линия 95"/>
                <p:cNvCxnSpPr/>
                <p:nvPr/>
              </p:nvCxnSpPr>
              <p:spPr>
                <a:xfrm flipV="1">
                  <a:off x="4161869" y="2465847"/>
                  <a:ext cx="1430302" cy="1204851"/>
                </a:xfrm>
                <a:prstGeom prst="line">
                  <a:avLst/>
                </a:prstGeom>
                <a:ln w="28575">
                  <a:solidFill>
                    <a:schemeClr val="accent6">
                      <a:lumMod val="75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Прямая соединительная линия 96"/>
                <p:cNvCxnSpPr>
                  <a:stCxn id="133" idx="5"/>
                </p:cNvCxnSpPr>
                <p:nvPr/>
              </p:nvCxnSpPr>
              <p:spPr>
                <a:xfrm>
                  <a:off x="5460397" y="2129192"/>
                  <a:ext cx="131774" cy="263451"/>
                </a:xfrm>
                <a:prstGeom prst="line">
                  <a:avLst/>
                </a:prstGeom>
                <a:ln w="28575">
                  <a:solidFill>
                    <a:schemeClr val="accent6">
                      <a:lumMod val="75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Прямая соединительная линия 97"/>
                <p:cNvCxnSpPr/>
                <p:nvPr/>
              </p:nvCxnSpPr>
              <p:spPr>
                <a:xfrm flipH="1">
                  <a:off x="7181851" y="1865585"/>
                  <a:ext cx="173832" cy="242772"/>
                </a:xfrm>
                <a:prstGeom prst="line">
                  <a:avLst/>
                </a:prstGeom>
                <a:ln w="31750">
                  <a:solidFill>
                    <a:srgbClr val="FF0000"/>
                  </a:solidFill>
                  <a:prstDash val="sys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79" name="Прямая соединительная линия 78"/>
              <p:cNvCxnSpPr/>
              <p:nvPr/>
            </p:nvCxnSpPr>
            <p:spPr>
              <a:xfrm>
                <a:off x="4809216" y="1994089"/>
                <a:ext cx="4969" cy="424805"/>
              </a:xfrm>
              <a:prstGeom prst="line">
                <a:avLst/>
              </a:prstGeom>
              <a:ln w="28575">
                <a:solidFill>
                  <a:schemeClr val="accent6">
                    <a:lumMod val="7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0" name="Rectangle 18"/>
              <p:cNvSpPr txBox="1">
                <a:spLocks noChangeArrowheads="1"/>
              </p:cNvSpPr>
              <p:nvPr/>
            </p:nvSpPr>
            <p:spPr bwMode="auto">
              <a:xfrm>
                <a:off x="4257627" y="1868470"/>
                <a:ext cx="1047782" cy="12102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>
                <a:spAutoFit/>
              </a:bodyPr>
              <a:lstStyle>
                <a:defPPr>
                  <a:defRPr lang="ru-RU"/>
                </a:defPPr>
                <a:lvl1pPr defTabSz="895529">
                  <a:lnSpc>
                    <a:spcPct val="100000"/>
                  </a:lnSpc>
                  <a:spcBef>
                    <a:spcPct val="0"/>
                  </a:spcBef>
                  <a:buClr>
                    <a:srgbClr val="44546A"/>
                  </a:buClr>
                  <a:buFont typeface="Arial" panose="020B0604020202020204" pitchFamily="34" charset="0"/>
                  <a:buNone/>
                  <a:defRPr sz="1100" kern="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193675" indent="-19208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latin typeface="Calibri" panose="020F0502020204030204" pitchFamily="34" charset="0"/>
                  </a:defRPr>
                </a:lvl2pPr>
                <a:lvl3pPr marL="457200" indent="-26193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3pPr>
                <a:lvl4pPr marL="614363" indent="-1555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749300" indent="-1301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5pPr>
                <a:lvl6pPr marL="12065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6pPr>
                <a:lvl7pPr marL="16637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7pPr>
                <a:lvl8pPr marL="21209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8pPr>
                <a:lvl9pPr marL="25781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9pPr>
              </a:lstStyle>
              <a:p>
                <a:pPr defTabSz="503710">
                  <a:defRPr/>
                </a:pPr>
                <a:r>
                  <a:rPr lang="ru-RU" altLang="ru-RU" sz="800" b="1" dirty="0" err="1">
                    <a:solidFill>
                      <a:prstClr val="black"/>
                    </a:solidFill>
                    <a:latin typeface="+mn-lt"/>
                  </a:rPr>
                  <a:t>Петропавл</a:t>
                </a:r>
                <a:endParaRPr lang="en-US" altLang="ru-RU" sz="800" b="1" dirty="0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1" name="Овал 80"/>
              <p:cNvSpPr/>
              <p:nvPr/>
            </p:nvSpPr>
            <p:spPr bwMode="auto">
              <a:xfrm>
                <a:off x="4609067" y="1431173"/>
                <a:ext cx="95493" cy="97554"/>
              </a:xfrm>
              <a:prstGeom prst="ellipse">
                <a:avLst/>
              </a:prstGeom>
              <a:solidFill>
                <a:srgbClr val="FFFF00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lIns="91439" tIns="45719" rIns="91439" bIns="45719" anchor="ctr"/>
              <a:lstStyle/>
              <a:p>
                <a:pPr algn="ctr" defTabSz="514324"/>
                <a:endParaRPr lang="ru-RU" sz="600" kern="0">
                  <a:solidFill>
                    <a:srgbClr val="A5A5A5">
                      <a:lumMod val="50000"/>
                    </a:srgbClr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82" name="Прямая соединительная линия 81"/>
              <p:cNvCxnSpPr/>
              <p:nvPr/>
            </p:nvCxnSpPr>
            <p:spPr>
              <a:xfrm>
                <a:off x="4659572" y="1528727"/>
                <a:ext cx="106835" cy="375067"/>
              </a:xfrm>
              <a:prstGeom prst="line">
                <a:avLst/>
              </a:prstGeom>
              <a:ln w="28575">
                <a:solidFill>
                  <a:srgbClr val="FF0000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Прямая соединительная линия 82"/>
              <p:cNvCxnSpPr>
                <a:endCxn id="86" idx="1"/>
              </p:cNvCxnSpPr>
              <p:nvPr/>
            </p:nvCxnSpPr>
            <p:spPr>
              <a:xfrm>
                <a:off x="4766407" y="1989962"/>
                <a:ext cx="6446" cy="395890"/>
              </a:xfrm>
              <a:prstGeom prst="line">
                <a:avLst/>
              </a:prstGeom>
              <a:ln w="28575">
                <a:solidFill>
                  <a:srgbClr val="FF0000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Прямая соединительная линия 83"/>
              <p:cNvCxnSpPr/>
              <p:nvPr/>
            </p:nvCxnSpPr>
            <p:spPr>
              <a:xfrm>
                <a:off x="4811847" y="2482919"/>
                <a:ext cx="359959" cy="558213"/>
              </a:xfrm>
              <a:prstGeom prst="line">
                <a:avLst/>
              </a:prstGeom>
              <a:ln w="28575">
                <a:solidFill>
                  <a:srgbClr val="FF0000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5" name="Rectangle 18"/>
              <p:cNvSpPr txBox="1">
                <a:spLocks noChangeArrowheads="1"/>
              </p:cNvSpPr>
              <p:nvPr/>
            </p:nvSpPr>
            <p:spPr bwMode="auto">
              <a:xfrm>
                <a:off x="4332254" y="1470774"/>
                <a:ext cx="267941" cy="12102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>
                <a:spAutoFit/>
              </a:bodyPr>
              <a:lstStyle>
                <a:defPPr>
                  <a:defRPr lang="ru-RU"/>
                </a:defPPr>
                <a:lvl1pPr defTabSz="895529">
                  <a:lnSpc>
                    <a:spcPct val="100000"/>
                  </a:lnSpc>
                  <a:spcBef>
                    <a:spcPct val="0"/>
                  </a:spcBef>
                  <a:buClr>
                    <a:srgbClr val="44546A"/>
                  </a:buClr>
                  <a:buFont typeface="Arial" panose="020B0604020202020204" pitchFamily="34" charset="0"/>
                  <a:buNone/>
                  <a:defRPr sz="1100" kern="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193675" indent="-19208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latin typeface="Calibri" panose="020F0502020204030204" pitchFamily="34" charset="0"/>
                  </a:defRPr>
                </a:lvl2pPr>
                <a:lvl3pPr marL="457200" indent="-26193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3pPr>
                <a:lvl4pPr marL="614363" indent="-1555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749300" indent="-1301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5pPr>
                <a:lvl6pPr marL="12065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6pPr>
                <a:lvl7pPr marL="16637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7pPr>
                <a:lvl8pPr marL="21209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8pPr>
                <a:lvl9pPr marL="25781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9pPr>
              </a:lstStyle>
              <a:p>
                <a:pPr defTabSz="503710">
                  <a:defRPr/>
                </a:pPr>
                <a:r>
                  <a:rPr lang="ru-RU" altLang="ru-RU" sz="800" b="1" dirty="0" err="1">
                    <a:solidFill>
                      <a:prstClr val="black"/>
                    </a:solidFill>
                    <a:latin typeface="+mn-lt"/>
                  </a:rPr>
                  <a:t>Есіл</a:t>
                </a:r>
                <a:r>
                  <a:rPr lang="ru-RU" altLang="ru-RU" sz="800" b="1" dirty="0">
                    <a:solidFill>
                      <a:prstClr val="black"/>
                    </a:solidFill>
                    <a:latin typeface="+mn-lt"/>
                  </a:rPr>
                  <a:t> </a:t>
                </a:r>
                <a:endParaRPr lang="en-US" altLang="ru-RU" sz="600" i="1" dirty="0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6" name="Овал 85"/>
              <p:cNvSpPr/>
              <p:nvPr/>
            </p:nvSpPr>
            <p:spPr bwMode="auto">
              <a:xfrm>
                <a:off x="4758868" y="2371566"/>
                <a:ext cx="95493" cy="97554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lIns="91439" tIns="45719" rIns="91439" bIns="45719" anchor="ctr"/>
              <a:lstStyle/>
              <a:p>
                <a:pPr algn="ctr" defTabSz="514324">
                  <a:defRPr/>
                </a:pPr>
                <a:endParaRPr lang="ru-RU" sz="600" kern="0">
                  <a:solidFill>
                    <a:srgbClr val="A5A5A5">
                      <a:lumMod val="50000"/>
                    </a:srgbClr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87" name="Овал 86"/>
              <p:cNvSpPr/>
              <p:nvPr/>
            </p:nvSpPr>
            <p:spPr bwMode="auto">
              <a:xfrm>
                <a:off x="4741945" y="1901096"/>
                <a:ext cx="95493" cy="97554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lIns="91439" tIns="45719" rIns="91439" bIns="45719" anchor="ctr"/>
              <a:lstStyle/>
              <a:p>
                <a:pPr algn="ctr" defTabSz="514324">
                  <a:defRPr/>
                </a:pPr>
                <a:endParaRPr lang="ru-RU" sz="600" kern="0">
                  <a:solidFill>
                    <a:srgbClr val="A5A5A5">
                      <a:lumMod val="50000"/>
                    </a:srgbClr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88" name="Прямая соединительная линия 87"/>
              <p:cNvCxnSpPr/>
              <p:nvPr/>
            </p:nvCxnSpPr>
            <p:spPr>
              <a:xfrm>
                <a:off x="4857238" y="2453375"/>
                <a:ext cx="359959" cy="558213"/>
              </a:xfrm>
              <a:prstGeom prst="line">
                <a:avLst/>
              </a:prstGeom>
              <a:ln w="28575">
                <a:solidFill>
                  <a:schemeClr val="accent6">
                    <a:lumMod val="7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Прямая соединительная линия 88"/>
              <p:cNvCxnSpPr>
                <a:endCxn id="90" idx="1"/>
              </p:cNvCxnSpPr>
              <p:nvPr/>
            </p:nvCxnSpPr>
            <p:spPr>
              <a:xfrm>
                <a:off x="7040191" y="3261279"/>
                <a:ext cx="630296" cy="989098"/>
              </a:xfrm>
              <a:prstGeom prst="line">
                <a:avLst/>
              </a:prstGeom>
              <a:ln w="31750">
                <a:solidFill>
                  <a:srgbClr val="FF0000"/>
                </a:solidFill>
                <a:prstDash val="sysDash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0" name="Rectangle 18"/>
              <p:cNvSpPr txBox="1">
                <a:spLocks noChangeArrowheads="1"/>
              </p:cNvSpPr>
              <p:nvPr/>
            </p:nvSpPr>
            <p:spPr bwMode="auto">
              <a:xfrm>
                <a:off x="7670486" y="4197430"/>
                <a:ext cx="647700" cy="10589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ru-RU"/>
                </a:defPPr>
                <a:lvl1pPr defTabSz="895529">
                  <a:lnSpc>
                    <a:spcPct val="100000"/>
                  </a:lnSpc>
                  <a:spcBef>
                    <a:spcPct val="0"/>
                  </a:spcBef>
                  <a:buClr>
                    <a:srgbClr val="44546A"/>
                  </a:buClr>
                  <a:buFont typeface="Arial" panose="020B0604020202020204" pitchFamily="34" charset="0"/>
                  <a:buNone/>
                  <a:defRPr sz="1100" kern="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193675" indent="-19208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latin typeface="Calibri" panose="020F0502020204030204" pitchFamily="34" charset="0"/>
                  </a:defRPr>
                </a:lvl2pPr>
                <a:lvl3pPr marL="457200" indent="-26193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3pPr>
                <a:lvl4pPr marL="614363" indent="-1555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749300" indent="-1301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5pPr>
                <a:lvl6pPr marL="12065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6pPr>
                <a:lvl7pPr marL="16637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7pPr>
                <a:lvl8pPr marL="21209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8pPr>
                <a:lvl9pPr marL="25781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9pPr>
              </a:lstStyle>
              <a:p>
                <a:pPr defTabSz="671630">
                  <a:defRPr/>
                </a:pPr>
                <a:r>
                  <a:rPr lang="ru-RU" altLang="ru-RU" sz="700" b="1" dirty="0" err="1">
                    <a:solidFill>
                      <a:prstClr val="black"/>
                    </a:solidFill>
                    <a:latin typeface="+mn-lt"/>
                  </a:rPr>
                  <a:t>Алашанкоу</a:t>
                </a:r>
                <a:endParaRPr lang="en-US" altLang="ru-RU" sz="700" b="1" dirty="0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91" name="Овал 90"/>
              <p:cNvSpPr/>
              <p:nvPr/>
            </p:nvSpPr>
            <p:spPr bwMode="auto">
              <a:xfrm>
                <a:off x="5397162" y="3441972"/>
                <a:ext cx="95493" cy="97554"/>
              </a:xfrm>
              <a:prstGeom prst="ellipse">
                <a:avLst/>
              </a:prstGeom>
              <a:solidFill>
                <a:srgbClr val="FFFF00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lIns="91439" tIns="45719" rIns="91439" bIns="45719" anchor="ctr"/>
              <a:lstStyle/>
              <a:p>
                <a:pPr algn="ctr" defTabSz="514324"/>
                <a:endParaRPr lang="ru-RU" sz="600" kern="0">
                  <a:solidFill>
                    <a:srgbClr val="A5A5A5">
                      <a:lumMod val="50000"/>
                    </a:srgbClr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9" name="Группа 48"/>
            <p:cNvGrpSpPr/>
            <p:nvPr/>
          </p:nvGrpSpPr>
          <p:grpSpPr>
            <a:xfrm>
              <a:off x="18966" y="1515837"/>
              <a:ext cx="4183192" cy="573305"/>
              <a:chOff x="86882" y="1286394"/>
              <a:chExt cx="4183192" cy="573305"/>
            </a:xfrm>
          </p:grpSpPr>
          <p:sp>
            <p:nvSpPr>
              <p:cNvPr id="75" name="Прямоугольник 74"/>
              <p:cNvSpPr/>
              <p:nvPr/>
            </p:nvSpPr>
            <p:spPr>
              <a:xfrm>
                <a:off x="86882" y="1286394"/>
                <a:ext cx="4183192" cy="5733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47663" algn="just">
                  <a:tabLst>
                    <a:tab pos="447663" algn="l"/>
                  </a:tabLst>
                </a:pPr>
                <a:r>
                  <a:rPr lang="ru-RU" sz="1100" dirty="0">
                    <a:cs typeface="Arial" panose="020B0604020202020204" pitchFamily="34" charset="0"/>
                  </a:rPr>
                  <a:t>«</a:t>
                </a:r>
                <a:r>
                  <a:rPr lang="ru-RU" sz="1100" dirty="0" err="1">
                    <a:cs typeface="Arial" panose="020B0604020202020204" pitchFamily="34" charset="0"/>
                  </a:rPr>
                  <a:t>Сарыарқа</a:t>
                </a:r>
                <a:r>
                  <a:rPr lang="ru-RU" sz="1100" dirty="0">
                    <a:cs typeface="Arial" panose="020B0604020202020204" pitchFamily="34" charset="0"/>
                  </a:rPr>
                  <a:t>» МГҚ </a:t>
                </a:r>
                <a:r>
                  <a:rPr lang="ru-RU" sz="1100" dirty="0" err="1">
                    <a:cs typeface="Arial" panose="020B0604020202020204" pitchFamily="34" charset="0"/>
                  </a:rPr>
                  <a:t>келесі</a:t>
                </a:r>
                <a:r>
                  <a:rPr lang="ru-RU" sz="1100" dirty="0">
                    <a:cs typeface="Arial" panose="020B0604020202020204" pitchFamily="34" charset="0"/>
                  </a:rPr>
                  <a:t> </a:t>
                </a:r>
                <a:r>
                  <a:rPr lang="ru-RU" sz="1100" dirty="0" err="1">
                    <a:cs typeface="Arial" panose="020B0604020202020204" pitchFamily="34" charset="0"/>
                  </a:rPr>
                  <a:t>кезеңдерін</a:t>
                </a:r>
                <a:r>
                  <a:rPr lang="ru-RU" sz="1100" dirty="0">
                    <a:cs typeface="Arial" panose="020B0604020202020204" pitchFamily="34" charset="0"/>
                  </a:rPr>
                  <a:t> </a:t>
                </a:r>
                <a:r>
                  <a:rPr lang="ru-RU" sz="1100" dirty="0" err="1">
                    <a:cs typeface="Arial" panose="020B0604020202020204" pitchFamily="34" charset="0"/>
                  </a:rPr>
                  <a:t>іске</a:t>
                </a:r>
                <a:r>
                  <a:rPr lang="ru-RU" sz="1100" dirty="0">
                    <a:cs typeface="Arial" panose="020B0604020202020204" pitchFamily="34" charset="0"/>
                  </a:rPr>
                  <a:t> </a:t>
                </a:r>
                <a:r>
                  <a:rPr lang="ru-RU" sz="1100" dirty="0" err="1">
                    <a:cs typeface="Arial" panose="020B0604020202020204" pitchFamily="34" charset="0"/>
                  </a:rPr>
                  <a:t>асыру</a:t>
                </a:r>
                <a:endParaRPr lang="ru-RU" sz="1100" dirty="0">
                  <a:solidFill>
                    <a:srgbClr val="006FC0"/>
                  </a:solidFill>
                  <a:cs typeface="Arial" panose="020B0604020202020204" pitchFamily="34" charset="0"/>
                </a:endParaRPr>
              </a:p>
              <a:p>
                <a:pPr marL="447663" algn="just">
                  <a:tabLst>
                    <a:tab pos="447663" algn="l"/>
                  </a:tabLst>
                </a:pPr>
                <a:endParaRPr lang="ru-RU" sz="800" dirty="0">
                  <a:cs typeface="Arial" panose="020B0604020202020204" pitchFamily="34" charset="0"/>
                </a:endParaRPr>
              </a:p>
              <a:p>
                <a:pPr marL="447663" algn="just">
                  <a:tabLst>
                    <a:tab pos="447663" algn="l"/>
                  </a:tabLst>
                </a:pPr>
                <a:r>
                  <a:rPr lang="ru-RU" sz="1100" dirty="0">
                    <a:cs typeface="Arial" panose="020B0604020202020204" pitchFamily="34" charset="0"/>
                  </a:rPr>
                  <a:t>РФ-дан </a:t>
                </a:r>
                <a:r>
                  <a:rPr lang="ru-RU" sz="1100" dirty="0" err="1">
                    <a:cs typeface="Arial" panose="020B0604020202020204" pitchFamily="34" charset="0"/>
                  </a:rPr>
                  <a:t>магистральдық</a:t>
                </a:r>
                <a:r>
                  <a:rPr lang="ru-RU" sz="1100" dirty="0">
                    <a:cs typeface="Arial" panose="020B0604020202020204" pitchFamily="34" charset="0"/>
                  </a:rPr>
                  <a:t> газ </a:t>
                </a:r>
                <a:r>
                  <a:rPr lang="ru-RU" sz="1100" dirty="0" err="1">
                    <a:cs typeface="Arial" panose="020B0604020202020204" pitchFamily="34" charset="0"/>
                  </a:rPr>
                  <a:t>құбыры</a:t>
                </a:r>
                <a:endParaRPr lang="ru-RU" sz="1100" dirty="0">
                  <a:cs typeface="Arial" panose="020B0604020202020204" pitchFamily="34" charset="0"/>
                </a:endParaRPr>
              </a:p>
            </p:txBody>
          </p:sp>
          <p:cxnSp>
            <p:nvCxnSpPr>
              <p:cNvPr id="76" name="Прямая соединительная линия 75"/>
              <p:cNvCxnSpPr/>
              <p:nvPr/>
            </p:nvCxnSpPr>
            <p:spPr>
              <a:xfrm>
                <a:off x="111885" y="1468563"/>
                <a:ext cx="302667" cy="0"/>
              </a:xfrm>
              <a:prstGeom prst="line">
                <a:avLst/>
              </a:prstGeom>
              <a:ln w="28575">
                <a:solidFill>
                  <a:schemeClr val="accent6">
                    <a:lumMod val="7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Прямая соединительная линия 76"/>
              <p:cNvCxnSpPr/>
              <p:nvPr/>
            </p:nvCxnSpPr>
            <p:spPr>
              <a:xfrm>
                <a:off x="136887" y="1729543"/>
                <a:ext cx="283069" cy="0"/>
              </a:xfrm>
              <a:prstGeom prst="line">
                <a:avLst/>
              </a:prstGeom>
              <a:ln w="28575">
                <a:solidFill>
                  <a:srgbClr val="FF0000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0" name="Прямоугольник 49"/>
            <p:cNvSpPr/>
            <p:nvPr/>
          </p:nvSpPr>
          <p:spPr>
            <a:xfrm rot="2813782">
              <a:off x="4731480" y="2687144"/>
              <a:ext cx="531340" cy="16615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800" b="1" dirty="0">
                  <a:cs typeface="Arial" panose="020B0604020202020204" pitchFamily="34" charset="0"/>
                </a:rPr>
                <a:t>II</a:t>
              </a:r>
              <a:r>
                <a:rPr lang="kk-KZ" sz="800" b="1" dirty="0">
                  <a:cs typeface="Arial" panose="020B0604020202020204" pitchFamily="34" charset="0"/>
                </a:rPr>
                <a:t>-кезең</a:t>
              </a:r>
              <a:endParaRPr lang="ru-RU" sz="800" b="1" dirty="0">
                <a:cs typeface="Arial" panose="020B0604020202020204" pitchFamily="34" charset="0"/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 rot="5400000">
              <a:off x="4485334" y="2159563"/>
              <a:ext cx="558779" cy="16615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800" b="1" dirty="0">
                  <a:cs typeface="Arial" panose="020B0604020202020204" pitchFamily="34" charset="0"/>
                </a:rPr>
                <a:t>III</a:t>
              </a:r>
              <a:r>
                <a:rPr lang="kk-KZ" sz="800" b="1" dirty="0">
                  <a:cs typeface="Arial" panose="020B0604020202020204" pitchFamily="34" charset="0"/>
                </a:rPr>
                <a:t>-кезең</a:t>
              </a:r>
              <a:endParaRPr lang="ru-RU" sz="800" b="1" dirty="0">
                <a:cs typeface="Arial" panose="020B0604020202020204" pitchFamily="34" charset="0"/>
              </a:endParaRPr>
            </a:p>
          </p:txBody>
        </p:sp>
        <p:sp>
          <p:nvSpPr>
            <p:cNvPr id="52" name="object 203"/>
            <p:cNvSpPr/>
            <p:nvPr/>
          </p:nvSpPr>
          <p:spPr>
            <a:xfrm>
              <a:off x="248081" y="2356265"/>
              <a:ext cx="2584021" cy="2667005"/>
            </a:xfrm>
            <a:custGeom>
              <a:avLst/>
              <a:gdLst/>
              <a:ahLst/>
              <a:cxnLst/>
              <a:rect l="l" t="t" r="r" b="b"/>
              <a:pathLst>
                <a:path w="2372360" h="2058670">
                  <a:moveTo>
                    <a:pt x="0" y="439597"/>
                  </a:moveTo>
                  <a:lnTo>
                    <a:pt x="263131" y="528053"/>
                  </a:lnTo>
                  <a:lnTo>
                    <a:pt x="1715249" y="0"/>
                  </a:lnTo>
                </a:path>
                <a:path w="2372360" h="2058670">
                  <a:moveTo>
                    <a:pt x="263131" y="528053"/>
                  </a:moveTo>
                  <a:lnTo>
                    <a:pt x="1504708" y="1776920"/>
                  </a:lnTo>
                  <a:lnTo>
                    <a:pt x="1586166" y="2058644"/>
                  </a:lnTo>
                </a:path>
                <a:path w="2372360" h="2058670">
                  <a:moveTo>
                    <a:pt x="2372271" y="415340"/>
                  </a:moveTo>
                  <a:lnTo>
                    <a:pt x="2176665" y="1657756"/>
                  </a:lnTo>
                  <a:lnTo>
                    <a:pt x="1935162" y="2024862"/>
                  </a:lnTo>
                </a:path>
              </a:pathLst>
            </a:custGeom>
            <a:ln w="28575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>
                <a:cs typeface="Arial" panose="020B0604020202020204" pitchFamily="34" charset="0"/>
              </a:endParaRPr>
            </a:p>
          </p:txBody>
        </p:sp>
        <p:sp>
          <p:nvSpPr>
            <p:cNvPr id="53" name="object 205"/>
            <p:cNvSpPr/>
            <p:nvPr/>
          </p:nvSpPr>
          <p:spPr>
            <a:xfrm>
              <a:off x="1899210" y="4541383"/>
              <a:ext cx="1317934" cy="117910"/>
            </a:xfrm>
            <a:custGeom>
              <a:avLst/>
              <a:gdLst/>
              <a:ahLst/>
              <a:cxnLst/>
              <a:rect l="l" t="t" r="r" b="b"/>
              <a:pathLst>
                <a:path w="1258570" h="323214">
                  <a:moveTo>
                    <a:pt x="0" y="323151"/>
                  </a:moveTo>
                  <a:lnTo>
                    <a:pt x="1258189" y="0"/>
                  </a:lnTo>
                </a:path>
              </a:pathLst>
            </a:custGeom>
            <a:ln w="28575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>
                <a:cs typeface="Arial" panose="020B0604020202020204" pitchFamily="34" charset="0"/>
              </a:endParaRPr>
            </a:p>
          </p:txBody>
        </p:sp>
        <p:sp>
          <p:nvSpPr>
            <p:cNvPr id="54" name="object 205"/>
            <p:cNvSpPr/>
            <p:nvPr/>
          </p:nvSpPr>
          <p:spPr>
            <a:xfrm rot="2203789">
              <a:off x="3052733" y="5171528"/>
              <a:ext cx="2051350" cy="169909"/>
            </a:xfrm>
            <a:custGeom>
              <a:avLst/>
              <a:gdLst/>
              <a:ahLst/>
              <a:cxnLst/>
              <a:rect l="l" t="t" r="r" b="b"/>
              <a:pathLst>
                <a:path w="1258570" h="323214">
                  <a:moveTo>
                    <a:pt x="0" y="323151"/>
                  </a:moveTo>
                  <a:lnTo>
                    <a:pt x="1258189" y="0"/>
                  </a:lnTo>
                </a:path>
              </a:pathLst>
            </a:custGeom>
            <a:ln w="28575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>
                <a:cs typeface="Arial" panose="020B0604020202020204" pitchFamily="34" charset="0"/>
              </a:endParaRPr>
            </a:p>
          </p:txBody>
        </p:sp>
        <p:sp>
          <p:nvSpPr>
            <p:cNvPr id="55" name="object 205"/>
            <p:cNvSpPr/>
            <p:nvPr/>
          </p:nvSpPr>
          <p:spPr>
            <a:xfrm>
              <a:off x="3598843" y="5982976"/>
              <a:ext cx="1469302" cy="343604"/>
            </a:xfrm>
            <a:custGeom>
              <a:avLst/>
              <a:gdLst/>
              <a:ahLst/>
              <a:cxnLst/>
              <a:rect l="l" t="t" r="r" b="b"/>
              <a:pathLst>
                <a:path w="1258570" h="323214">
                  <a:moveTo>
                    <a:pt x="0" y="323151"/>
                  </a:moveTo>
                  <a:lnTo>
                    <a:pt x="1258189" y="0"/>
                  </a:lnTo>
                </a:path>
              </a:pathLst>
            </a:custGeom>
            <a:ln w="28575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>
                <a:cs typeface="Arial" panose="020B0604020202020204" pitchFamily="34" charset="0"/>
              </a:endParaRPr>
            </a:p>
          </p:txBody>
        </p:sp>
        <p:cxnSp>
          <p:nvCxnSpPr>
            <p:cNvPr id="56" name="Прямая соединительная линия 55"/>
            <p:cNvCxnSpPr/>
            <p:nvPr/>
          </p:nvCxnSpPr>
          <p:spPr>
            <a:xfrm flipV="1">
              <a:off x="5068145" y="5633019"/>
              <a:ext cx="142809" cy="349958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</p:cxnSp>
        <p:sp>
          <p:nvSpPr>
            <p:cNvPr id="57" name="object 205"/>
            <p:cNvSpPr/>
            <p:nvPr/>
          </p:nvSpPr>
          <p:spPr>
            <a:xfrm>
              <a:off x="5205985" y="5164931"/>
              <a:ext cx="2157726" cy="473733"/>
            </a:xfrm>
            <a:custGeom>
              <a:avLst/>
              <a:gdLst/>
              <a:ahLst/>
              <a:cxnLst/>
              <a:rect l="l" t="t" r="r" b="b"/>
              <a:pathLst>
                <a:path w="1258570" h="323214">
                  <a:moveTo>
                    <a:pt x="0" y="323151"/>
                  </a:moveTo>
                  <a:lnTo>
                    <a:pt x="1258189" y="0"/>
                  </a:lnTo>
                </a:path>
              </a:pathLst>
            </a:custGeom>
            <a:ln w="28575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>
                <a:cs typeface="Arial" panose="020B0604020202020204" pitchFamily="34" charset="0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1110667" y="3139508"/>
              <a:ext cx="554827" cy="2789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cs typeface="Arial" panose="020B0604020202020204" pitchFamily="34" charset="0"/>
                </a:rPr>
                <a:t>98,9%</a:t>
              </a:r>
              <a:endParaRPr lang="ru-RU" sz="1400" dirty="0">
                <a:cs typeface="Arial" panose="020B0604020202020204" pitchFamily="34" charset="0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1303890" y="3781606"/>
              <a:ext cx="1162975" cy="2789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cs typeface="Arial" panose="020B0604020202020204" pitchFamily="34" charset="0"/>
                </a:rPr>
                <a:t>98,7%</a:t>
              </a: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950262" y="5082066"/>
              <a:ext cx="1162975" cy="2789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cs typeface="Arial" panose="020B0604020202020204" pitchFamily="34" charset="0"/>
                </a:rPr>
                <a:t>98,4%</a:t>
              </a: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2056888" y="3668285"/>
              <a:ext cx="528742" cy="2789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cs typeface="Arial" panose="020B0604020202020204" pitchFamily="34" charset="0"/>
                </a:rPr>
                <a:t>92,7%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3557448" y="3326007"/>
              <a:ext cx="1162975" cy="2789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cs typeface="Arial" panose="020B0604020202020204" pitchFamily="34" charset="0"/>
                </a:rPr>
                <a:t>57,9%</a:t>
              </a: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2939312" y="4951204"/>
              <a:ext cx="1162975" cy="2789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cs typeface="Arial" panose="020B0604020202020204" pitchFamily="34" charset="0"/>
                </a:rPr>
                <a:t>66,5%</a:t>
              </a:r>
            </a:p>
          </p:txBody>
        </p:sp>
        <p:sp>
          <p:nvSpPr>
            <p:cNvPr id="66" name="Овал 65"/>
            <p:cNvSpPr/>
            <p:nvPr/>
          </p:nvSpPr>
          <p:spPr bwMode="auto">
            <a:xfrm>
              <a:off x="6585461" y="5586591"/>
              <a:ext cx="98698" cy="99920"/>
            </a:xfrm>
            <a:prstGeom prst="ellipse">
              <a:avLst/>
            </a:prstGeom>
            <a:solidFill>
              <a:schemeClr val="tx2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lIns="91439" tIns="45719" rIns="91439" bIns="45719" anchor="ctr"/>
            <a:lstStyle/>
            <a:p>
              <a:pPr algn="ctr" defTabSz="514324">
                <a:defRPr/>
              </a:pPr>
              <a:endParaRPr lang="ru-RU" sz="600" kern="0">
                <a:solidFill>
                  <a:srgbClr val="A5A5A5">
                    <a:lumMod val="50000"/>
                  </a:srgb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4334351" y="6164469"/>
              <a:ext cx="1162975" cy="2789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cs typeface="Arial" panose="020B0604020202020204" pitchFamily="34" charset="0"/>
                </a:rPr>
                <a:t>92,5%</a:t>
              </a: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4347273" y="5066935"/>
              <a:ext cx="1162975" cy="2789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cs typeface="Arial" panose="020B0604020202020204" pitchFamily="34" charset="0"/>
                </a:rPr>
                <a:t>66,2%</a:t>
              </a: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5015663" y="4965284"/>
              <a:ext cx="584360" cy="2789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cs typeface="Arial" panose="020B0604020202020204" pitchFamily="34" charset="0"/>
                </a:rPr>
                <a:t>94,4%</a:t>
              </a:r>
              <a:endParaRPr lang="ru-RU" sz="1400" dirty="0">
                <a:cs typeface="Arial" panose="020B0604020202020204" pitchFamily="34" charset="0"/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6102671" y="4651444"/>
              <a:ext cx="1162975" cy="2789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cs typeface="Arial" panose="020B0604020202020204" pitchFamily="34" charset="0"/>
                </a:rPr>
                <a:t>63,6%</a:t>
              </a: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6906383" y="5188099"/>
              <a:ext cx="548580" cy="2789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cs typeface="Arial" panose="020B0604020202020204" pitchFamily="34" charset="0"/>
                </a:rPr>
                <a:t>98,9%</a:t>
              </a: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7291140" y="3586337"/>
              <a:ext cx="1162975" cy="2789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cs typeface="Arial" panose="020B0604020202020204" pitchFamily="34" charset="0"/>
                </a:rPr>
                <a:t>1,3%</a:t>
              </a: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5005181" y="3968570"/>
              <a:ext cx="1162975" cy="2789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cs typeface="Arial" panose="020B0604020202020204" pitchFamily="34" charset="0"/>
                </a:rPr>
                <a:t>3,5%</a:t>
              </a: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4231388" y="2973002"/>
              <a:ext cx="1162975" cy="2789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cs typeface="Arial" panose="020B0604020202020204" pitchFamily="34" charset="0"/>
                </a:rPr>
                <a:t>15,4%</a:t>
              </a:r>
            </a:p>
          </p:txBody>
        </p:sp>
      </p:grpSp>
      <p:sp>
        <p:nvSpPr>
          <p:cNvPr id="134" name="Прямоугольник 133"/>
          <p:cNvSpPr/>
          <p:nvPr/>
        </p:nvSpPr>
        <p:spPr>
          <a:xfrm rot="20996687">
            <a:off x="7922778" y="5311483"/>
            <a:ext cx="155843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00" b="1" dirty="0">
                <a:cs typeface="Arial" panose="020B0604020202020204" pitchFamily="34" charset="0"/>
              </a:rPr>
              <a:t>«</a:t>
            </a:r>
            <a:r>
              <a:rPr lang="ru-RU" sz="1000" b="1" dirty="0" err="1">
                <a:cs typeface="Arial" panose="020B0604020202020204" pitchFamily="34" charset="0"/>
              </a:rPr>
              <a:t>Қазақстан-Қытай</a:t>
            </a:r>
            <a:r>
              <a:rPr lang="ru-RU" sz="1000" b="1" dirty="0">
                <a:cs typeface="Arial" panose="020B0604020202020204" pitchFamily="34" charset="0"/>
              </a:rPr>
              <a:t>» МГҚ</a:t>
            </a:r>
          </a:p>
        </p:txBody>
      </p:sp>
      <p:sp>
        <p:nvSpPr>
          <p:cNvPr id="135" name="Прямоугольник 134"/>
          <p:cNvSpPr/>
          <p:nvPr/>
        </p:nvSpPr>
        <p:spPr>
          <a:xfrm rot="1971424">
            <a:off x="4841794" y="5290779"/>
            <a:ext cx="196079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00" b="1" dirty="0">
                <a:cs typeface="Arial" panose="020B0604020202020204" pitchFamily="34" charset="0"/>
              </a:rPr>
              <a:t>«Бейнеу-</a:t>
            </a:r>
            <a:r>
              <a:rPr lang="ru-RU" sz="1000" b="1" dirty="0" err="1">
                <a:cs typeface="Arial" panose="020B0604020202020204" pitchFamily="34" charset="0"/>
              </a:rPr>
              <a:t>Бозой</a:t>
            </a:r>
            <a:r>
              <a:rPr lang="ru-RU" sz="1000" b="1" dirty="0">
                <a:cs typeface="Arial" panose="020B0604020202020204" pitchFamily="34" charset="0"/>
              </a:rPr>
              <a:t>-Шымкент» МГҚ</a:t>
            </a:r>
          </a:p>
        </p:txBody>
      </p:sp>
      <p:sp>
        <p:nvSpPr>
          <p:cNvPr id="136" name="Прямоугольник 135"/>
          <p:cNvSpPr/>
          <p:nvPr/>
        </p:nvSpPr>
        <p:spPr>
          <a:xfrm rot="19277772">
            <a:off x="6199333" y="4049056"/>
            <a:ext cx="119295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00" b="1" dirty="0">
                <a:cs typeface="Arial" panose="020B0604020202020204" pitchFamily="34" charset="0"/>
              </a:rPr>
              <a:t>«</a:t>
            </a:r>
            <a:r>
              <a:rPr lang="ru-RU" sz="1000" b="1" dirty="0" err="1">
                <a:cs typeface="Arial" panose="020B0604020202020204" pitchFamily="34" charset="0"/>
              </a:rPr>
              <a:t>Сарыарка</a:t>
            </a:r>
            <a:r>
              <a:rPr lang="ru-RU" sz="1000" b="1" dirty="0">
                <a:cs typeface="Arial" panose="020B0604020202020204" pitchFamily="34" charset="0"/>
              </a:rPr>
              <a:t>» МГҚ</a:t>
            </a:r>
          </a:p>
        </p:txBody>
      </p:sp>
      <p:sp>
        <p:nvSpPr>
          <p:cNvPr id="137" name="Прямоугольник 136"/>
          <p:cNvSpPr/>
          <p:nvPr/>
        </p:nvSpPr>
        <p:spPr>
          <a:xfrm rot="16680657">
            <a:off x="3829656" y="3785025"/>
            <a:ext cx="120257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900" b="1" dirty="0">
                <a:cs typeface="Arial" panose="020B0604020202020204" pitchFamily="34" charset="0"/>
              </a:rPr>
              <a:t>«</a:t>
            </a:r>
            <a:r>
              <a:rPr lang="ru-RU" sz="900" b="1" dirty="0" err="1">
                <a:cs typeface="Arial" panose="020B0604020202020204" pitchFamily="34" charset="0"/>
              </a:rPr>
              <a:t>Бұхара</a:t>
            </a:r>
            <a:r>
              <a:rPr lang="ru-RU" sz="900" b="1" dirty="0">
                <a:cs typeface="Arial" panose="020B0604020202020204" pitchFamily="34" charset="0"/>
              </a:rPr>
              <a:t>-Орал» МГҚ</a:t>
            </a:r>
          </a:p>
        </p:txBody>
      </p:sp>
      <p:sp>
        <p:nvSpPr>
          <p:cNvPr id="139" name="Прямоугольник 138"/>
          <p:cNvSpPr/>
          <p:nvPr/>
        </p:nvSpPr>
        <p:spPr>
          <a:xfrm rot="20532782">
            <a:off x="2354637" y="2554150"/>
            <a:ext cx="70243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800" b="1" dirty="0">
                <a:cs typeface="Arial" panose="020B0604020202020204" pitchFamily="34" charset="0"/>
              </a:rPr>
              <a:t>«СОН» МГҚ</a:t>
            </a:r>
          </a:p>
        </p:txBody>
      </p:sp>
      <p:sp>
        <p:nvSpPr>
          <p:cNvPr id="140" name="object 205"/>
          <p:cNvSpPr/>
          <p:nvPr/>
        </p:nvSpPr>
        <p:spPr>
          <a:xfrm rot="18210556">
            <a:off x="2041390" y="5116516"/>
            <a:ext cx="1438460" cy="409515"/>
          </a:xfrm>
          <a:custGeom>
            <a:avLst/>
            <a:gdLst/>
            <a:ahLst/>
            <a:cxnLst/>
            <a:rect l="l" t="t" r="r" b="b"/>
            <a:pathLst>
              <a:path w="1258570" h="323214">
                <a:moveTo>
                  <a:pt x="0" y="323151"/>
                </a:moveTo>
                <a:lnTo>
                  <a:pt x="1258189" y="0"/>
                </a:lnTo>
              </a:path>
            </a:pathLst>
          </a:custGeom>
          <a:ln w="2857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 rot="17212283">
            <a:off x="2110650" y="5250761"/>
            <a:ext cx="147829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dirty="0">
                <a:cs typeface="Arial" panose="020B0604020202020204" pitchFamily="34" charset="0"/>
              </a:rPr>
              <a:t>«Окарем-Бейнеу» МГҚ</a:t>
            </a:r>
            <a:endParaRPr lang="ru-RU" sz="1000" dirty="0"/>
          </a:p>
        </p:txBody>
      </p:sp>
      <p:sp>
        <p:nvSpPr>
          <p:cNvPr id="141" name="object 205"/>
          <p:cNvSpPr/>
          <p:nvPr/>
        </p:nvSpPr>
        <p:spPr>
          <a:xfrm flipV="1">
            <a:off x="10323320" y="1972732"/>
            <a:ext cx="92209" cy="321201"/>
          </a:xfrm>
          <a:custGeom>
            <a:avLst/>
            <a:gdLst/>
            <a:ahLst/>
            <a:cxnLst/>
            <a:rect l="l" t="t" r="r" b="b"/>
            <a:pathLst>
              <a:path w="1258570" h="323214">
                <a:moveTo>
                  <a:pt x="0" y="323151"/>
                </a:moveTo>
                <a:lnTo>
                  <a:pt x="1258189" y="0"/>
                </a:lnTo>
              </a:path>
            </a:pathLst>
          </a:custGeom>
          <a:ln w="2857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>
              <a:cs typeface="Arial" panose="020B0604020202020204" pitchFamily="34" charset="0"/>
            </a:endParaRPr>
          </a:p>
        </p:txBody>
      </p:sp>
      <p:cxnSp>
        <p:nvCxnSpPr>
          <p:cNvPr id="144" name="Прямая соединительная линия 143"/>
          <p:cNvCxnSpPr/>
          <p:nvPr/>
        </p:nvCxnSpPr>
        <p:spPr>
          <a:xfrm flipH="1">
            <a:off x="1384740" y="4080348"/>
            <a:ext cx="1008112" cy="288032"/>
          </a:xfrm>
          <a:prstGeom prst="line">
            <a:avLst/>
          </a:prstGeom>
          <a:ln w="28575">
            <a:solidFill>
              <a:schemeClr val="tx2"/>
            </a:solidFill>
          </a:ln>
        </p:spPr>
      </p:cxnSp>
      <p:sp>
        <p:nvSpPr>
          <p:cNvPr id="145" name="Прямоугольник 144"/>
          <p:cNvSpPr/>
          <p:nvPr/>
        </p:nvSpPr>
        <p:spPr>
          <a:xfrm rot="20656856">
            <a:off x="625020" y="4080989"/>
            <a:ext cx="175240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900" b="1" dirty="0">
                <a:cs typeface="Arial" panose="020B0604020202020204" pitchFamily="34" charset="0"/>
              </a:rPr>
              <a:t>«</a:t>
            </a:r>
            <a:r>
              <a:rPr lang="ru-RU" sz="900" b="1" dirty="0" err="1">
                <a:cs typeface="Arial" panose="020B0604020202020204" pitchFamily="34" charset="0"/>
              </a:rPr>
              <a:t>Мақат-Солтүстік</a:t>
            </a:r>
            <a:r>
              <a:rPr lang="ru-RU" sz="900" b="1" dirty="0">
                <a:cs typeface="Arial" panose="020B0604020202020204" pitchFamily="34" charset="0"/>
              </a:rPr>
              <a:t> Кавказ» МГҚ</a:t>
            </a:r>
          </a:p>
        </p:txBody>
      </p:sp>
      <p:cxnSp>
        <p:nvCxnSpPr>
          <p:cNvPr id="161" name="Прямая соединительная линия 160"/>
          <p:cNvCxnSpPr/>
          <p:nvPr/>
        </p:nvCxnSpPr>
        <p:spPr>
          <a:xfrm flipV="1">
            <a:off x="6854280" y="5774935"/>
            <a:ext cx="1475212" cy="1060526"/>
          </a:xfrm>
          <a:prstGeom prst="line">
            <a:avLst/>
          </a:prstGeom>
          <a:ln w="28575">
            <a:solidFill>
              <a:schemeClr val="tx2"/>
            </a:solidFill>
          </a:ln>
        </p:spPr>
      </p:cxnSp>
      <p:cxnSp>
        <p:nvCxnSpPr>
          <p:cNvPr id="162" name="Прямая соединительная линия 161"/>
          <p:cNvCxnSpPr/>
          <p:nvPr/>
        </p:nvCxnSpPr>
        <p:spPr>
          <a:xfrm flipV="1">
            <a:off x="8320701" y="5778112"/>
            <a:ext cx="993484" cy="2115"/>
          </a:xfrm>
          <a:prstGeom prst="line">
            <a:avLst/>
          </a:prstGeom>
          <a:ln w="28575">
            <a:solidFill>
              <a:schemeClr val="tx2"/>
            </a:solidFill>
          </a:ln>
        </p:spPr>
      </p:cxnSp>
      <p:sp>
        <p:nvSpPr>
          <p:cNvPr id="164" name="Прямоугольник 163"/>
          <p:cNvSpPr/>
          <p:nvPr/>
        </p:nvSpPr>
        <p:spPr>
          <a:xfrm rot="19266524">
            <a:off x="7159722" y="6305171"/>
            <a:ext cx="97013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900" b="1" dirty="0">
                <a:cs typeface="Arial" panose="020B0604020202020204" pitchFamily="34" charset="0"/>
              </a:rPr>
              <a:t>«БГА-ТБА» МГҚ</a:t>
            </a:r>
          </a:p>
        </p:txBody>
      </p:sp>
      <p:sp>
        <p:nvSpPr>
          <p:cNvPr id="165" name="Прямоугольник 164"/>
          <p:cNvSpPr/>
          <p:nvPr/>
        </p:nvSpPr>
        <p:spPr>
          <a:xfrm>
            <a:off x="9599644" y="5665251"/>
            <a:ext cx="58221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900" b="1" dirty="0">
                <a:cs typeface="Arial" panose="020B0604020202020204" pitchFamily="34" charset="0"/>
              </a:rPr>
              <a:t>Алматы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390518" y="742780"/>
            <a:ext cx="11619891" cy="685822"/>
          </a:xfrm>
          <a:prstGeom prst="roundRect">
            <a:avLst/>
          </a:prstGeom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b="1" dirty="0">
                <a:ea typeface="MS PGothic" panose="020B0600070205080204" pitchFamily="34" charset="-128"/>
                <a:cs typeface="Arial" panose="020B0604020202020204" pitchFamily="34" charset="0"/>
              </a:rPr>
              <a:t>2022 </a:t>
            </a:r>
            <a:r>
              <a:rPr lang="ru-RU" b="1" dirty="0" err="1">
                <a:ea typeface="MS PGothic" panose="020B0600070205080204" pitchFamily="34" charset="-128"/>
                <a:cs typeface="Arial" panose="020B0604020202020204" pitchFamily="34" charset="0"/>
              </a:rPr>
              <a:t>жылғы</a:t>
            </a:r>
            <a:r>
              <a:rPr lang="ru-RU" b="1" dirty="0">
                <a:ea typeface="MS PGothic" panose="020B0600070205080204" pitchFamily="34" charset="-128"/>
                <a:cs typeface="Arial" panose="020B0604020202020204" pitchFamily="34" charset="0"/>
              </a:rPr>
              <a:t> 1 </a:t>
            </a:r>
            <a:r>
              <a:rPr lang="ru-RU" b="1" dirty="0" err="1">
                <a:ea typeface="MS PGothic" panose="020B0600070205080204" pitchFamily="34" charset="-128"/>
                <a:cs typeface="Arial" panose="020B0604020202020204" pitchFamily="34" charset="0"/>
              </a:rPr>
              <a:t>қаңтарға</a:t>
            </a:r>
            <a:r>
              <a:rPr lang="ru-RU" b="1" dirty="0"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b="1" dirty="0" err="1">
                <a:ea typeface="MS PGothic" panose="020B0600070205080204" pitchFamily="34" charset="-128"/>
                <a:cs typeface="Arial" panose="020B0604020202020204" pitchFamily="34" charset="0"/>
              </a:rPr>
              <a:t>елді</a:t>
            </a:r>
            <a:r>
              <a:rPr lang="ru-RU" b="1" dirty="0"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b="1" dirty="0" err="1">
                <a:ea typeface="MS PGothic" panose="020B0600070205080204" pitchFamily="34" charset="-128"/>
                <a:cs typeface="Arial" panose="020B0604020202020204" pitchFamily="34" charset="0"/>
              </a:rPr>
              <a:t>газдандыру</a:t>
            </a:r>
            <a:r>
              <a:rPr lang="ru-RU" b="1" dirty="0">
                <a:ea typeface="MS PGothic" panose="020B0600070205080204" pitchFamily="34" charset="-128"/>
                <a:cs typeface="Arial" panose="020B0604020202020204" pitchFamily="34" charset="0"/>
              </a:rPr>
              <a:t> – </a:t>
            </a:r>
            <a:r>
              <a:rPr lang="ru-RU" b="1" dirty="0">
                <a:solidFill>
                  <a:srgbClr val="00B0F0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57,67%</a:t>
            </a:r>
            <a:r>
              <a:rPr lang="ru-RU" b="1" dirty="0"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b="1" dirty="0" err="1">
                <a:ea typeface="MS PGothic" panose="020B0600070205080204" pitchFamily="34" charset="-128"/>
                <a:cs typeface="Arial" panose="020B0604020202020204" pitchFamily="34" charset="0"/>
              </a:rPr>
              <a:t>немесе</a:t>
            </a:r>
            <a:r>
              <a:rPr lang="ru-RU" dirty="0"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00B0F0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11 030 </a:t>
            </a:r>
            <a:r>
              <a:rPr lang="ru-RU" b="1" dirty="0" err="1">
                <a:solidFill>
                  <a:srgbClr val="00B0F0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мың</a:t>
            </a:r>
            <a:r>
              <a:rPr lang="ru-RU" b="1" dirty="0">
                <a:solidFill>
                  <a:srgbClr val="00B0F0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B0F0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адам</a:t>
            </a:r>
            <a:r>
              <a:rPr lang="ru-RU" b="1" dirty="0">
                <a:solidFill>
                  <a:srgbClr val="00B0F0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. </a:t>
            </a:r>
            <a:br>
              <a:rPr lang="ru-RU" b="1" dirty="0">
                <a:solidFill>
                  <a:srgbClr val="00B0F0"/>
                </a:solidFill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ru-RU" b="1" dirty="0">
                <a:ea typeface="MS PGothic" panose="020B0600070205080204" pitchFamily="34" charset="-128"/>
                <a:cs typeface="Arial" panose="020B0604020202020204" pitchFamily="34" charset="0"/>
              </a:rPr>
              <a:t>2022 </a:t>
            </a:r>
            <a:r>
              <a:rPr lang="ru-RU" b="1" dirty="0" err="1">
                <a:ea typeface="MS PGothic" panose="020B0600070205080204" pitchFamily="34" charset="-128"/>
                <a:cs typeface="Arial" panose="020B0604020202020204" pitchFamily="34" charset="0"/>
              </a:rPr>
              <a:t>жылдың</a:t>
            </a:r>
            <a:r>
              <a:rPr lang="ru-RU" b="1" dirty="0"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b="1" dirty="0" err="1">
                <a:ea typeface="MS PGothic" panose="020B0600070205080204" pitchFamily="34" charset="-128"/>
                <a:cs typeface="Arial" panose="020B0604020202020204" pitchFamily="34" charset="0"/>
              </a:rPr>
              <a:t>қорытындысы</a:t>
            </a:r>
            <a:r>
              <a:rPr lang="ru-RU" b="1" dirty="0"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b="1" dirty="0" err="1">
                <a:ea typeface="MS PGothic" panose="020B0600070205080204" pitchFamily="34" charset="-128"/>
                <a:cs typeface="Arial" panose="020B0604020202020204" pitchFamily="34" charset="0"/>
              </a:rPr>
              <a:t>бойынша</a:t>
            </a:r>
            <a:r>
              <a:rPr lang="ru-RU" b="1" dirty="0"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b="1" dirty="0" err="1">
                <a:ea typeface="MS PGothic" panose="020B0600070205080204" pitchFamily="34" charset="-128"/>
                <a:cs typeface="Arial" panose="020B0604020202020204" pitchFamily="34" charset="0"/>
              </a:rPr>
              <a:t>газдандырудың</a:t>
            </a:r>
            <a:r>
              <a:rPr lang="ru-RU" b="1" dirty="0"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b="1" dirty="0" err="1">
                <a:ea typeface="MS PGothic" panose="020B0600070205080204" pitchFamily="34" charset="-128"/>
                <a:cs typeface="Arial" panose="020B0604020202020204" pitchFamily="34" charset="0"/>
              </a:rPr>
              <a:t>жоспарланған</a:t>
            </a:r>
            <a:r>
              <a:rPr lang="ru-RU" b="1" dirty="0"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b="1" dirty="0" err="1">
                <a:ea typeface="MS PGothic" panose="020B0600070205080204" pitchFamily="34" charset="-128"/>
                <a:cs typeface="Arial" panose="020B0604020202020204" pitchFamily="34" charset="0"/>
              </a:rPr>
              <a:t>деңгейі</a:t>
            </a:r>
            <a:r>
              <a:rPr lang="ru-RU" b="1" dirty="0">
                <a:ea typeface="MS PGothic" panose="020B0600070205080204" pitchFamily="34" charset="-128"/>
                <a:cs typeface="Arial" panose="020B0604020202020204" pitchFamily="34" charset="0"/>
              </a:rPr>
              <a:t> – </a:t>
            </a:r>
            <a:r>
              <a:rPr lang="ru-RU" b="1" dirty="0">
                <a:solidFill>
                  <a:srgbClr val="00B0F0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58,43% </a:t>
            </a:r>
            <a:r>
              <a:rPr lang="ru-RU" dirty="0" err="1">
                <a:ea typeface="MS PGothic" panose="020B0600070205080204" pitchFamily="34" charset="-128"/>
                <a:cs typeface="Arial" panose="020B0604020202020204" pitchFamily="34" charset="0"/>
              </a:rPr>
              <a:t>немесе</a:t>
            </a:r>
            <a:r>
              <a:rPr lang="ru-RU" dirty="0"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00B0F0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11 176 </a:t>
            </a:r>
            <a:r>
              <a:rPr lang="ru-RU" b="1" dirty="0" err="1">
                <a:solidFill>
                  <a:srgbClr val="00B0F0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мың</a:t>
            </a:r>
            <a:r>
              <a:rPr lang="ru-RU" b="1" dirty="0">
                <a:solidFill>
                  <a:srgbClr val="00B0F0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B0F0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адам</a:t>
            </a:r>
            <a:r>
              <a:rPr lang="ru-RU" b="1" dirty="0">
                <a:solidFill>
                  <a:srgbClr val="00B0F0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138" name="Rectangle 18"/>
          <p:cNvSpPr txBox="1">
            <a:spLocks noChangeArrowheads="1"/>
          </p:cNvSpPr>
          <p:nvPr/>
        </p:nvSpPr>
        <p:spPr bwMode="auto">
          <a:xfrm>
            <a:off x="6146714" y="2523815"/>
            <a:ext cx="1174008" cy="123111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defTabSz="895529">
              <a:lnSpc>
                <a:spcPct val="100000"/>
              </a:lnSpc>
              <a:spcBef>
                <a:spcPct val="0"/>
              </a:spcBef>
              <a:buClr>
                <a:srgbClr val="44546A"/>
              </a:buClr>
              <a:buFont typeface="Arial" panose="020B0604020202020204" pitchFamily="34" charset="0"/>
              <a:buNone/>
              <a:defRPr sz="1100" ker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3675" indent="-192088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457200" indent="-261938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614363" indent="-155575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749300" indent="-130175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12065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16637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21209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25781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pPr defTabSz="503710">
              <a:defRPr/>
            </a:pPr>
            <a:r>
              <a:rPr lang="ru-RU" altLang="ru-RU" sz="800" b="1" dirty="0" err="1">
                <a:solidFill>
                  <a:prstClr val="black"/>
                </a:solidFill>
                <a:latin typeface="+mn-lt"/>
              </a:rPr>
              <a:t>Көкшетау</a:t>
            </a:r>
            <a:endParaRPr lang="en-US" altLang="ru-RU" sz="800" b="1" dirty="0">
              <a:solidFill>
                <a:prstClr val="black"/>
              </a:solidFill>
              <a:latin typeface="+mn-lt"/>
            </a:endParaRPr>
          </a:p>
        </p:txBody>
      </p:sp>
      <p:cxnSp>
        <p:nvCxnSpPr>
          <p:cNvPr id="142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78773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3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0033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7" name="Номер слайда 3"/>
          <p:cNvSpPr txBox="1">
            <a:spLocks/>
          </p:cNvSpPr>
          <p:nvPr/>
        </p:nvSpPr>
        <p:spPr>
          <a:xfrm>
            <a:off x="11324784" y="130165"/>
            <a:ext cx="8912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</a:t>
            </a: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8067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1" name="Диаграмма 17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2956973"/>
              </p:ext>
            </p:extLst>
          </p:nvPr>
        </p:nvGraphicFramePr>
        <p:xfrm>
          <a:off x="6312024" y="1751587"/>
          <a:ext cx="5762796" cy="4769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AutoShape 6" descr="больница, здание бесплатно значок - Icon-Icons.com"/>
          <p:cNvSpPr>
            <a:spLocks noChangeAspect="1" noChangeArrowheads="1"/>
          </p:cNvSpPr>
          <p:nvPr/>
        </p:nvSpPr>
        <p:spPr bwMode="auto">
          <a:xfrm>
            <a:off x="1864534" y="-999932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600">
              <a:cs typeface="Arial" panose="020B0604020202020204" pitchFamily="34" charset="0"/>
            </a:endParaRPr>
          </a:p>
        </p:txBody>
      </p:sp>
      <p:graphicFrame>
        <p:nvGraphicFramePr>
          <p:cNvPr id="138" name="Диаграмма 137"/>
          <p:cNvGraphicFramePr/>
          <p:nvPr>
            <p:extLst>
              <p:ext uri="{D42A27DB-BD31-4B8C-83A1-F6EECF244321}">
                <p14:modId xmlns:p14="http://schemas.microsoft.com/office/powerpoint/2010/main" val="1166995729"/>
              </p:ext>
            </p:extLst>
          </p:nvPr>
        </p:nvGraphicFramePr>
        <p:xfrm>
          <a:off x="252202" y="2155934"/>
          <a:ext cx="5939045" cy="39220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6" name="Прямоугольник 155"/>
          <p:cNvSpPr/>
          <p:nvPr/>
        </p:nvSpPr>
        <p:spPr>
          <a:xfrm>
            <a:off x="6429204" y="1065510"/>
            <a:ext cx="57627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i="1" dirty="0">
                <a:cs typeface="Arial" panose="020B0604020202020204" pitchFamily="34" charset="0"/>
              </a:rPr>
              <a:t>278-т. 2025 </a:t>
            </a:r>
            <a:r>
              <a:rPr lang="ru-RU" b="1" i="1" dirty="0" err="1">
                <a:cs typeface="Arial" panose="020B0604020202020204" pitchFamily="34" charset="0"/>
              </a:rPr>
              <a:t>жылы</a:t>
            </a:r>
            <a:r>
              <a:rPr lang="ru-RU" b="1" i="1" dirty="0">
                <a:cs typeface="Arial" panose="020B0604020202020204" pitchFamily="34" charset="0"/>
              </a:rPr>
              <a:t> </a:t>
            </a:r>
            <a:r>
              <a:rPr lang="ru-RU" b="1" i="1" dirty="0" err="1">
                <a:cs typeface="Arial" panose="020B0604020202020204" pitchFamily="34" charset="0"/>
              </a:rPr>
              <a:t>жалпы</a:t>
            </a:r>
            <a:r>
              <a:rPr lang="ru-RU" b="1" i="1" dirty="0">
                <a:cs typeface="Arial" panose="020B0604020202020204" pitchFamily="34" charset="0"/>
              </a:rPr>
              <a:t> </a:t>
            </a:r>
            <a:r>
              <a:rPr lang="ru-RU" b="1" i="1" dirty="0" err="1">
                <a:cs typeface="Arial" panose="020B0604020202020204" pitchFamily="34" charset="0"/>
              </a:rPr>
              <a:t>халқы</a:t>
            </a:r>
            <a:r>
              <a:rPr lang="ru-RU" b="1" i="1" dirty="0">
                <a:cs typeface="Arial" panose="020B0604020202020204" pitchFamily="34" charset="0"/>
              </a:rPr>
              <a:t> 900 </a:t>
            </a:r>
            <a:r>
              <a:rPr lang="ru-RU" b="1" i="1" dirty="0" err="1">
                <a:cs typeface="Arial" panose="020B0604020202020204" pitchFamily="34" charset="0"/>
              </a:rPr>
              <a:t>мыңнан</a:t>
            </a:r>
            <a:r>
              <a:rPr lang="ru-RU" b="1" i="1" dirty="0">
                <a:cs typeface="Arial" panose="020B0604020202020204" pitchFamily="34" charset="0"/>
              </a:rPr>
              <a:t> </a:t>
            </a:r>
            <a:r>
              <a:rPr lang="ru-RU" b="1" i="1" dirty="0" err="1">
                <a:cs typeface="Arial" panose="020B0604020202020204" pitchFamily="34" charset="0"/>
              </a:rPr>
              <a:t>асатын</a:t>
            </a:r>
            <a:r>
              <a:rPr lang="ru-RU" b="1" i="1" dirty="0">
                <a:cs typeface="Arial" panose="020B0604020202020204" pitchFamily="34" charset="0"/>
              </a:rPr>
              <a:t> </a:t>
            </a:r>
            <a:br>
              <a:rPr lang="ru-RU" b="1" i="1" dirty="0">
                <a:cs typeface="Arial" panose="020B0604020202020204" pitchFamily="34" charset="0"/>
              </a:rPr>
            </a:br>
            <a:r>
              <a:rPr lang="ru-RU" b="1" i="1" dirty="0">
                <a:cs typeface="Arial" panose="020B0604020202020204" pitchFamily="34" charset="0"/>
              </a:rPr>
              <a:t>246 </a:t>
            </a:r>
            <a:r>
              <a:rPr lang="ru-RU" b="1" i="1" dirty="0" err="1">
                <a:cs typeface="Arial" panose="020B0604020202020204" pitchFamily="34" charset="0"/>
              </a:rPr>
              <a:t>ауылдың</a:t>
            </a:r>
            <a:r>
              <a:rPr lang="ru-RU" b="1" i="1" dirty="0">
                <a:cs typeface="Arial" panose="020B0604020202020204" pitchFamily="34" charset="0"/>
              </a:rPr>
              <a:t> </a:t>
            </a:r>
            <a:r>
              <a:rPr lang="ru-RU" b="1" i="1" dirty="0" err="1">
                <a:cs typeface="Arial" panose="020B0604020202020204" pitchFamily="34" charset="0"/>
              </a:rPr>
              <a:t>газға</a:t>
            </a:r>
            <a:r>
              <a:rPr lang="ru-RU" b="1" i="1" dirty="0">
                <a:cs typeface="Arial" panose="020B0604020202020204" pitchFamily="34" charset="0"/>
              </a:rPr>
              <a:t> </a:t>
            </a:r>
            <a:r>
              <a:rPr lang="ru-RU" b="1" i="1" dirty="0" err="1">
                <a:cs typeface="Arial" panose="020B0604020202020204" pitchFamily="34" charset="0"/>
              </a:rPr>
              <a:t>қол</a:t>
            </a:r>
            <a:r>
              <a:rPr lang="ru-RU" b="1" i="1" dirty="0">
                <a:cs typeface="Arial" panose="020B0604020202020204" pitchFamily="34" charset="0"/>
              </a:rPr>
              <a:t> </a:t>
            </a:r>
            <a:r>
              <a:rPr lang="ru-RU" b="1" i="1" dirty="0" err="1">
                <a:cs typeface="Arial" panose="020B0604020202020204" pitchFamily="34" charset="0"/>
              </a:rPr>
              <a:t>жеткізуін</a:t>
            </a:r>
            <a:r>
              <a:rPr lang="ru-RU" b="1" i="1" dirty="0">
                <a:cs typeface="Arial" panose="020B0604020202020204" pitchFamily="34" charset="0"/>
              </a:rPr>
              <a:t> </a:t>
            </a:r>
            <a:r>
              <a:rPr lang="ru-RU" b="1" i="1" dirty="0" err="1">
                <a:cs typeface="Arial" panose="020B0604020202020204" pitchFamily="34" charset="0"/>
              </a:rPr>
              <a:t>қамтамасыз</a:t>
            </a:r>
            <a:r>
              <a:rPr lang="ru-RU" b="1" i="1" dirty="0">
                <a:cs typeface="Arial" panose="020B0604020202020204" pitchFamily="34" charset="0"/>
              </a:rPr>
              <a:t> </a:t>
            </a:r>
            <a:r>
              <a:rPr lang="ru-RU" b="1" i="1" dirty="0" err="1" smtClean="0">
                <a:cs typeface="Arial" panose="020B0604020202020204" pitchFamily="34" charset="0"/>
              </a:rPr>
              <a:t>ету</a:t>
            </a:r>
            <a:endParaRPr lang="ru-RU" b="1" i="1" dirty="0">
              <a:cs typeface="Arial" panose="020B0604020202020204" pitchFamily="34" charset="0"/>
            </a:endParaRPr>
          </a:p>
        </p:txBody>
      </p:sp>
      <p:sp>
        <p:nvSpPr>
          <p:cNvPr id="163" name="Прямоугольник 162"/>
          <p:cNvSpPr/>
          <p:nvPr/>
        </p:nvSpPr>
        <p:spPr>
          <a:xfrm>
            <a:off x="6429204" y="6424359"/>
            <a:ext cx="5281632" cy="355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600" i="1" dirty="0" err="1">
                <a:ea typeface="Calibri" panose="020F0502020204030204" pitchFamily="34" charset="0"/>
                <a:cs typeface="Arial" panose="020B0604020202020204" pitchFamily="34" charset="0"/>
              </a:rPr>
              <a:t>Газдандыру</a:t>
            </a:r>
            <a:r>
              <a:rPr lang="ru-RU" sz="1600" i="1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ea typeface="Calibri" panose="020F0502020204030204" pitchFamily="34" charset="0"/>
                <a:cs typeface="Arial" panose="020B0604020202020204" pitchFamily="34" charset="0"/>
              </a:rPr>
              <a:t>деңгейі</a:t>
            </a:r>
            <a:r>
              <a:rPr lang="ru-RU" sz="1600" i="1" dirty="0">
                <a:ea typeface="Calibri" panose="020F0502020204030204" pitchFamily="34" charset="0"/>
                <a:cs typeface="Arial" panose="020B0604020202020204" pitchFamily="34" charset="0"/>
              </a:rPr>
              <a:t>, %</a:t>
            </a:r>
            <a:endParaRPr lang="ru-RU" sz="2000" i="1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2" name="Прямоугольник 171"/>
          <p:cNvSpPr/>
          <p:nvPr/>
        </p:nvSpPr>
        <p:spPr>
          <a:xfrm>
            <a:off x="342528" y="932527"/>
            <a:ext cx="546543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i="1" dirty="0">
                <a:cs typeface="Arial" panose="020B0604020202020204" pitchFamily="34" charset="0"/>
              </a:rPr>
              <a:t>247-т. </a:t>
            </a:r>
            <a:r>
              <a:rPr lang="ru-RU" b="1" i="1" dirty="0" err="1">
                <a:cs typeface="Arial" panose="020B0604020202020204" pitchFamily="34" charset="0"/>
              </a:rPr>
              <a:t>Нұр-Сұлтан</a:t>
            </a:r>
            <a:r>
              <a:rPr lang="ru-RU" b="1" i="1" dirty="0">
                <a:cs typeface="Arial" panose="020B0604020202020204" pitchFamily="34" charset="0"/>
              </a:rPr>
              <a:t>, </a:t>
            </a:r>
            <a:r>
              <a:rPr lang="ru-RU" b="1" i="1" dirty="0" err="1">
                <a:cs typeface="Arial" panose="020B0604020202020204" pitchFamily="34" charset="0"/>
              </a:rPr>
              <a:t>Қарағанды</a:t>
            </a:r>
            <a:r>
              <a:rPr lang="ru-RU" b="1" i="1" dirty="0">
                <a:cs typeface="Arial" panose="020B0604020202020204" pitchFamily="34" charset="0"/>
              </a:rPr>
              <a:t>, </a:t>
            </a:r>
            <a:r>
              <a:rPr lang="ru-RU" b="1" i="1" dirty="0" err="1">
                <a:cs typeface="Arial" panose="020B0604020202020204" pitchFamily="34" charset="0"/>
              </a:rPr>
              <a:t>Көкшетау</a:t>
            </a:r>
            <a:r>
              <a:rPr lang="ru-RU" b="1" i="1" dirty="0">
                <a:cs typeface="Arial" panose="020B0604020202020204" pitchFamily="34" charset="0"/>
              </a:rPr>
              <a:t>, </a:t>
            </a:r>
            <a:r>
              <a:rPr lang="ru-RU" b="1" i="1" dirty="0" err="1">
                <a:cs typeface="Arial" panose="020B0604020202020204" pitchFamily="34" charset="0"/>
              </a:rPr>
              <a:t>Өскемен</a:t>
            </a:r>
            <a:r>
              <a:rPr lang="ru-RU" b="1" i="1" dirty="0">
                <a:cs typeface="Arial" panose="020B0604020202020204" pitchFamily="34" charset="0"/>
              </a:rPr>
              <a:t>, Павлодар, </a:t>
            </a:r>
            <a:r>
              <a:rPr lang="ru-RU" b="1" i="1" dirty="0" err="1">
                <a:cs typeface="Arial" panose="020B0604020202020204" pitchFamily="34" charset="0"/>
              </a:rPr>
              <a:t>Петропавл</a:t>
            </a:r>
            <a:r>
              <a:rPr lang="ru-RU" b="1" i="1" dirty="0">
                <a:cs typeface="Arial" panose="020B0604020202020204" pitchFamily="34" charset="0"/>
              </a:rPr>
              <a:t> </a:t>
            </a:r>
            <a:r>
              <a:rPr lang="ru-RU" b="1" i="1" dirty="0" err="1">
                <a:cs typeface="Arial" panose="020B0604020202020204" pitchFamily="34" charset="0"/>
              </a:rPr>
              <a:t>және</a:t>
            </a:r>
            <a:r>
              <a:rPr lang="ru-RU" b="1" i="1" dirty="0">
                <a:cs typeface="Arial" panose="020B0604020202020204" pitchFamily="34" charset="0"/>
              </a:rPr>
              <a:t> Семей </a:t>
            </a:r>
            <a:r>
              <a:rPr lang="ru-RU" b="1" i="1" dirty="0" err="1">
                <a:cs typeface="Arial" panose="020B0604020202020204" pitchFamily="34" charset="0"/>
              </a:rPr>
              <a:t>қалаларының</a:t>
            </a:r>
            <a:r>
              <a:rPr lang="ru-RU" b="1" i="1" dirty="0">
                <a:cs typeface="Arial" panose="020B0604020202020204" pitchFamily="34" charset="0"/>
              </a:rPr>
              <a:t> </a:t>
            </a:r>
            <a:r>
              <a:rPr lang="ru-RU" b="1" i="1" dirty="0" err="1">
                <a:cs typeface="Arial" panose="020B0604020202020204" pitchFamily="34" charset="0"/>
              </a:rPr>
              <a:t>тұрғындарын</a:t>
            </a:r>
            <a:r>
              <a:rPr lang="ru-RU" b="1" i="1" dirty="0">
                <a:cs typeface="Arial" panose="020B0604020202020204" pitchFamily="34" charset="0"/>
              </a:rPr>
              <a:t> </a:t>
            </a:r>
            <a:r>
              <a:rPr lang="ru-RU" b="1" i="1" dirty="0" err="1">
                <a:cs typeface="Arial" panose="020B0604020202020204" pitchFamily="34" charset="0"/>
              </a:rPr>
              <a:t>табиғи</a:t>
            </a:r>
            <a:r>
              <a:rPr lang="ru-RU" b="1" i="1" dirty="0">
                <a:cs typeface="Arial" panose="020B0604020202020204" pitchFamily="34" charset="0"/>
              </a:rPr>
              <a:t> </a:t>
            </a:r>
            <a:r>
              <a:rPr lang="ru-RU" b="1" i="1" dirty="0" err="1">
                <a:cs typeface="Arial" panose="020B0604020202020204" pitchFamily="34" charset="0"/>
              </a:rPr>
              <a:t>газға</a:t>
            </a:r>
            <a:r>
              <a:rPr lang="ru-RU" b="1" i="1" dirty="0">
                <a:cs typeface="Arial" panose="020B0604020202020204" pitchFamily="34" charset="0"/>
              </a:rPr>
              <a:t> </a:t>
            </a:r>
            <a:r>
              <a:rPr lang="ru-RU" b="1" i="1" dirty="0" err="1">
                <a:cs typeface="Arial" panose="020B0604020202020204" pitchFamily="34" charset="0"/>
              </a:rPr>
              <a:t>қол</a:t>
            </a:r>
            <a:r>
              <a:rPr lang="ru-RU" b="1" i="1" dirty="0">
                <a:cs typeface="Arial" panose="020B0604020202020204" pitchFamily="34" charset="0"/>
              </a:rPr>
              <a:t> </a:t>
            </a:r>
            <a:r>
              <a:rPr lang="ru-RU" b="1" i="1" dirty="0" err="1">
                <a:cs typeface="Arial" panose="020B0604020202020204" pitchFamily="34" charset="0"/>
              </a:rPr>
              <a:t>жеткізуге</a:t>
            </a:r>
            <a:r>
              <a:rPr lang="ru-RU" b="1" i="1" dirty="0">
                <a:cs typeface="Arial" panose="020B0604020202020204" pitchFamily="34" charset="0"/>
              </a:rPr>
              <a:t> </a:t>
            </a:r>
            <a:r>
              <a:rPr lang="ru-RU" b="1" i="1" dirty="0" err="1">
                <a:cs typeface="Arial" panose="020B0604020202020204" pitchFamily="34" charset="0"/>
              </a:rPr>
              <a:t>мүмкіндік</a:t>
            </a:r>
            <a:r>
              <a:rPr lang="ru-RU" b="1" i="1" dirty="0">
                <a:cs typeface="Arial" panose="020B0604020202020204" pitchFamily="34" charset="0"/>
              </a:rPr>
              <a:t> беру</a:t>
            </a:r>
          </a:p>
        </p:txBody>
      </p:sp>
      <p:sp>
        <p:nvSpPr>
          <p:cNvPr id="173" name="Прямоугольник 172"/>
          <p:cNvSpPr/>
          <p:nvPr/>
        </p:nvSpPr>
        <p:spPr>
          <a:xfrm>
            <a:off x="285085" y="2361111"/>
            <a:ext cx="1797125" cy="355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600" i="1" dirty="0" err="1">
                <a:ea typeface="Calibri" panose="020F0502020204030204" pitchFamily="34" charset="0"/>
                <a:cs typeface="Arial" panose="020B0604020202020204" pitchFamily="34" charset="0"/>
              </a:rPr>
              <a:t>мың</a:t>
            </a:r>
            <a:r>
              <a:rPr lang="ru-RU" sz="1600" i="1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ea typeface="Calibri" panose="020F0502020204030204" pitchFamily="34" charset="0"/>
                <a:cs typeface="Arial" panose="020B0604020202020204" pitchFamily="34" charset="0"/>
              </a:rPr>
              <a:t>адам</a:t>
            </a:r>
            <a:endParaRPr lang="ru-RU" sz="2000" i="1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4" name="Прямоугольник 173"/>
          <p:cNvSpPr/>
          <p:nvPr/>
        </p:nvSpPr>
        <p:spPr>
          <a:xfrm>
            <a:off x="477000" y="6309320"/>
            <a:ext cx="312516" cy="2113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5" name="Прямоугольник 174"/>
          <p:cNvSpPr/>
          <p:nvPr/>
        </p:nvSpPr>
        <p:spPr>
          <a:xfrm>
            <a:off x="3436201" y="6349452"/>
            <a:ext cx="317997" cy="21137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176" name="TextBox 175"/>
          <p:cNvSpPr txBox="1"/>
          <p:nvPr/>
        </p:nvSpPr>
        <p:spPr>
          <a:xfrm>
            <a:off x="757864" y="6266351"/>
            <a:ext cx="23952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600" dirty="0"/>
              <a:t>Жоспарлық көрсеткіштер</a:t>
            </a:r>
            <a:endParaRPr lang="ru-RU" sz="1600" dirty="0"/>
          </a:p>
        </p:txBody>
      </p:sp>
      <p:sp>
        <p:nvSpPr>
          <p:cNvPr id="177" name="TextBox 176"/>
          <p:cNvSpPr txBox="1"/>
          <p:nvPr/>
        </p:nvSpPr>
        <p:spPr>
          <a:xfrm>
            <a:off x="3854551" y="6162749"/>
            <a:ext cx="204735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400" dirty="0"/>
              <a:t>2021 жылдың </a:t>
            </a:r>
          </a:p>
          <a:p>
            <a:r>
              <a:rPr lang="kk-KZ" sz="1400" dirty="0"/>
              <a:t>қорытындысы бойынша</a:t>
            </a:r>
            <a:endParaRPr lang="ru-RU" sz="1400" dirty="0"/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6312024" y="836712"/>
            <a:ext cx="0" cy="5883160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utoShape 6" descr="больница, здание бесплатно значок - Icon-Icons.com"/>
          <p:cNvSpPr>
            <a:spLocks noChangeAspect="1" noChangeArrowheads="1"/>
          </p:cNvSpPr>
          <p:nvPr/>
        </p:nvSpPr>
        <p:spPr bwMode="auto">
          <a:xfrm>
            <a:off x="1831975" y="-163581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600"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77AC08D8-A2CF-4813-BCB9-ECFCFFCE433C}"/>
              </a:ext>
            </a:extLst>
          </p:cNvPr>
          <p:cNvSpPr txBox="1"/>
          <p:nvPr/>
        </p:nvSpPr>
        <p:spPr>
          <a:xfrm>
            <a:off x="226275" y="65257"/>
            <a:ext cx="106775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1A4164"/>
                </a:solidFill>
                <a:ea typeface="Barlow Condensed"/>
                <a:cs typeface="Arial" panose="020B0604020202020204" pitchFamily="34" charset="0"/>
              </a:rPr>
              <a:t>«АМАНАТ» ЖК-НЫҢ 247, 248-ТАРМАҚТАРЫН ОРЫНДАУ</a:t>
            </a:r>
          </a:p>
        </p:txBody>
      </p:sp>
      <p:cxnSp>
        <p:nvCxnSpPr>
          <p:cNvPr id="24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9840417" y="4510277"/>
            <a:ext cx="214026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6"/>
                </a:solidFill>
              </a:rPr>
              <a:t>187</a:t>
            </a:r>
            <a:r>
              <a:rPr lang="ru-RU" dirty="0" smtClean="0"/>
              <a:t> </a:t>
            </a:r>
            <a:r>
              <a:rPr lang="ru-RU" dirty="0" err="1" smtClean="0"/>
              <a:t>ауылды</a:t>
            </a:r>
            <a:r>
              <a:rPr lang="ru-RU" dirty="0" smtClean="0"/>
              <a:t> </a:t>
            </a:r>
            <a:r>
              <a:rPr lang="ru-RU" dirty="0" err="1" smtClean="0"/>
              <a:t>газдандыруға</a:t>
            </a:r>
            <a:r>
              <a:rPr lang="ru-RU" dirty="0" smtClean="0"/>
              <a:t> </a:t>
            </a:r>
            <a:r>
              <a:rPr lang="ru-RU" dirty="0" err="1" smtClean="0"/>
              <a:t>қаражат</a:t>
            </a:r>
            <a:r>
              <a:rPr lang="ru-RU" dirty="0" smtClean="0"/>
              <a:t> </a:t>
            </a:r>
            <a:r>
              <a:rPr lang="ru-RU" dirty="0" err="1" smtClean="0"/>
              <a:t>бөлінді</a:t>
            </a:r>
            <a:endParaRPr lang="ru-RU" dirty="0"/>
          </a:p>
        </p:txBody>
      </p:sp>
      <p:sp>
        <p:nvSpPr>
          <p:cNvPr id="25" name="Стрелка вправо 24"/>
          <p:cNvSpPr/>
          <p:nvPr/>
        </p:nvSpPr>
        <p:spPr>
          <a:xfrm>
            <a:off x="6775944" y="3266648"/>
            <a:ext cx="3129658" cy="1165929"/>
          </a:xfrm>
          <a:prstGeom prst="right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3600" b="1" dirty="0" smtClean="0"/>
              <a:t>57,67 %</a:t>
            </a:r>
            <a:endParaRPr lang="ru-RU" sz="3600" b="1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6782765" y="2361111"/>
            <a:ext cx="2791077" cy="355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kk-KZ" sz="1600" i="1" dirty="0" smtClean="0">
                <a:ea typeface="Calibri" panose="020F0502020204030204" pitchFamily="34" charset="0"/>
                <a:cs typeface="Arial" panose="020B0604020202020204" pitchFamily="34" charset="0"/>
              </a:rPr>
              <a:t>Газдандыру деңгейі</a:t>
            </a:r>
            <a:r>
              <a:rPr lang="ru-RU" sz="1600" i="1" dirty="0" smtClean="0">
                <a:ea typeface="Calibri" panose="020F0502020204030204" pitchFamily="34" charset="0"/>
                <a:cs typeface="Arial" panose="020B0604020202020204" pitchFamily="34" charset="0"/>
              </a:rPr>
              <a:t>, %</a:t>
            </a:r>
            <a:endParaRPr lang="ru-RU" sz="2000" i="1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0033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Номер слайда 3"/>
          <p:cNvSpPr txBox="1">
            <a:spLocks/>
          </p:cNvSpPr>
          <p:nvPr/>
        </p:nvSpPr>
        <p:spPr>
          <a:xfrm>
            <a:off x="11324784" y="121619"/>
            <a:ext cx="8912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</a:t>
            </a: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7218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AutoShape 6" descr="больница, здание бесплатно значок - Icon-Icons.com"/>
          <p:cNvSpPr>
            <a:spLocks noChangeAspect="1" noChangeArrowheads="1"/>
          </p:cNvSpPr>
          <p:nvPr/>
        </p:nvSpPr>
        <p:spPr bwMode="auto">
          <a:xfrm>
            <a:off x="1831975" y="-163581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600"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77AC08D8-A2CF-4813-BCB9-ECFCFFCE433C}"/>
              </a:ext>
            </a:extLst>
          </p:cNvPr>
          <p:cNvSpPr txBox="1"/>
          <p:nvPr/>
        </p:nvSpPr>
        <p:spPr>
          <a:xfrm>
            <a:off x="263352" y="74388"/>
            <a:ext cx="106775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1A4164"/>
                </a:solidFill>
                <a:ea typeface="Barlow Condensed"/>
                <a:cs typeface="Arial" panose="020B0604020202020204" pitchFamily="34" charset="0"/>
              </a:rPr>
              <a:t>«003» БЮДЖЕТТІК БАҒДАРЛАМА БОЙЫНША ЖОБАЛАРДЫ ІСКЕ АСЫРУ</a:t>
            </a:r>
          </a:p>
        </p:txBody>
      </p:sp>
      <p:graphicFrame>
        <p:nvGraphicFramePr>
          <p:cNvPr id="198" name="Таблица 197"/>
          <p:cNvGraphicFramePr>
            <a:graphicFrameLocks noGrp="1"/>
          </p:cNvGraphicFramePr>
          <p:nvPr>
            <p:extLst/>
          </p:nvPr>
        </p:nvGraphicFramePr>
        <p:xfrm>
          <a:off x="263352" y="923789"/>
          <a:ext cx="11321715" cy="27197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24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58417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45661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691243">
                <a:tc>
                  <a:txBody>
                    <a:bodyPr/>
                    <a:lstStyle/>
                    <a:p>
                      <a:endParaRPr lang="ru-RU" sz="2000" dirty="0">
                        <a:solidFill>
                          <a:schemeClr val="bg1"/>
                        </a:solidFill>
                        <a:latin typeface="Bahnschrift Condensed" panose="020B0502040204020203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ysClr val="windowText" lastClr="000000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ysClr val="windowText" lastClr="000000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ysClr val="windowText" lastClr="000000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ysClr val="windowText" lastClr="000000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>
                          <a:solidFill>
                            <a:sysClr val="windowText" lastClr="000000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89832">
                <a:tc>
                  <a:txBody>
                    <a:bodyPr/>
                    <a:lstStyle/>
                    <a:p>
                      <a:r>
                        <a:rPr lang="ru-RU" sz="2000" b="1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Жобалардың</a:t>
                      </a:r>
                      <a:r>
                        <a:rPr lang="ru-RU" sz="20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 саны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88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51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146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ru-RU" sz="2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Bahnschrift Condensed" panose="020B0502040204020203" pitchFamily="34" charset="0"/>
                          <a:ea typeface="+mn-ea"/>
                          <a:cs typeface="Arial" panose="020B0604020202020204" pitchFamily="34" charset="0"/>
                        </a:rPr>
                        <a:t>133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33704">
                <a:tc>
                  <a:txBody>
                    <a:bodyPr/>
                    <a:lstStyle/>
                    <a:p>
                      <a:r>
                        <a:rPr lang="ru-RU" sz="2000" b="1" baseline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Халық</a:t>
                      </a:r>
                      <a:r>
                        <a:rPr lang="ru-RU" sz="2000" b="1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2000" baseline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мың</a:t>
                      </a:r>
                      <a:r>
                        <a:rPr lang="ru-RU" sz="2000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000" baseline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адам</a:t>
                      </a:r>
                      <a:r>
                        <a:rPr lang="ru-RU" sz="2000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2000" dirty="0">
                        <a:solidFill>
                          <a:schemeClr val="tx2">
                            <a:lumMod val="50000"/>
                          </a:schemeClr>
                        </a:solidFill>
                        <a:latin typeface="Bahnschrift Condensed" panose="020B0502040204020203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9 047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9 539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10 248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11 030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11 176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05015">
                <a:tc>
                  <a:txBody>
                    <a:bodyPr/>
                    <a:lstStyle/>
                    <a:p>
                      <a:r>
                        <a:rPr lang="ru-RU" sz="2000" b="1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Газдандыру</a:t>
                      </a:r>
                      <a:r>
                        <a:rPr lang="ru-RU" sz="20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000" b="1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деңгейі</a:t>
                      </a:r>
                      <a:r>
                        <a:rPr lang="ru-RU" sz="20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2000" b="1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0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49,68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51,47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54,29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57,67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b="1" dirty="0">
                          <a:solidFill>
                            <a:schemeClr val="tx1"/>
                          </a:solidFill>
                          <a:latin typeface="Bahnschrift Condensed" panose="020B0502040204020203" pitchFamily="34" charset="0"/>
                          <a:cs typeface="Arial" panose="020B0604020202020204" pitchFamily="34" charset="0"/>
                        </a:rPr>
                        <a:t>58,43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cxnSp>
        <p:nvCxnSpPr>
          <p:cNvPr id="5" name="Прямая соединительная линия 4"/>
          <p:cNvCxnSpPr/>
          <p:nvPr/>
        </p:nvCxnSpPr>
        <p:spPr>
          <a:xfrm>
            <a:off x="4489221" y="1628800"/>
            <a:ext cx="7073244" cy="0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Прямая соединительная линия 210"/>
          <p:cNvCxnSpPr/>
          <p:nvPr/>
        </p:nvCxnSpPr>
        <p:spPr>
          <a:xfrm>
            <a:off x="5728138" y="923789"/>
            <a:ext cx="7822" cy="2505211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Прямая соединительная линия 217"/>
          <p:cNvCxnSpPr/>
          <p:nvPr/>
        </p:nvCxnSpPr>
        <p:spPr>
          <a:xfrm>
            <a:off x="7176120" y="942428"/>
            <a:ext cx="0" cy="2486572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Прямая соединительная линия 218"/>
          <p:cNvCxnSpPr/>
          <p:nvPr/>
        </p:nvCxnSpPr>
        <p:spPr>
          <a:xfrm>
            <a:off x="8688288" y="942428"/>
            <a:ext cx="0" cy="2486572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Прямая соединительная линия 219"/>
          <p:cNvCxnSpPr/>
          <p:nvPr/>
        </p:nvCxnSpPr>
        <p:spPr>
          <a:xfrm>
            <a:off x="10128448" y="942428"/>
            <a:ext cx="0" cy="2486572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Прямая соединительная линия 220"/>
          <p:cNvCxnSpPr/>
          <p:nvPr/>
        </p:nvCxnSpPr>
        <p:spPr>
          <a:xfrm>
            <a:off x="4489221" y="2276872"/>
            <a:ext cx="7073244" cy="0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Прямая соединительная линия 221"/>
          <p:cNvCxnSpPr/>
          <p:nvPr/>
        </p:nvCxnSpPr>
        <p:spPr>
          <a:xfrm>
            <a:off x="4511824" y="2852936"/>
            <a:ext cx="7073244" cy="0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25"/>
          <p:cNvSpPr/>
          <p:nvPr/>
        </p:nvSpPr>
        <p:spPr>
          <a:xfrm>
            <a:off x="433329" y="4581128"/>
            <a:ext cx="1373485" cy="355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600" i="1" dirty="0">
                <a:ea typeface="Calibri" panose="020F0502020204030204" pitchFamily="34" charset="0"/>
                <a:cs typeface="Arial" panose="020B0604020202020204" pitchFamily="34" charset="0"/>
              </a:rPr>
              <a:t>млрд. тенге</a:t>
            </a:r>
            <a:endParaRPr lang="ru-RU" sz="2000" i="1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H="1">
            <a:off x="232892" y="3643583"/>
            <a:ext cx="11767764" cy="0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Стрелка вниз 30"/>
          <p:cNvSpPr/>
          <p:nvPr/>
        </p:nvSpPr>
        <p:spPr>
          <a:xfrm rot="5400000">
            <a:off x="5594062" y="4666478"/>
            <a:ext cx="576065" cy="101234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2" name="TextBox 191"/>
          <p:cNvSpPr txBox="1"/>
          <p:nvPr/>
        </p:nvSpPr>
        <p:spPr>
          <a:xfrm>
            <a:off x="6960096" y="4094451"/>
            <a:ext cx="4824536" cy="255389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2400" dirty="0" err="1"/>
              <a:t>Газбен</a:t>
            </a:r>
            <a:r>
              <a:rPr lang="ru-RU" sz="2400" dirty="0"/>
              <a:t> </a:t>
            </a:r>
            <a:r>
              <a:rPr lang="ru-RU" sz="2400" dirty="0" err="1"/>
              <a:t>жабдықтаудың</a:t>
            </a:r>
            <a:r>
              <a:rPr lang="ru-RU" sz="2400" dirty="0"/>
              <a:t> </a:t>
            </a:r>
            <a:r>
              <a:rPr lang="ru-RU" sz="2400" dirty="0" err="1"/>
              <a:t>жобаларын</a:t>
            </a:r>
            <a:r>
              <a:rPr lang="ru-RU" sz="2400" dirty="0"/>
              <a:t> </a:t>
            </a:r>
            <a:r>
              <a:rPr lang="ru-RU" sz="2400" dirty="0" err="1"/>
              <a:t>қаржыландыру</a:t>
            </a:r>
            <a:r>
              <a:rPr lang="ru-RU" sz="2400" dirty="0"/>
              <a:t> 2021 </a:t>
            </a:r>
            <a:r>
              <a:rPr lang="ru-RU" sz="2400" dirty="0" err="1"/>
              <a:t>жылмен</a:t>
            </a:r>
            <a:r>
              <a:rPr lang="ru-RU" sz="2400" dirty="0"/>
              <a:t> </a:t>
            </a:r>
            <a:r>
              <a:rPr lang="ru-RU" sz="2400" dirty="0" err="1"/>
              <a:t>салыстырғанда</a:t>
            </a:r>
            <a:r>
              <a:rPr lang="ru-RU" sz="2400" dirty="0"/>
              <a:t> </a:t>
            </a:r>
            <a:r>
              <a:rPr lang="ru-RU" sz="2400" dirty="0" err="1">
                <a:solidFill>
                  <a:srgbClr val="FF0000"/>
                </a:solidFill>
              </a:rPr>
              <a:t>екі</a:t>
            </a:r>
            <a:r>
              <a:rPr lang="ru-RU" sz="2400" dirty="0">
                <a:solidFill>
                  <a:srgbClr val="FF0000"/>
                </a:solidFill>
              </a:rPr>
              <a:t> </a:t>
            </a:r>
            <a:r>
              <a:rPr lang="ru-RU" sz="2400" dirty="0" err="1">
                <a:solidFill>
                  <a:srgbClr val="FF0000"/>
                </a:solidFill>
              </a:rPr>
              <a:t>есеге</a:t>
            </a:r>
            <a:r>
              <a:rPr lang="ru-RU" sz="2400" dirty="0"/>
              <a:t>, </a:t>
            </a:r>
            <a:r>
              <a:rPr lang="ru-RU" sz="2400" dirty="0" err="1"/>
              <a:t>және</a:t>
            </a:r>
            <a:r>
              <a:rPr lang="ru-RU" sz="2400" dirty="0"/>
              <a:t> 2018 </a:t>
            </a:r>
            <a:r>
              <a:rPr lang="ru-RU" sz="2400" dirty="0" err="1"/>
              <a:t>жылмен</a:t>
            </a:r>
            <a:r>
              <a:rPr lang="ru-RU" sz="2400" dirty="0"/>
              <a:t> </a:t>
            </a:r>
            <a:r>
              <a:rPr lang="ru-RU" sz="2400" dirty="0" err="1"/>
              <a:t>салыстырғанда</a:t>
            </a:r>
            <a:r>
              <a:rPr lang="ru-RU" sz="2400" dirty="0"/>
              <a:t> </a:t>
            </a:r>
            <a:r>
              <a:rPr lang="ru-RU" sz="2400" dirty="0">
                <a:solidFill>
                  <a:srgbClr val="FF0000"/>
                </a:solidFill>
              </a:rPr>
              <a:t>бес </a:t>
            </a:r>
            <a:r>
              <a:rPr lang="ru-RU" sz="2400" dirty="0" err="1">
                <a:solidFill>
                  <a:srgbClr val="FF0000"/>
                </a:solidFill>
              </a:rPr>
              <a:t>есеге</a:t>
            </a:r>
            <a:r>
              <a:rPr lang="ru-RU" sz="2400" dirty="0">
                <a:solidFill>
                  <a:srgbClr val="FF0000"/>
                </a:solidFill>
              </a:rPr>
              <a:t> </a:t>
            </a:r>
            <a:r>
              <a:rPr lang="ru-RU" sz="2400" dirty="0" err="1">
                <a:solidFill>
                  <a:srgbClr val="FF0000"/>
                </a:solidFill>
              </a:rPr>
              <a:t>дейін</a:t>
            </a:r>
            <a:r>
              <a:rPr lang="ru-RU" sz="2400" dirty="0"/>
              <a:t> </a:t>
            </a:r>
            <a:r>
              <a:rPr lang="ru-RU" sz="2400" dirty="0" err="1"/>
              <a:t>өсті</a:t>
            </a:r>
            <a:r>
              <a:rPr lang="ru-RU" sz="2400" dirty="0"/>
              <a:t>. </a:t>
            </a:r>
          </a:p>
        </p:txBody>
      </p:sp>
      <p:graphicFrame>
        <p:nvGraphicFramePr>
          <p:cNvPr id="24" name="Диаграмма 23"/>
          <p:cNvGraphicFramePr>
            <a:graphicFrameLocks/>
          </p:cNvGraphicFramePr>
          <p:nvPr>
            <p:extLst/>
          </p:nvPr>
        </p:nvGraphicFramePr>
        <p:xfrm>
          <a:off x="342528" y="3810127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9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0033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Номер слайда 3"/>
          <p:cNvSpPr txBox="1">
            <a:spLocks/>
          </p:cNvSpPr>
          <p:nvPr/>
        </p:nvSpPr>
        <p:spPr>
          <a:xfrm>
            <a:off x="11324784" y="121619"/>
            <a:ext cx="8912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</a:t>
            </a: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6356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341</TotalTime>
  <Words>2338</Words>
  <Application>Microsoft Office PowerPoint</Application>
  <PresentationFormat>Широкоэкранный</PresentationFormat>
  <Paragraphs>564</Paragraphs>
  <Slides>19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33" baseType="lpstr">
      <vt:lpstr>ＭＳ Ｐゴシック</vt:lpstr>
      <vt:lpstr>ＭＳ Ｐゴシック</vt:lpstr>
      <vt:lpstr>Arial</vt:lpstr>
      <vt:lpstr>Arial Narrow</vt:lpstr>
      <vt:lpstr>Bahnschrift Condensed</vt:lpstr>
      <vt:lpstr>Barlow Condensed</vt:lpstr>
      <vt:lpstr>Calibri</vt:lpstr>
      <vt:lpstr>Calibri Light</vt:lpstr>
      <vt:lpstr>Century Gothic</vt:lpstr>
      <vt:lpstr>Tahoma</vt:lpstr>
      <vt:lpstr>Times New Roman</vt:lpstr>
      <vt:lpstr>Wingding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йдос Дарибаев</dc:creator>
  <cp:lastModifiedBy>Джилкайдарова Ляйля</cp:lastModifiedBy>
  <cp:revision>436</cp:revision>
  <cp:lastPrinted>2022-05-31T03:44:00Z</cp:lastPrinted>
  <dcterms:created xsi:type="dcterms:W3CDTF">2021-09-22T13:37:51Z</dcterms:created>
  <dcterms:modified xsi:type="dcterms:W3CDTF">2022-06-05T15:48:49Z</dcterms:modified>
</cp:coreProperties>
</file>